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theme/theme3.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slideLayouts/slideLayout37.xml" ContentType="application/vnd.openxmlformats-officedocument.presentationml.slideLayout+xml"/>
  <Override PartName="/ppt/theme/theme5.xml" ContentType="application/vnd.openxmlformats-officedocument.theme+xml"/>
  <Override PartName="/ppt/slideLayouts/slideLayout38.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notesSlides/notesSlide4.xml" ContentType="application/vnd.openxmlformats-officedocument.presentationml.notesSlide+xml"/>
  <Override PartName="/ppt/ink/ink1.xml" ContentType="application/inkml+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4549" r:id="rId5"/>
    <p:sldMasterId id="2147485473" r:id="rId6"/>
    <p:sldMasterId id="2147485476" r:id="rId7"/>
    <p:sldMasterId id="2147485489" r:id="rId8"/>
    <p:sldMasterId id="2147485492" r:id="rId9"/>
  </p:sldMasterIdLst>
  <p:notesMasterIdLst>
    <p:notesMasterId r:id="rId27"/>
  </p:notesMasterIdLst>
  <p:handoutMasterIdLst>
    <p:handoutMasterId r:id="rId28"/>
  </p:handoutMasterIdLst>
  <p:sldIdLst>
    <p:sldId id="1312" r:id="rId10"/>
    <p:sldId id="261" r:id="rId11"/>
    <p:sldId id="1315" r:id="rId12"/>
    <p:sldId id="264" r:id="rId13"/>
    <p:sldId id="256" r:id="rId14"/>
    <p:sldId id="1266" r:id="rId15"/>
    <p:sldId id="1310" r:id="rId16"/>
    <p:sldId id="1290" r:id="rId17"/>
    <p:sldId id="1287" r:id="rId18"/>
    <p:sldId id="1292" r:id="rId19"/>
    <p:sldId id="585" r:id="rId20"/>
    <p:sldId id="1309" r:id="rId21"/>
    <p:sldId id="1301" r:id="rId22"/>
    <p:sldId id="1302" r:id="rId23"/>
    <p:sldId id="1317" r:id="rId24"/>
    <p:sldId id="1318" r:id="rId25"/>
    <p:sldId id="1319" r:id="rId26"/>
  </p:sldIdLst>
  <p:sldSz cx="12192000" cy="6858000"/>
  <p:notesSz cx="9926638" cy="6797675"/>
  <p:defaultTextStyle>
    <a:defPPr>
      <a:defRPr lang="de-DE"/>
    </a:defPPr>
    <a:lvl1pPr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1pPr>
    <a:lvl2pPr marL="511175" indent="-53975"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2pPr>
    <a:lvl3pPr marL="1022350" indent="-107950"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3pPr>
    <a:lvl4pPr marL="1535113" indent="-163513"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4pPr>
    <a:lvl5pPr marL="2046288" indent="-217488"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9pPr>
  </p:defaultTextStyle>
  <p:extLst>
    <p:ext uri="{EFAFB233-063F-42B5-8137-9DF3F51BA10A}">
      <p15:sldGuideLst xmlns:p15="http://schemas.microsoft.com/office/powerpoint/2012/main">
        <p15:guide id="1" orient="horz" pos="3568">
          <p15:clr>
            <a:srgbClr val="A4A3A4"/>
          </p15:clr>
        </p15:guide>
        <p15:guide id="2" orient="horz" pos="3567">
          <p15:clr>
            <a:srgbClr val="A4A3A4"/>
          </p15:clr>
        </p15:guide>
        <p15:guide id="3" orient="horz" pos="1435">
          <p15:clr>
            <a:srgbClr val="A4A3A4"/>
          </p15:clr>
        </p15:guide>
        <p15:guide id="4" orient="horz" pos="1254">
          <p15:clr>
            <a:srgbClr val="A4A3A4"/>
          </p15:clr>
        </p15:guide>
        <p15:guide id="5" orient="horz" pos="1255">
          <p15:clr>
            <a:srgbClr val="A4A3A4"/>
          </p15:clr>
        </p15:guide>
        <p15:guide id="6" orient="horz" pos="2842">
          <p15:clr>
            <a:srgbClr val="A4A3A4"/>
          </p15:clr>
        </p15:guide>
        <p15:guide id="7" orient="horz" pos="4022">
          <p15:clr>
            <a:srgbClr val="A4A3A4"/>
          </p15:clr>
        </p15:guide>
        <p15:guide id="8" orient="horz" pos="985">
          <p15:clr>
            <a:srgbClr val="A4A3A4"/>
          </p15:clr>
        </p15:guide>
        <p15:guide id="9" pos="7376">
          <p15:clr>
            <a:srgbClr val="A4A3A4"/>
          </p15:clr>
        </p15:guide>
        <p15:guide id="10" pos="299">
          <p15:clr>
            <a:srgbClr val="A4A3A4"/>
          </p15:clr>
        </p15:guide>
        <p15:guide id="11" pos="3808">
          <p15:clr>
            <a:srgbClr val="A4A3A4"/>
          </p15:clr>
        </p15:guide>
        <p15:guide id="12" pos="2720">
          <p15:clr>
            <a:srgbClr val="A4A3A4"/>
          </p15:clr>
        </p15:guide>
        <p15:guide id="13" pos="240">
          <p15:clr>
            <a:srgbClr val="A4A3A4"/>
          </p15:clr>
        </p15:guide>
        <p15:guide id="14" pos="7619">
          <p15:clr>
            <a:srgbClr val="A4A3A4"/>
          </p15:clr>
        </p15:guide>
      </p15:sldGuideLst>
    </p:ext>
    <p:ext uri="{2D200454-40CA-4A62-9FC3-DE9A4176ACB9}">
      <p15:notesGuideLst xmlns:p15="http://schemas.microsoft.com/office/powerpoint/2012/main">
        <p15:guide id="1" orient="horz" pos="2141">
          <p15:clr>
            <a:srgbClr val="A4A3A4"/>
          </p15:clr>
        </p15:guide>
        <p15:guide id="2" pos="3127">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EP MENA" initials="CEP MENA" lastIdx="1" clrIdx="0">
    <p:extLst>
      <p:ext uri="{19B8F6BF-5375-455C-9EA6-DF929625EA0E}">
        <p15:presenceInfo xmlns:p15="http://schemas.microsoft.com/office/powerpoint/2012/main" userId="CEP MENA"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73A9"/>
    <a:srgbClr val="5CABCA"/>
    <a:srgbClr val="D9D9D9"/>
    <a:srgbClr val="0872A6"/>
    <a:srgbClr val="FFFFFF"/>
    <a:srgbClr val="F2F2F2"/>
    <a:srgbClr val="228FB9"/>
    <a:srgbClr val="196790"/>
    <a:srgbClr val="9B63D5"/>
    <a:srgbClr val="56565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71760B0-E532-4DB3-B5EB-F1F05A641ABB}" v="1085" dt="2021-02-16T18:35:10.212"/>
  </p1510:revLst>
</p1510:revInfo>
</file>

<file path=ppt/tableStyles.xml><?xml version="1.0" encoding="utf-8"?>
<a:tblStyleLst xmlns:a="http://schemas.openxmlformats.org/drawingml/2006/main" def="{5C22544A-7EE6-4342-B048-85BDC9FD1C3A}">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82" autoAdjust="0"/>
    <p:restoredTop sz="87276" autoAdjust="0"/>
  </p:normalViewPr>
  <p:slideViewPr>
    <p:cSldViewPr>
      <p:cViewPr varScale="1">
        <p:scale>
          <a:sx n="89" d="100"/>
          <a:sy n="89" d="100"/>
        </p:scale>
        <p:origin x="64" y="568"/>
      </p:cViewPr>
      <p:guideLst>
        <p:guide orient="horz" pos="3568"/>
        <p:guide orient="horz" pos="3567"/>
        <p:guide orient="horz" pos="1435"/>
        <p:guide orient="horz" pos="1254"/>
        <p:guide orient="horz" pos="1255"/>
        <p:guide orient="horz" pos="2842"/>
        <p:guide orient="horz" pos="4022"/>
        <p:guide orient="horz" pos="985"/>
        <p:guide pos="7376"/>
        <p:guide pos="299"/>
        <p:guide pos="3808"/>
        <p:guide pos="2720"/>
        <p:guide pos="240"/>
        <p:guide pos="7619"/>
      </p:guideLst>
    </p:cSldViewPr>
  </p:slideViewPr>
  <p:outlineViewPr>
    <p:cViewPr>
      <p:scale>
        <a:sx n="33" d="100"/>
        <a:sy n="33" d="100"/>
      </p:scale>
      <p:origin x="0" y="0"/>
    </p:cViewPr>
  </p:outlineViewPr>
  <p:notesTextViewPr>
    <p:cViewPr>
      <p:scale>
        <a:sx n="50" d="100"/>
        <a:sy n="50" d="100"/>
      </p:scale>
      <p:origin x="0" y="0"/>
    </p:cViewPr>
  </p:notesTextViewPr>
  <p:sorterViewPr>
    <p:cViewPr>
      <p:scale>
        <a:sx n="66" d="100"/>
        <a:sy n="66" d="100"/>
      </p:scale>
      <p:origin x="0" y="0"/>
    </p:cViewPr>
  </p:sorterViewPr>
  <p:notesViewPr>
    <p:cSldViewPr>
      <p:cViewPr varScale="1">
        <p:scale>
          <a:sx n="99" d="100"/>
          <a:sy n="99" d="100"/>
        </p:scale>
        <p:origin x="1916" y="52"/>
      </p:cViewPr>
      <p:guideLst>
        <p:guide orient="horz" pos="2141"/>
        <p:guide pos="3127"/>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 Type="http://schemas.openxmlformats.org/officeDocument/2006/relationships/customXml" Target="../customXml/item3.xml"/><Relationship Id="rId21" Type="http://schemas.openxmlformats.org/officeDocument/2006/relationships/slide" Target="slides/slide12.xml"/><Relationship Id="rId34"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handoutMaster" Target="handoutMasters/handoutMaster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notesMaster" Target="notesMasters/notesMaster1.xml"/><Relationship Id="rId30" Type="http://schemas.openxmlformats.org/officeDocument/2006/relationships/presProps" Target="presProps.xml"/><Relationship Id="rId8" Type="http://schemas.openxmlformats.org/officeDocument/2006/relationships/slideMaster" Target="slideMasters/slideMaster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6B83704-511D-7C44-AD88-2C148E17BFBC}"/>
              </a:ext>
            </a:extLst>
          </p:cNvPr>
          <p:cNvSpPr>
            <a:spLocks noGrp="1"/>
          </p:cNvSpPr>
          <p:nvPr>
            <p:ph type="hdr" sz="quarter"/>
          </p:nvPr>
        </p:nvSpPr>
        <p:spPr>
          <a:xfrm>
            <a:off x="0" y="0"/>
            <a:ext cx="4302125" cy="339725"/>
          </a:xfrm>
          <a:prstGeom prst="rect">
            <a:avLst/>
          </a:prstGeom>
        </p:spPr>
        <p:txBody>
          <a:bodyPr vert="horz" wrap="square" lIns="91440" tIns="45720" rIns="91440" bIns="45720" numCol="1" anchor="t" anchorCtr="0" compatLnSpc="1">
            <a:prstTxWarp prst="textNoShape">
              <a:avLst/>
            </a:prstTxWarp>
          </a:bodyPr>
          <a:lstStyle>
            <a:lvl1pPr eaLnBrk="1" hangingPunct="1">
              <a:defRPr sz="1200">
                <a:latin typeface="Arial" panose="020B0604020202020204" pitchFamily="34" charset="0"/>
                <a:ea typeface="MS PGothic" panose="020B0600070205080204" pitchFamily="34" charset="-128"/>
              </a:defRPr>
            </a:lvl1pPr>
          </a:lstStyle>
          <a:p>
            <a:pPr>
              <a:defRPr/>
            </a:pPr>
            <a:endParaRPr lang="en-US" altLang="en-US"/>
          </a:p>
        </p:txBody>
      </p:sp>
      <p:sp>
        <p:nvSpPr>
          <p:cNvPr id="3" name="Date Placeholder 2">
            <a:extLst>
              <a:ext uri="{FF2B5EF4-FFF2-40B4-BE49-F238E27FC236}">
                <a16:creationId xmlns:a16="http://schemas.microsoft.com/office/drawing/2014/main" id="{D9EDBC12-1F5F-5345-9AC0-DB877D58F541}"/>
              </a:ext>
            </a:extLst>
          </p:cNvPr>
          <p:cNvSpPr>
            <a:spLocks noGrp="1"/>
          </p:cNvSpPr>
          <p:nvPr>
            <p:ph type="dt" sz="quarter" idx="1"/>
          </p:nvPr>
        </p:nvSpPr>
        <p:spPr>
          <a:xfrm>
            <a:off x="5621338" y="0"/>
            <a:ext cx="4303712" cy="339725"/>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latin typeface="Arial" panose="020B0604020202020204" pitchFamily="34" charset="0"/>
                <a:ea typeface="MS PGothic" panose="020B0600070205080204" pitchFamily="34" charset="-128"/>
              </a:defRPr>
            </a:lvl1pPr>
          </a:lstStyle>
          <a:p>
            <a:pPr>
              <a:defRPr/>
            </a:pPr>
            <a:fld id="{E454F833-8734-4B9B-A5CE-2EBE17760B75}" type="datetime1">
              <a:rPr lang="en-US" altLang="en-US"/>
              <a:pPr>
                <a:defRPr/>
              </a:pPr>
              <a:t>2/17/2021</a:t>
            </a:fld>
            <a:endParaRPr lang="en-US" altLang="en-US"/>
          </a:p>
        </p:txBody>
      </p:sp>
      <p:sp>
        <p:nvSpPr>
          <p:cNvPr id="4" name="Footer Placeholder 3">
            <a:extLst>
              <a:ext uri="{FF2B5EF4-FFF2-40B4-BE49-F238E27FC236}">
                <a16:creationId xmlns:a16="http://schemas.microsoft.com/office/drawing/2014/main" id="{D4EFD932-FB04-4748-97F4-F9A4983EECBF}"/>
              </a:ext>
            </a:extLst>
          </p:cNvPr>
          <p:cNvSpPr>
            <a:spLocks noGrp="1"/>
          </p:cNvSpPr>
          <p:nvPr>
            <p:ph type="ftr" sz="quarter" idx="2"/>
          </p:nvPr>
        </p:nvSpPr>
        <p:spPr>
          <a:xfrm>
            <a:off x="0" y="6456363"/>
            <a:ext cx="4302125" cy="339725"/>
          </a:xfrm>
          <a:prstGeom prst="rect">
            <a:avLst/>
          </a:prstGeom>
        </p:spPr>
        <p:txBody>
          <a:bodyPr vert="horz" wrap="square" lIns="91440" tIns="45720" rIns="91440" bIns="45720" numCol="1" anchor="b" anchorCtr="0" compatLnSpc="1">
            <a:prstTxWarp prst="textNoShape">
              <a:avLst/>
            </a:prstTxWarp>
          </a:bodyPr>
          <a:lstStyle>
            <a:lvl1pPr eaLnBrk="1" hangingPunct="1">
              <a:defRPr sz="1200">
                <a:latin typeface="Arial" panose="020B0604020202020204" pitchFamily="34" charset="0"/>
                <a:ea typeface="MS PGothic" panose="020B0600070205080204" pitchFamily="34" charset="-128"/>
              </a:defRPr>
            </a:lvl1pPr>
          </a:lstStyle>
          <a:p>
            <a:pPr>
              <a:defRPr/>
            </a:pPr>
            <a:endParaRPr lang="en-US" altLang="en-US"/>
          </a:p>
        </p:txBody>
      </p:sp>
      <p:sp>
        <p:nvSpPr>
          <p:cNvPr id="5" name="Slide Number Placeholder 4">
            <a:extLst>
              <a:ext uri="{FF2B5EF4-FFF2-40B4-BE49-F238E27FC236}">
                <a16:creationId xmlns:a16="http://schemas.microsoft.com/office/drawing/2014/main" id="{8AB8E734-E307-004A-9A8D-32CE72F32453}"/>
              </a:ext>
            </a:extLst>
          </p:cNvPr>
          <p:cNvSpPr>
            <a:spLocks noGrp="1"/>
          </p:cNvSpPr>
          <p:nvPr>
            <p:ph type="sldNum" sz="quarter" idx="3"/>
          </p:nvPr>
        </p:nvSpPr>
        <p:spPr>
          <a:xfrm>
            <a:off x="5621338" y="6456363"/>
            <a:ext cx="4303712" cy="339725"/>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atin typeface="Arial" panose="020B0604020202020204" pitchFamily="34" charset="0"/>
                <a:ea typeface="MS PGothic" panose="020B0600070205080204" pitchFamily="34" charset="-128"/>
              </a:defRPr>
            </a:lvl1pPr>
          </a:lstStyle>
          <a:p>
            <a:pPr>
              <a:defRPr/>
            </a:pPr>
            <a:fld id="{D3F49643-1BD3-47D5-A748-D926C5AB4035}" type="slidenum">
              <a:rPr lang="en-US" altLang="en-US"/>
              <a:pPr>
                <a:defRPr/>
              </a:pPr>
              <a:t>‹#›</a:t>
            </a:fld>
            <a:endParaRPr lang="en-US"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0-11-09T14:36:54.664"/>
    </inkml:context>
    <inkml:brush xml:id="br0">
      <inkml:brushProperty name="width" value="0.025" units="cm"/>
      <inkml:brushProperty name="height" value="0.025" units="cm"/>
      <inkml:brushProperty name="color" value="#A6A6A6"/>
      <inkml:brushProperty name="ignorePressure" value="1"/>
    </inkml:brush>
    <inkml:brush xml:id="br1">
      <inkml:brushProperty name="width" value="0.05" units="cm"/>
      <inkml:brushProperty name="height" value="0.05" units="cm"/>
      <inkml:brushProperty name="color" value="#A6A6A6"/>
      <inkml:brushProperty name="ignorePressure" value="1"/>
    </inkml:brush>
    <inkml:brush xml:id="br2">
      <inkml:brushProperty name="width" value="0.2" units="cm"/>
      <inkml:brushProperty name="height" value="0.2" units="cm"/>
      <inkml:brushProperty name="color" value="#A6A6A6"/>
      <inkml:brushProperty name="ignorePressure" value="1"/>
    </inkml:brush>
  </inkml:definitions>
  <inkml:trace contextRef="#ctx0" brushRef="#br0">30 448,'8'-100,"5"29,11 91,-18-17,-1-1,0 1,1-1,-1-1,2 1,-2-1,2 1,-2-1,1 0,0-1,5 0,-2 1,250-1,-258 0,1 0,-1 0,0 0,1 0,0 0,-1-1,0 1,0 0,0-1,0 1,1-1,-1-1,0 2,1-1,-1 0,0 1,0-1,0 0,0 0,-1 0,1 0,0 0,0 0,-1 0,1 0,0 0,-1 0,0 0,2-1,-2 0,1 1,-1 0,0 0,0-1,0 1,0 0,0 0,0-1,0 1,0 0,0 0,-1-2,2 1,1 0,-1 0,0 1,1-1,-1 0,1 1,0 0,0-1,0 1,-1 0,1 0,0-1,1 1,-1 0,0 1,0-1,0 0,0 1,1-1,-1 1,0 0,0 0,0 0,2 0,-2 0,0 0,0 1,0-1,0 1,1-1,-1 1,1 1,13 0,53 8,-67-9,-1 0,1-1,0 1,-1 0,1-1,-1 1,1-1,0 1,-1-1,1 0,0 2,0-2,0 0,-1 0,1 0,-1 0,1-2,1 2,-2 0,1-1,-1 1,1-1,-1 1,1-1,0 0,0 0,-1 1,0-1,0 0,1 0,-1 0,0-1,0 1,0 0,1 0,-1-1,0 0,0 1,-1-1,1 1,0-1,3-13,1 1,-1 0,-1-1,0 0,-2 0,0 0,0-8,-18-8,75 33,-55-5,2-1,-2 1,1-1,0-1,-1 1,0 0,-1 0,2-1,-2 0,0 1,0-1,-1-1,1 1,0-2,8-21,-10 68,-21-2,20-34,-1-1,1 1,1-1,-1 1,1 1,0-2,0 1,0-1,0 1,1 0,-1 0,1-1,1 1,-1-1,0 1,1 1,1 5,-4-9,1 0,0 0,0 0,0 0,-1 0,1 0,0 0,0 0,0 0,1-1,-1 1,0 0,0 0,0 0,1 0,-1 0,0 1,1-1,-1-1,1 1,-1 0,1 0,1 0,-2-1,1 1,-1 0,1-1,0 1,0-1,0 1,-1-1,1 1,0-1,0 1,0-1,0 0,1 0,-2 1,1-1,0 0,0 0,0 0,0 0,0 0,0 0,0 0,0 0,0 0,1-1,-1 1,0 0,-1-1,1 1,0 0,0-1,0 1,0-1,0 0,0 0,0 0,0 0,1 0,-1 0,1 0,-1 0,0 1,0-2,1 1,-1 1,2-1,-2 1,0 0,1-1,-1 1,1 0,-1 0,1 0,0 0,0 0,-1 0,1 0,-1 1,1-1,-1 0,0 1,2-1,-2 1,0 1,1-2,-1 1,0 0,0 0,0 0,1 0,0 0,-1 0,0 0,0 0,-1 0,1 0,0 1,0-1,-1 0,1 2,0-2,-1 0,0 1,1-1,-1 1,0-1,0 1,3 14,-1-10</inkml:trace>
  <inkml:trace contextRef="#ctx0" brushRef="#br1" timeOffset="1">260 431,'223'0,"-186"-11,-54 11,-5 8,0 1,2 0,-1 3,0-1,2 1,-12 10,10-12,14-7,20-6,125-30,-138 33,0 1,0-1,-1 0,1 0,0 0,0 0,0 1,0-1,0 0,0 0,0 1,-1-1,1 0,0 0,0 0,0 1,0-1,0 0,0 0,0 1,0-1,0 0,0 0,0 0,1 1,-1-1,0 0,0 0,0 1,0-1,0 0,0 0,0 0,1 1,-1-1,0 0,0 0,0 0,0 0,1 0,-1 1,0-1,0 0,0 0,2 0,-2 0,0 0,0 0,0 0,1 0,-1 0,0 0,0 0,1 0,-1 0,0 0,0 0,1 0,-1 0,-15 17,-21 5,31-20,0 0,0 0,1 0,1 1,-2 0,1 0,1 0,-2 1,2-1,0 0,0 2,1-1,-2-1,1 1,1 0,0 1,-6 6,7-19,11-23,-3 27,1 1,0-1,-1 0,1 1,-1 1,1 0,1 0,-2 1,2-1,3 1,-3 0,118-11,-97 5,-26 4,-18 5,8-1,2 1,0-1,-2 0,2 0,-1 1,1-1,-1 1,0 0,2 0,-1 1,-1 0,2 0,-1 0,0 0,1 0,-1 0,-2 5,-21 22,23-27</inkml:trace>
  <inkml:trace contextRef="#ctx0" brushRef="#br2" timeOffset="2">599 538,'-1'7,"0"-2,-2 1,1 0,0-1,-1 0,1 0,-2 1,1-1,0-1,-2 2,2-2,-1 0,0 0,-1 1,0-2,0 1,0-1,1 0,-2 0,1 0,-1 0,1-1,-2 0,2-1,-2 1,2-1,-2 0,2 0,-2-1,0 0,-74 28,56 15,17-36,23-17,-7 4,2 0,0 1,0 0,1 1,0-1,-2 2,2 0,0 1,0 0,1 0,8 1,85-8,-28-8,-57 16,-12 1,-1-1,1 1,-2 0,2 0,0 1,-2 0,2 0,-1 0,0 1,1 1,3 1,28 54,-40-57,0 1,-1-1,1 0,0 0,0 2,0-2,0 0,-1 0,1 0,0 0,0 0,-2-1,2 1,-1 0,1-1,-1 1,1-1,-1 1,0-1,0 0,1 0,-1 1,0-1,1 0,-1 0,1-1,-2 1,3 0,-26 3,20-3,0 1,0-1,-1 1,1 1,0 0,0-1,0 1,1 0,-2 1,2-1,-1 1,0 1,-33 16,38-18,1 0,0-1,0 1,0 0,0-1,0 1,1-1,-1 2,0-1,1-1,-1 1,1-1,0 1,-1-1,1 1,0-1,0 1,0 0,0-1,0 0,0 1,1-1,0 0,-1 0,0 0,1 0,-1-1,1 1,3 1,-1-1,2 0,-2 0,0 0,2-1,-2 2,1-2,0 0,-1 0,2-2,-2 2,1-1,0 0,-1 0,1-1,0 1,-1-1,3-1,35-9,-11 6,-26 4</inkml:trace>
  <inkml:trace contextRef="#ctx0" brushRef="#br2" timeOffset="3">235 605,'-1'-5,"1"0,-1 0,-1 1,1-1,0 0,-2 1,1-1,0 1,0-1,-1 1,-1 0,2 1,-4-5,-15-22,-12-41,33 55,1 2</inkml:trace>
  <inkml:trace contextRef="#ctx0" brushRef="#br2" timeOffset="4">370 382,'93'-6,"-81"2,-1 2,1-1,0 2,-1-2,1 2,0 1,2 0,-3 1,4 0,24 1,64-2,-89 0</inkml:trace>
  <inkml:trace contextRef="#ctx0" brushRef="#br2" timeOffset="5">761 555,'0'0</inkml:trace>
  <inkml:trace contextRef="#ctx0" brushRef="#br1" timeOffset="6">537 805,'-143'4,"49"8,24-11,69-2,0-1,-1 1,1-1,0 0,0 1,0-1,0-1,1 2,-1-1,0 0,1 0,0 0,-1 0,1 1,0-1,0-1,0 1,0 0,0 0,1 0,-1 0,0 1,1-3,0-5,-12-25,-11-27,21 59,1-1,-1 1,0-1,0 1,0 0,0 0,0 0,-1 1,0-1,1-1,-1 1,1 1,-1-1,0 1,1-1,-2 1,1 0,0-1,0 1,0 0,0 0,-1 1,0-2,1 1,0 1,0-1,-1 1,0 0,1 0,0 0,0 0,-2 0,2 0,1 0,-1 0,1-1,-1 1,-1 0,2-1,-1 1,1-1,-1 1,1-1,-1 0,1 1,-2-1,2 0,0 0,-1 0,1 0,0 0,0-1,0 1,0-1,0 1,-1-1,1 1,0-1,1 1,-1-1,0 1,1-1,-1 1,1-1,0 0,-1 0,1 0,0 1,0-1,0-1,-24-36,7 18,9-22,7 42</inkml:trace>
  <inkml:trace contextRef="#ctx0" brushRef="#br1" timeOffset="7">402 471,'-104'-3,"91"1,6 1,18 4,-10-3,0-1,0 1,1 0,-1 0,0 1,0-1,0 0,0 0,2 0,-2 1,0-1,0 1,0-1,0 1,0-1,0 2,0-1,0-1,0 1,1 0,-1 0,-1 0,1 0,0-1,0 1,-1 0,1 0,-1 1,1-1,-1 0,1 0,-1 0,0 0,1 1,-1-1,0 1,0-1,0 0,0 0,0 0,0 1,0-1,0 0,0 0,-1 0,1 0,-1 0,1 2,-57 114,54-110,0 0,0 0,0 1,1-1,0 1,1-1,0 0,0 1,0-1,1 1,1 5,-1-10,0 0,0-1,0 1,0-1,0 1,-1-1,1 1,-1 0,0-1,0 1,1-1,-2 0,0 0,1 2,0-2,-1 0,1 0,-1 0,1 0,-2-1,1 1,0 0,0 0,0 0,-2 0,5-1,-1 1,2-1,-1 0,-1 1,1-1,0 0,0 0,0 1,0 0,0-1,0 0,1 0,0 0,-1 0,1-1,-1 1,0 0,1 0,-1-1,1 1,0-1,0 0,-1 1,2-1,98 14,-78-9,73 5,-35-11,-20 48,36-36,-31-6,66-38,-46 5,-59 24,1-1,0 1,-1 1,1 0,1 0,-2-1,2 2,0 0,-1 1,1 0,0 0,-1 0,1 1,1 0,-9 0,1 0,-1-1,0 1,2-1,-2 1,1-1,-1 1,0-1,1 0,-1 0,0-1,1 1,-1 0,0 0,0 0,0 0,0 0,0-1,0 1,0 0,-1-1,1 1,0 0,-1-1,1 0,-1 0,0 1,2-1,-2 1,0-1,-39-3,38 5,0 0,0 0,0 0,0 0,0 0,0 0,0 0,0 0,0-1,-1 1,1 0,0-1,0 1,0-1,0 1,0-2,0 2,0-1,1 0,-1 1,0-1,0 0,1 0,-2 0,1 1,1-1,-1 0,1 0,0 0,-1 0,1 0,0 0,-1 0,1 0,0 0,0-1,0 1,0 0,0 0,0 0,0 0,0 0,0 0,0 0,1 0,-1 0,1-1,-2-12,-37-72,37 85,1-1,0 1,-1 0,1-1,-1 1,1 0,-1 0,0 0,1-1,-1 1,-1-1,1 1,0 0,0 1,0-1,0 0,0 0,0 0,0 1,0-1,0 0,-2 1,2-1,0 1,0-1,-1 1,-20-13,18 2,3 8</inkml:trace>
  <inkml:trace contextRef="#ctx0" brushRef="#br1" timeOffset="8">537 467,'-79'2,"38"22,-53 30,93-53,-1 1,1 0,0-1,0 1,0 0,0 0,0 1,-1-2,2 1,-1 0,1 0,-1 0,1 0,0 0,-1 1,1 0,0-1,0 0,1 0,-1 0,0 0,1 0,-1 0,1 1,1-1,-1 0,-1-1,1 1,0 0,1 0,-1-1,0 1,0 1,1-1,18 12,11 22,-1 9,-29-43,-1 0,1-1,0 1,-1 1,1-2,0 1,1-1,-1 1,1-1,-1 1,0-1,0 0,1 0,-1 0,2 1,-2-1,1-1,-1 2,1-1,-1 0,1 0,0-1,1 1,-2-1,1 0,0 1,0-1,0 0,0 0,0 0,0 0,0 0,0-1,65 17,-65-15,-1 0,1 0,-1 0,0 0,0 0,2 0,-2 1,0-1,0 0,0 1,0-1,0 1,-1 0,1-1,0 1,-1 0,1-1,-1 1,1 0,-1-1,0 1,0 1,2-2,-2 1,-2 0,2-1,0 1,0 0,-1 0,1-2,-1 0,0 0,0 0,1 1,-1-1,0 0,0 0,1 0,-1 0,0-1,0 1,1 0,-2 0,1 0,0-1,1 1,-1 0,0-1,1 1,-1 0,0-1,1 1,-1-1,1 1,-1-1,1 1,-1-1,1 0,-1 1,1-1,-2 1,2-1,0 0,-1 0,1 1,0-1,0-1,0 2,-1-1,1 0,-2-12,2 13,0-1,0-1,0 1,0 1,-1-1,1 0,0 1,0-1,0 0,-1 1,1-1,0 1,0-1,-1 0,1 1,-1-1,1 1,0-1,-1 1,1-1,-1 1,0-1,1 1,-2 0,2-1,-1 1,1 0,-1-1,0 1,1 0,-1 0,0 0,1-1,-1 1,0 0,1 0,-1 0,0 0,1 0,-1 0,-1 0,2 1,-1-1,0 0,1 0,-1 0,-127 6,124-5,1 1</inkml:trace>
  <inkml:trace contextRef="#ctx0" brushRef="#br1" timeOffset="9">370 826,'0'0</inkml:trace>
  <inkml:trace contextRef="#ctx0" brushRef="#br1" timeOffset="10">501 844,'2'0,"-1"0,1 0,0 1,1-1,-1 2,0-1,0-1,0 1,0 0,0 0,0 0,0 0,-1 0,1 0,-1 1,1-1,0 1,-1-1,1 1,-1 0,0 0,0 0,0-1,0 1,0 0,-1 0,1 0,1 0,-2 1,0-1,1 0,0-1,0 1,0-1,0 0,1 1,-1-1,0 0,2 0,-2 0,1 1,-1-1,1-1,-1 1,1 0,0-1,0 1,0-1,0 0,0 1,-1-1,1 0,1 0,-1 0,-1 0,1 0,0-1,-1 1,1 0,1-1,0 0,35 3,-59 15,90-10,-51-7,51-12,-33-20,21 16,-47 7,-7 7,-2 0,1 1,1-1,-1 1,0-1,1 1,-1 0,1-1,-1 1,2 0,-2 0,1 0,-1 1,1-1,0 1,0 0,-1 0,1 0,80-14,-63-3,-18 15</inkml:trace>
  <inkml:trace contextRef="#ctx0" brushRef="#br1" timeOffset="11">887 844,'-48'46,"39"-41,-1 1,-1-1,1-1,-1-1,0 0,-1 1,1-2,1 0,-2 0,1-2,-1 1,1-1,-1-1,1 1,-2-2,-22 1,-11 1,42 0</inkml:trace>
  <inkml:trace contextRef="#ctx0" brushRef="#br1" timeOffset="12">379 826,'-117'10,"115"-10,1 0,-1 1,1-1,-1 0,1 0,-2 0,2-1,-1 1,1 0,-1-1,1 1,-1 0,1-1,-1 0,0 1,1-1,0 0,0 0,-1 0,1 1,0-2,0 1,-1-1,1 1,0 0,0 0,-36-16,36 16,1 0,-1 0,0-1,0 1,1 0,-1-1,1 1,-1-2,1 2,-1 0,1-1,0 1,0-1,0 1,0-1,0 1,0-1,0 1,1-2,-1 2,0-1,1 1,-1 0,1-1,-1 1,1 0,0-1,0 0,3-14,-2 14,-2 1,0-1,0-1,1 1,-1 1,0-1,-1 0,1 1,0-1,0 0,-2 1,2-1,-1-1,1 2,-1-1,0 1,1-1,-1 1,0-1,0 1,0 0,0-1,-1 1,0-1,1 1,0 0,-1 0,1 0,-1 0,1 0,-24-21,24 19</inkml:trace>
  <inkml:trace contextRef="#ctx0" brushRef="#br1" timeOffset="13">830 362,'0'0,"1"0,-1 0,1 1,0-1,-1 0,1 0,-1 0,1 0,0 0,-1 0,1 0,0-1,-1 1,1 0,-1 0,1 0,-1 0,2-1,-1 1,-1 0,1-1,-1 1,1 0,-1-1,1 1,-1-1,0 1,1-1,-1 1,1-1,-1 1,0-1,0 1,1-1,-1 1,0-1,0 1,1-1,-1 0,0 1,0-1,0 0,0 1,0-1,0-1,-12-65,17-42,-5 110,0 0,0 0,0 0,0 0,0-1,0 1,0 0,0 0,-1 0,1-1,0 1,-2 0,2 0,0-1,-1 1,1 0,-1-1,1 1,-1 0,0-1,1 2,-1-2,0 1,1-1,-1 1,0-1,1 0,-1 1,0-1,0 0,-1 1,2-1,-1 0,0 0,0 0,0 0,1 0,-1 0,0 0,0 1,1-1,-1 0,0 0,1 1,-1-1,-1 0,2 1,-1-1,1 1,-1-1,1 1,-1-1,1 1,-1-1,1 1,0 0,-1-1,1 1,0 0,-1-1,1 1,0 0,0-1,0 2,0-1,0-1,0 1,0 0,0 0,0-1,0 1,0 0,0-1,0 1,0 0,1-1,-1 1,0 0,0-1,1 1,-1 0,0-1,0 1,0 0,1-1,-1 1,0 0,0-1,0 2,0-1,0-1,-1 1,1 0,0-1,0 1,0 0,0-1,-1 1,1 0,0-1,-1 1,1-1,-1 1,1-1,0 1,-1 0,1-1,-1 0,1 1,-1-1,1 1,-2-1,1 0,1 1,-1-1,0 0,1 0,-1 1,0-1,1 0,-1 0,0 0,1 0,-1 0,0 0,1 0,-1 0,0 0,1 0,-2 0,1-1,-45-15,46 15,-2 0,1 1,0-1,0 1,0 0,0-1,0 1,1 0,-1-1,0 1,0 0,0 0,-1 0,1 0,0 0,0 0,0 0,0 0,0 0,0 0,0 1,0-1,0 0,-1 1,1-1,0 1,0-1,1 1,-1-1,0 1,0-1,0 2,-1-29,22-32,-20 59,0-1,0 1,0-1,-1 1,1-1,0 1,0 0,0-2,-1 2,1-1,0 1,-1-1,1 1,0 0,-1-1,1 1,0 0,-1-1,1 1,-1 0,1-1,-1 1,1 0,0 0,-1 0,1-1,-1 1,1 0,-2 0,2 0,-1 0,1 0,-1 0,0 0,1 0,-1 0,1 0,-1 0,1 1,-1-1,1 0,0 0,-1 0,1 0,-1 1,1-1,-1 0,1 1,0-1,-1 0,1 1,-2-1,2 0,0 1,0-1,-1 1,1-1,0 2,0-2,-1 1,1 101,-2-94,5-7,5-2,67-6,-75 6,1 1,-1 0,1-1,-1 1,1 0,-1-1,2 1,-2-1,1 1,-1-1,0 1,1-1,-1 0,0 1,1-1,-1 1,0-1,0 0,0 1,0-1,1 0,-1 1,0-1,0 0,0 1,0-1,-1 1,1-2,0 1,0 1,0-1,0 0,-1 1,1-1,0 1,0-1,-1 0,1 1,-1-1,1 1,0-1,-2 1,2 0,-1-1,1 1,-1-1,1 1,-1 0,0-1,1 1,-1 0,1 0,-1-1,0 1,1 0,-1 0,0 0,-9-13,9-3,2 15,-1 0,0 0,1 0,-1 0,0 0,0 0,0 0,0-1,0 1,0-1,0 1,-1 0,1 0,0 0,0 0,-1 0,1 0,-1 0,1 0,-1 0,-1 0,2 0,-1 0,0 0,1 0,-1 0,0 1,0-2,0 1,0 1,0-1,0 1,0-1,-1 1,1-1,0 1,0-1,0 1,-1 0,0 0</inkml:trace>
  <inkml:trace contextRef="#ctx0" brushRef="#br1" timeOffset="14">766 262,'4'0,"0"0,2 0,0 0,0 0,-1 0,0 0,1 0,-1 0,1 0,-2 0</inkml:trace>
  <inkml:trace contextRef="#ctx0" brushRef="#br1" timeOffset="15">830 262,'-1'0,"-3"0,-4 0,-6 3,-6 3,-2 0</inkml:trace>
  <inkml:trace contextRef="#ctx0" brushRef="#br1" timeOffset="16">379 344,'-109'0,"-39"-4,101-18,45 24,1-1,0 1,0-1,-1 1,0-1,1 1,0 1,1-1,-1-1,0 1,0 0,1 0,-1 0,1 0,0 1,0-1,-1 0,1 0,0 0,1 1,-1-2,-1 143,11-94,26-29,-34-14,-2-5,1 0,0 0,-1 0,1 0,0 0,0 0,0 1,0-1,0 0,0 0,1 0,0-1,-1 1,1-1,-1 1,1 0,0 0,1-1,-2 0,1 0,0 0,0 0,0 0,1 0,-1-1,0 1,0-1,1 1,1-1,-2-1,0 0,0 0,0 0,1 0,-2 0,1-1,0 1,-1 0,1-2,-1 1,2 1,-2-1,0 0,1 1,-1-1,0 0,0 0,-1-1,1 1,0 0,-1 0,1-1,-1 1,0 0,2 0,-2-1,0 1,0 0,-2-1,2 1,0-1,3-17,-1 8,-1 2,0 1,1-1,0 2,2-2,-1 2,0-1,1 1,1-1,-1 1,3-3,31-23,-14 1,-27 35,1-2,2 0,-1 0,0 0,0 0,0 0,0 1,0-1,1 0,-1 1,0-1,0 1,1-1,-1 1,-1-1,1 1,1-1,-1 1,1 0,-1-1,0 1,1 0,-1-1,1 1,0 0,-1 0,1 0,0 1,-1-2,1 1,0 0,0 0,0 0,0 0,0 0,0 0,0-1,0 1,0 0,0 0,0 0,0 0,1 0,-1-1,0 1,1 0,-1 0,1 1,-1-2,1 1,-1 0,1 0,-1-1,1 1,0-1,-1 1,2-1,-1 1,38 11,-32-11,0 1,1 0,-2 0,2 0,-2 1,1 0,-1 1,1-1,-1 1,0 0,4 4,-7-4,1 1,0-1,-2 2,1-1,-1 0,1 1,-1-1,0 1,0 0,-1-1,0 6,30 57,4-34,127 53,-111-62,-71-53,-80-81,99 108,0 0,0 0,0 0,0 0,-1-1,2 0,-1 1,0 0,1-1,-1 1,1 0,0-1,-1 1,1 0,0-1,0 1,0-2,0 2,0-1,0 1,0 0,1-1,-1 1,0-1,1 1,-1 0,1-1,-1 1,1 0,1-1,-1 0,-1 1,1 0,0 0,0 0,0 0,0 0,48-41,-47 39,69-33,-85 59,7-16,-1-1,0 1,-1-2,1 0,-1 1,0-2,-1 0,2-1,-3 2,10-5,1 0,-1 0,1 1,-1-1,1 0,-2 0,2 0,-1 0,1 0,-1 0,1 0,-1 0,1 0,-1 0,1-1,-1 1,1 0,-1 0,1 0,0-1,-1 1,1 0,-1 0,1-1,-1 1,1 0,0-2,-1 2,1 0,0-1,0 1,-2-1,2 1,0 0,0-1,-1 1,1-1,0 1,0-1,0 1,0-1,0 1,0-1,0 1,0-1,0 1,0-1,0 1,0-1,0 1,0-1,0 1,0-1,1 1,-1-1,0 1,0 0,2-1,-2 1,0-1,0 1,1 0,-1-1,1 1,-1 0,0-2,1 2,0 0,0-3</inkml:trace>
  <inkml:trace contextRef="#ctx0" brushRef="#br0" timeOffset="17">0 432,'27'-98,"-25"95,1 0,-1 1,0 0,0 0,0 0,0 0,2 0,-2 1,1-1,-1 0,2 0,-1 1,-1 0,1 0,1 1,-1-1,0 0,0 1,1 0,-1-1,0 1,-1 0,2 1,-1-1,0 1,0-1,1 1,-1 0,0 0,19 0,122-3,-72-23,-7 7,-56 15,-2-1,2 1,0 1,-1 0,0 0,1 1,0 0,0 1,0 0,0 0,-1 0,5 2,16-2,-11 1,-13-1,0 1,-1-1,1 0,-1 0,0 0,1 0,-1-1,0 0,1 1,-1-1,1-1,-1 1,0-1,0-1,0 2,-1-2,1 1,2-2,-4 3,-1 0,0 0,0-1,0 0,1 0,-1 1,0-1,0 1,0-1,-1 1,1-1,-1 0,1 1,-1-1,1-1,-1 1,0 1,0-1,0 0,0 0,0 1,0-1,-1 0,1-11,-1 11,0 0,0 0,1-1,-1 1,1 0,0-1,-1 1,1 0,0 0,0 0,0-1,1 1,-1-1,0 1,1 0,-1 0,1 0,0-1,0 1,0 0,0 1,0-1,0 0,1 0,0 1,-1-1,1 0,-1 0,1 1,-1-1,2 1,-1 0,0 0,0 0,0 0,0 0,1 0,-1 0,0 1,1-1,8 1,-9-1,-1 1,2-1,-1 1,-1 0,1 0,0 0,-1 0,1 0,1 0,-2 0,1 0,0 1,-1-1,1 0,-1 1,2 0,-1-1,-1 1,1 0,-1 0,0 0,1 0,-1 0,1 0,-1 0,1 0,-1 0,0 2,0-2,0 1,-1-1,1 0,0 1,0 0,1 0,-2-1,1 1,0-1,0 0,0 2,1-2,-1 0,0 0,0 0,2 1,-2-1,1-1,-1 1,1 0,-1 0,1 0,-1-1,2 1,-1-1,-1 1,1-1,0 0,-1 0,1 0,1 0,-1 0,-1 0,1 0,0 0,-1-1,2 1,-1 0,-1-1,1 0,0 0,1 1,13 40,-13-30,-2-8,0-1,0 0,-1 0,1 1,-1-1,0 0,1 2,-1-2,0 0,1 1,-1-1,0 1,0-1,0 0,-1 1,1-1,0 1,0-1,-1 1,1 0,-1-1,1 0,-1 0,1 1,-1-1,-1 1,0 2,-1-1,2-1,-1 1,0 0,1-1,0 1,-1 0,1 1,-1-1,1 0,1 0,-1 0,1 1,-1-1,1 0,0 0,0 0,0 0,1 2,30 17,-29-20</inkml:trace>
  <inkml:trace contextRef="#ctx0" brushRef="#br0" timeOffset="18">14 397,'0'10,"0"4,0-1,0 1,0-3</inkml:trace>
  <inkml:trace contextRef="#ctx0" brushRef="#br0" timeOffset="19">154 791,'4'-41,"-36"-6,-1 6,11 5,0-5,12 11,-6 12,-3-20,20 0,-1 34</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a:extLst>
              <a:ext uri="{FF2B5EF4-FFF2-40B4-BE49-F238E27FC236}">
                <a16:creationId xmlns:a16="http://schemas.microsoft.com/office/drawing/2014/main" id="{0D0CD456-6C49-014A-9887-DDEF35F3B108}"/>
              </a:ext>
            </a:extLst>
          </p:cNvPr>
          <p:cNvSpPr>
            <a:spLocks noGrp="1" noChangeArrowheads="1"/>
          </p:cNvSpPr>
          <p:nvPr>
            <p:ph type="hdr" sz="quarter"/>
          </p:nvPr>
        </p:nvSpPr>
        <p:spPr bwMode="auto">
          <a:xfrm>
            <a:off x="0" y="0"/>
            <a:ext cx="4302125" cy="339725"/>
          </a:xfrm>
          <a:prstGeom prst="rect">
            <a:avLst/>
          </a:prstGeom>
          <a:noFill/>
          <a:ln w="9525">
            <a:noFill/>
            <a:miter lim="800000"/>
            <a:headEnd/>
            <a:tailEnd/>
          </a:ln>
          <a:effectLst/>
        </p:spPr>
        <p:txBody>
          <a:bodyPr vert="horz" wrap="square" lIns="93172" tIns="46587" rIns="93172" bIns="46587" numCol="1" anchor="t" anchorCtr="0" compatLnSpc="1">
            <a:prstTxWarp prst="textNoShape">
              <a:avLst/>
            </a:prstTxWarp>
          </a:bodyPr>
          <a:lstStyle>
            <a:lvl1pPr eaLnBrk="1" hangingPunct="1">
              <a:defRPr sz="1200">
                <a:latin typeface="Arial" panose="020B0604020202020204" pitchFamily="34" charset="0"/>
                <a:ea typeface="MS PGothic" panose="020B0600070205080204" pitchFamily="34" charset="-128"/>
              </a:defRPr>
            </a:lvl1pPr>
          </a:lstStyle>
          <a:p>
            <a:pPr>
              <a:defRPr/>
            </a:pPr>
            <a:endParaRPr lang="en-US" altLang="en-US"/>
          </a:p>
        </p:txBody>
      </p:sp>
      <p:sp>
        <p:nvSpPr>
          <p:cNvPr id="6147" name="Rectangle 3">
            <a:extLst>
              <a:ext uri="{FF2B5EF4-FFF2-40B4-BE49-F238E27FC236}">
                <a16:creationId xmlns:a16="http://schemas.microsoft.com/office/drawing/2014/main" id="{61347F47-CCFC-2249-9FFB-D1AF871D39A0}"/>
              </a:ext>
            </a:extLst>
          </p:cNvPr>
          <p:cNvSpPr>
            <a:spLocks noGrp="1" noChangeArrowheads="1"/>
          </p:cNvSpPr>
          <p:nvPr>
            <p:ph type="dt" idx="1"/>
          </p:nvPr>
        </p:nvSpPr>
        <p:spPr bwMode="auto">
          <a:xfrm>
            <a:off x="5621338" y="0"/>
            <a:ext cx="4303712" cy="339725"/>
          </a:xfrm>
          <a:prstGeom prst="rect">
            <a:avLst/>
          </a:prstGeom>
          <a:noFill/>
          <a:ln w="9525">
            <a:noFill/>
            <a:miter lim="800000"/>
            <a:headEnd/>
            <a:tailEnd/>
          </a:ln>
          <a:effectLst/>
        </p:spPr>
        <p:txBody>
          <a:bodyPr vert="horz" wrap="square" lIns="93172" tIns="46587" rIns="93172" bIns="46587" numCol="1" anchor="t" anchorCtr="0" compatLnSpc="1">
            <a:prstTxWarp prst="textNoShape">
              <a:avLst/>
            </a:prstTxWarp>
          </a:bodyPr>
          <a:lstStyle>
            <a:lvl1pPr algn="r" eaLnBrk="1" hangingPunct="1">
              <a:defRPr sz="1200">
                <a:latin typeface="Arial" panose="020B0604020202020204" pitchFamily="34" charset="0"/>
                <a:ea typeface="MS PGothic" panose="020B0600070205080204" pitchFamily="34" charset="-128"/>
              </a:defRPr>
            </a:lvl1pPr>
          </a:lstStyle>
          <a:p>
            <a:pPr>
              <a:defRPr/>
            </a:pPr>
            <a:endParaRPr lang="en-US" altLang="en-US"/>
          </a:p>
        </p:txBody>
      </p:sp>
      <p:sp>
        <p:nvSpPr>
          <p:cNvPr id="5124" name="Rectangle 4">
            <a:extLst>
              <a:ext uri="{FF2B5EF4-FFF2-40B4-BE49-F238E27FC236}">
                <a16:creationId xmlns:a16="http://schemas.microsoft.com/office/drawing/2014/main" id="{A64EF67D-39B4-4EA4-BC6B-7E7E7176D677}"/>
              </a:ext>
            </a:extLst>
          </p:cNvPr>
          <p:cNvSpPr>
            <a:spLocks noGrp="1" noRot="1" noChangeAspect="1" noChangeArrowheads="1" noTextEdit="1"/>
          </p:cNvSpPr>
          <p:nvPr>
            <p:ph type="sldImg" idx="2"/>
          </p:nvPr>
        </p:nvSpPr>
        <p:spPr bwMode="auto">
          <a:xfrm>
            <a:off x="2697163" y="509588"/>
            <a:ext cx="4532312" cy="254952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9" name="Rectangle 5">
            <a:extLst>
              <a:ext uri="{FF2B5EF4-FFF2-40B4-BE49-F238E27FC236}">
                <a16:creationId xmlns:a16="http://schemas.microsoft.com/office/drawing/2014/main" id="{247059C3-5E1E-274F-977A-799A265DF9FF}"/>
              </a:ext>
            </a:extLst>
          </p:cNvPr>
          <p:cNvSpPr>
            <a:spLocks noGrp="1" noChangeArrowheads="1"/>
          </p:cNvSpPr>
          <p:nvPr>
            <p:ph type="body" sz="quarter" idx="3"/>
          </p:nvPr>
        </p:nvSpPr>
        <p:spPr bwMode="auto">
          <a:xfrm>
            <a:off x="993775" y="3228975"/>
            <a:ext cx="7939088" cy="3059113"/>
          </a:xfrm>
          <a:prstGeom prst="rect">
            <a:avLst/>
          </a:prstGeom>
          <a:noFill/>
          <a:ln w="9525">
            <a:noFill/>
            <a:miter lim="800000"/>
            <a:headEnd/>
            <a:tailEnd/>
          </a:ln>
          <a:effectLst/>
        </p:spPr>
        <p:txBody>
          <a:bodyPr vert="horz" wrap="square" lIns="93172" tIns="46587" rIns="93172" bIns="46587" numCol="1" anchor="t" anchorCtr="0" compatLnSpc="1">
            <a:prstTxWarp prst="textNoShape">
              <a:avLst/>
            </a:prstTxWarp>
          </a:bodyPr>
          <a:lstStyle/>
          <a:p>
            <a:pPr lvl="0"/>
            <a:r>
              <a:rPr lang="de-DE" altLang="en-US" noProof="0"/>
              <a:t>Textmasterformate durch Klicken bearbeiten</a:t>
            </a:r>
          </a:p>
          <a:p>
            <a:pPr lvl="1"/>
            <a:r>
              <a:rPr lang="de-DE" altLang="en-US" noProof="0"/>
              <a:t>Zweite Ebene</a:t>
            </a:r>
          </a:p>
          <a:p>
            <a:pPr lvl="2"/>
            <a:r>
              <a:rPr lang="de-DE" altLang="en-US" noProof="0"/>
              <a:t>Dritte Ebene</a:t>
            </a:r>
          </a:p>
          <a:p>
            <a:pPr lvl="3"/>
            <a:r>
              <a:rPr lang="de-DE" altLang="en-US" noProof="0"/>
              <a:t>Vierte Ebene</a:t>
            </a:r>
          </a:p>
          <a:p>
            <a:pPr lvl="4"/>
            <a:r>
              <a:rPr lang="de-DE" altLang="en-US" noProof="0"/>
              <a:t>Fünfte Ebene</a:t>
            </a:r>
          </a:p>
        </p:txBody>
      </p:sp>
      <p:sp>
        <p:nvSpPr>
          <p:cNvPr id="6150" name="Rectangle 6">
            <a:extLst>
              <a:ext uri="{FF2B5EF4-FFF2-40B4-BE49-F238E27FC236}">
                <a16:creationId xmlns:a16="http://schemas.microsoft.com/office/drawing/2014/main" id="{2840CB83-E953-F943-B1F2-0861BF49FBB8}"/>
              </a:ext>
            </a:extLst>
          </p:cNvPr>
          <p:cNvSpPr>
            <a:spLocks noGrp="1" noChangeArrowheads="1"/>
          </p:cNvSpPr>
          <p:nvPr>
            <p:ph type="ftr" sz="quarter" idx="4"/>
          </p:nvPr>
        </p:nvSpPr>
        <p:spPr bwMode="auto">
          <a:xfrm>
            <a:off x="0" y="6456363"/>
            <a:ext cx="4302125" cy="339725"/>
          </a:xfrm>
          <a:prstGeom prst="rect">
            <a:avLst/>
          </a:prstGeom>
          <a:noFill/>
          <a:ln w="9525">
            <a:noFill/>
            <a:miter lim="800000"/>
            <a:headEnd/>
            <a:tailEnd/>
          </a:ln>
          <a:effectLst/>
        </p:spPr>
        <p:txBody>
          <a:bodyPr vert="horz" wrap="square" lIns="93172" tIns="46587" rIns="93172" bIns="46587" numCol="1" anchor="b" anchorCtr="0" compatLnSpc="1">
            <a:prstTxWarp prst="textNoShape">
              <a:avLst/>
            </a:prstTxWarp>
          </a:bodyPr>
          <a:lstStyle>
            <a:lvl1pPr eaLnBrk="1" hangingPunct="1">
              <a:defRPr sz="1200">
                <a:latin typeface="Arial" panose="020B0604020202020204" pitchFamily="34" charset="0"/>
                <a:ea typeface="MS PGothic" panose="020B0600070205080204" pitchFamily="34" charset="-128"/>
              </a:defRPr>
            </a:lvl1pPr>
          </a:lstStyle>
          <a:p>
            <a:pPr>
              <a:defRPr/>
            </a:pPr>
            <a:endParaRPr lang="en-US" altLang="en-US"/>
          </a:p>
        </p:txBody>
      </p:sp>
      <p:sp>
        <p:nvSpPr>
          <p:cNvPr id="6151" name="Rectangle 7">
            <a:extLst>
              <a:ext uri="{FF2B5EF4-FFF2-40B4-BE49-F238E27FC236}">
                <a16:creationId xmlns:a16="http://schemas.microsoft.com/office/drawing/2014/main" id="{0041F1AD-38AA-2542-9243-6A30E88C5CB0}"/>
              </a:ext>
            </a:extLst>
          </p:cNvPr>
          <p:cNvSpPr>
            <a:spLocks noGrp="1" noChangeArrowheads="1"/>
          </p:cNvSpPr>
          <p:nvPr>
            <p:ph type="sldNum" sz="quarter" idx="5"/>
          </p:nvPr>
        </p:nvSpPr>
        <p:spPr bwMode="auto">
          <a:xfrm>
            <a:off x="5621338" y="6456363"/>
            <a:ext cx="4303712" cy="339725"/>
          </a:xfrm>
          <a:prstGeom prst="rect">
            <a:avLst/>
          </a:prstGeom>
          <a:noFill/>
          <a:ln w="9525">
            <a:noFill/>
            <a:miter lim="800000"/>
            <a:headEnd/>
            <a:tailEnd/>
          </a:ln>
          <a:effectLst/>
        </p:spPr>
        <p:txBody>
          <a:bodyPr vert="horz" wrap="square" lIns="93172" tIns="46587" rIns="93172" bIns="46587" numCol="1" anchor="b" anchorCtr="0" compatLnSpc="1">
            <a:prstTxWarp prst="textNoShape">
              <a:avLst/>
            </a:prstTxWarp>
          </a:bodyPr>
          <a:lstStyle>
            <a:lvl1pPr algn="r" eaLnBrk="1" hangingPunct="1">
              <a:defRPr sz="1200">
                <a:latin typeface="Arial" panose="020B0604020202020204" pitchFamily="34" charset="0"/>
                <a:ea typeface="MS PGothic" panose="020B0600070205080204" pitchFamily="34" charset="-128"/>
              </a:defRPr>
            </a:lvl1pPr>
          </a:lstStyle>
          <a:p>
            <a:pPr>
              <a:defRPr/>
            </a:pPr>
            <a:fld id="{6F4D14F3-A24E-4592-9A03-9E5698CDCD5F}" type="slidenum">
              <a:rPr lang="de-DE" altLang="en-US"/>
              <a:pPr>
                <a:defRPr/>
              </a:pPr>
              <a:t>‹#›</a:t>
            </a:fld>
            <a:endParaRPr lang="de-DE"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300" kern="1200">
        <a:solidFill>
          <a:schemeClr val="tx1"/>
        </a:solidFill>
        <a:latin typeface="Arial" charset="0"/>
        <a:ea typeface="MS PGothic" panose="020B0600070205080204" pitchFamily="34" charset="-128"/>
        <a:cs typeface="Arial" charset="0"/>
      </a:defRPr>
    </a:lvl1pPr>
    <a:lvl2pPr marL="511175" algn="l" rtl="0" eaLnBrk="0" fontAlgn="base" hangingPunct="0">
      <a:spcBef>
        <a:spcPct val="30000"/>
      </a:spcBef>
      <a:spcAft>
        <a:spcPct val="0"/>
      </a:spcAft>
      <a:defRPr sz="1300" kern="1200">
        <a:solidFill>
          <a:schemeClr val="tx1"/>
        </a:solidFill>
        <a:latin typeface="Arial" charset="0"/>
        <a:ea typeface="MS PGothic" panose="020B0600070205080204" pitchFamily="34" charset="-128"/>
        <a:cs typeface="Arial" charset="0"/>
      </a:defRPr>
    </a:lvl2pPr>
    <a:lvl3pPr marL="1022350" algn="l" rtl="0" eaLnBrk="0" fontAlgn="base" hangingPunct="0">
      <a:spcBef>
        <a:spcPct val="30000"/>
      </a:spcBef>
      <a:spcAft>
        <a:spcPct val="0"/>
      </a:spcAft>
      <a:defRPr sz="1300" kern="1200">
        <a:solidFill>
          <a:schemeClr val="tx1"/>
        </a:solidFill>
        <a:latin typeface="Arial" charset="0"/>
        <a:ea typeface="MS PGothic" panose="020B0600070205080204" pitchFamily="34" charset="-128"/>
        <a:cs typeface="Arial" charset="0"/>
      </a:defRPr>
    </a:lvl3pPr>
    <a:lvl4pPr marL="1535113" algn="l" rtl="0" eaLnBrk="0" fontAlgn="base" hangingPunct="0">
      <a:spcBef>
        <a:spcPct val="30000"/>
      </a:spcBef>
      <a:spcAft>
        <a:spcPct val="0"/>
      </a:spcAft>
      <a:defRPr sz="1300" kern="1200">
        <a:solidFill>
          <a:schemeClr val="tx1"/>
        </a:solidFill>
        <a:latin typeface="Arial" charset="0"/>
        <a:ea typeface="MS PGothic" panose="020B0600070205080204" pitchFamily="34" charset="-128"/>
        <a:cs typeface="Arial" charset="0"/>
      </a:defRPr>
    </a:lvl4pPr>
    <a:lvl5pPr marL="2046288" algn="l" rtl="0" eaLnBrk="0" fontAlgn="base" hangingPunct="0">
      <a:spcBef>
        <a:spcPct val="30000"/>
      </a:spcBef>
      <a:spcAft>
        <a:spcPct val="0"/>
      </a:spcAft>
      <a:defRPr sz="1300" kern="1200">
        <a:solidFill>
          <a:schemeClr val="tx1"/>
        </a:solidFill>
        <a:latin typeface="Arial" charset="0"/>
        <a:ea typeface="MS PGothic" panose="020B0600070205080204" pitchFamily="34" charset="-128"/>
        <a:cs typeface="Arial" charset="0"/>
      </a:defRPr>
    </a:lvl5pPr>
    <a:lvl6pPr marL="2558807" algn="l" defTabSz="1023523" rtl="0" eaLnBrk="1" latinLnBrk="0" hangingPunct="1">
      <a:defRPr sz="1300" kern="1200">
        <a:solidFill>
          <a:schemeClr val="tx1"/>
        </a:solidFill>
        <a:latin typeface="+mn-lt"/>
        <a:ea typeface="+mn-ea"/>
        <a:cs typeface="+mn-cs"/>
      </a:defRPr>
    </a:lvl6pPr>
    <a:lvl7pPr marL="3070568" algn="l" defTabSz="1023523" rtl="0" eaLnBrk="1" latinLnBrk="0" hangingPunct="1">
      <a:defRPr sz="1300" kern="1200">
        <a:solidFill>
          <a:schemeClr val="tx1"/>
        </a:solidFill>
        <a:latin typeface="+mn-lt"/>
        <a:ea typeface="+mn-ea"/>
        <a:cs typeface="+mn-cs"/>
      </a:defRPr>
    </a:lvl7pPr>
    <a:lvl8pPr marL="3582330" algn="l" defTabSz="1023523" rtl="0" eaLnBrk="1" latinLnBrk="0" hangingPunct="1">
      <a:defRPr sz="1300" kern="1200">
        <a:solidFill>
          <a:schemeClr val="tx1"/>
        </a:solidFill>
        <a:latin typeface="+mn-lt"/>
        <a:ea typeface="+mn-ea"/>
        <a:cs typeface="+mn-cs"/>
      </a:defRPr>
    </a:lvl8pPr>
    <a:lvl9pPr marL="4094092" algn="l" defTabSz="1023523"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fld id="{214FA7B1-F5A7-A340-B2C7-F5F7CC5AB2FB}" type="slidenum">
              <a:rPr lang="x-none" smtClean="0"/>
              <a:t>4</a:t>
            </a:fld>
            <a:endParaRPr lang="x-none"/>
          </a:p>
        </p:txBody>
      </p:sp>
    </p:spTree>
    <p:extLst>
      <p:ext uri="{BB962C8B-B14F-4D97-AF65-F5344CB8AC3E}">
        <p14:creationId xmlns:p14="http://schemas.microsoft.com/office/powerpoint/2010/main" val="35572102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6F4D14F3-A24E-4592-9A03-9E5698CDCD5F}" type="slidenum">
              <a:rPr lang="de-DE" altLang="en-US" smtClean="0"/>
              <a:pPr>
                <a:defRPr/>
              </a:pPr>
              <a:t>13</a:t>
            </a:fld>
            <a:endParaRPr lang="de-DE" altLang="en-US"/>
          </a:p>
        </p:txBody>
      </p:sp>
    </p:spTree>
    <p:extLst>
      <p:ext uri="{BB962C8B-B14F-4D97-AF65-F5344CB8AC3E}">
        <p14:creationId xmlns:p14="http://schemas.microsoft.com/office/powerpoint/2010/main" val="38166634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l" defTabSz="914400" rtl="0" eaLnBrk="0" fontAlgn="base" latinLnBrk="0" hangingPunct="0">
              <a:lnSpc>
                <a:spcPct val="100000"/>
              </a:lnSpc>
              <a:spcBef>
                <a:spcPct val="30000"/>
              </a:spcBef>
              <a:spcAft>
                <a:spcPct val="0"/>
              </a:spcAft>
              <a:buClrTx/>
              <a:buSzTx/>
              <a:buFont typeface="+mj-lt"/>
              <a:buAutoNum type="arabicPeriod"/>
              <a:tabLst/>
              <a:defRPr/>
            </a:pPr>
            <a:endParaRPr lang="en-GB" sz="1300" kern="1200" dirty="0">
              <a:solidFill>
                <a:schemeClr val="tx1"/>
              </a:solidFill>
              <a:effectLst/>
              <a:latin typeface="Arial" charset="0"/>
              <a:ea typeface="MS PGothic" panose="020B0600070205080204" pitchFamily="34" charset="-128"/>
              <a:cs typeface="Arial" charset="0"/>
            </a:endParaRPr>
          </a:p>
          <a:p>
            <a:r>
              <a:rPr lang="en-US" sz="1300" b="1" i="0" u="none" strike="noStrike" kern="1200" baseline="0" dirty="0">
                <a:solidFill>
                  <a:schemeClr val="tx1"/>
                </a:solidFill>
                <a:latin typeface="Arial" charset="0"/>
                <a:ea typeface="MS PGothic" panose="020B0600070205080204" pitchFamily="34" charset="-128"/>
                <a:cs typeface="Arial" charset="0"/>
              </a:rPr>
              <a:t>national policies and plans </a:t>
            </a:r>
            <a:endParaRPr lang="en-US" sz="1300" b="0" i="0" u="none" strike="noStrike" kern="1200" baseline="0" dirty="0">
              <a:solidFill>
                <a:schemeClr val="tx1"/>
              </a:solidFill>
              <a:latin typeface="Arial" charset="0"/>
              <a:ea typeface="MS PGothic" panose="020B0600070205080204" pitchFamily="34" charset="-128"/>
              <a:cs typeface="Arial" charset="0"/>
            </a:endParaRPr>
          </a:p>
          <a:p>
            <a:r>
              <a:rPr lang="en-US" sz="1300" b="0" i="0" u="none" strike="noStrike" kern="1200" baseline="0" dirty="0">
                <a:solidFill>
                  <a:schemeClr val="tx1"/>
                </a:solidFill>
                <a:latin typeface="Arial" charset="0"/>
                <a:ea typeface="MS PGothic" panose="020B0600070205080204" pitchFamily="34" charset="-128"/>
                <a:cs typeface="Arial" charset="0"/>
              </a:rPr>
              <a:t>− Are policies being implemented as planned? Are they having the desired impacts in reducing emissions and achieving other objectives? </a:t>
            </a:r>
          </a:p>
          <a:p>
            <a:r>
              <a:rPr lang="en-US" sz="1300" b="0" i="0" u="none" strike="noStrike" kern="1200" baseline="0" dirty="0">
                <a:solidFill>
                  <a:schemeClr val="tx1"/>
                </a:solidFill>
                <a:latin typeface="Arial" charset="0"/>
                <a:ea typeface="MS PGothic" panose="020B0600070205080204" pitchFamily="34" charset="-128"/>
                <a:cs typeface="Arial" charset="0"/>
              </a:rPr>
              <a:t>− Are new policies that can help achieve mitigation and other objectives? Are new policies that create challenges for meeting mitigation and other objectives? </a:t>
            </a:r>
          </a:p>
          <a:p>
            <a:r>
              <a:rPr lang="en-US" sz="1300" b="0" i="0" u="none" strike="noStrike" kern="1200" baseline="0" dirty="0">
                <a:solidFill>
                  <a:schemeClr val="tx1"/>
                </a:solidFill>
                <a:latin typeface="Arial" charset="0"/>
                <a:ea typeface="MS PGothic" panose="020B0600070205080204" pitchFamily="34" charset="-128"/>
                <a:cs typeface="Arial" charset="0"/>
              </a:rPr>
              <a:t>− What synergies exist between national development goals and related indicators and climate change mitigation? What potential trade-offs might need to be managed? </a:t>
            </a:r>
          </a:p>
          <a:p>
            <a:r>
              <a:rPr lang="en-US" sz="1300" b="0" i="0" u="none" strike="noStrike" kern="1200" baseline="0" dirty="0">
                <a:solidFill>
                  <a:schemeClr val="tx1"/>
                </a:solidFill>
                <a:latin typeface="Arial" charset="0"/>
                <a:ea typeface="MS PGothic" panose="020B0600070205080204" pitchFamily="34" charset="-128"/>
                <a:cs typeface="Arial" charset="0"/>
              </a:rPr>
              <a:t>	</a:t>
            </a:r>
          </a:p>
          <a:p>
            <a:pPr marL="342900" marR="0" lvl="0" indent="-342900" algn="l" defTabSz="914400" rtl="0" eaLnBrk="0" fontAlgn="base" latinLnBrk="0" hangingPunct="0">
              <a:lnSpc>
                <a:spcPct val="100000"/>
              </a:lnSpc>
              <a:spcBef>
                <a:spcPct val="30000"/>
              </a:spcBef>
              <a:spcAft>
                <a:spcPct val="0"/>
              </a:spcAft>
              <a:buClrTx/>
              <a:buSzTx/>
              <a:buFont typeface="+mj-lt"/>
              <a:buAutoNum type="arabicPeriod"/>
              <a:tabLst/>
              <a:defRPr/>
            </a:pPr>
            <a:endParaRPr lang="en-GB" sz="1300" kern="1200" dirty="0">
              <a:solidFill>
                <a:schemeClr val="tx1"/>
              </a:solidFill>
              <a:effectLst/>
              <a:latin typeface="Arial" charset="0"/>
              <a:ea typeface="MS PGothic" panose="020B0600070205080204" pitchFamily="34" charset="-128"/>
              <a:cs typeface="Arial" charset="0"/>
            </a:endParaRPr>
          </a:p>
          <a:p>
            <a:pPr marL="342900" marR="0" lvl="0" indent="-342900" algn="l" defTabSz="914400" rtl="0" eaLnBrk="0" fontAlgn="base" latinLnBrk="0" hangingPunct="0">
              <a:lnSpc>
                <a:spcPct val="100000"/>
              </a:lnSpc>
              <a:spcBef>
                <a:spcPct val="30000"/>
              </a:spcBef>
              <a:spcAft>
                <a:spcPct val="0"/>
              </a:spcAft>
              <a:buClrTx/>
              <a:buSzTx/>
              <a:buFont typeface="+mj-lt"/>
              <a:buAutoNum type="arabicPeriod"/>
              <a:tabLst/>
              <a:defRPr/>
            </a:pPr>
            <a:endParaRPr lang="en-US" sz="1300" kern="1200" dirty="0">
              <a:solidFill>
                <a:schemeClr val="tx1"/>
              </a:solidFill>
              <a:effectLst/>
              <a:latin typeface="Arial" charset="0"/>
              <a:ea typeface="MS PGothic" panose="020B0600070205080204" pitchFamily="34" charset="-128"/>
              <a:cs typeface="Arial" charset="0"/>
            </a:endParaRPr>
          </a:p>
          <a:p>
            <a:r>
              <a:rPr lang="en-US" sz="1300" b="1" i="0" u="none" strike="noStrike" kern="1200" baseline="0">
                <a:solidFill>
                  <a:schemeClr val="tx1"/>
                </a:solidFill>
                <a:latin typeface="Arial" charset="0"/>
                <a:ea typeface="MS PGothic" panose="020B0600070205080204" pitchFamily="34" charset="-128"/>
                <a:cs typeface="Arial" charset="0"/>
              </a:rPr>
              <a:t>National </a:t>
            </a:r>
            <a:r>
              <a:rPr lang="en-US" sz="1300" b="1" i="0" u="none" strike="noStrike" kern="1200" baseline="0" dirty="0">
                <a:solidFill>
                  <a:schemeClr val="tx1"/>
                </a:solidFill>
                <a:latin typeface="Arial" charset="0"/>
                <a:ea typeface="MS PGothic" panose="020B0600070205080204" pitchFamily="34" charset="-128"/>
                <a:cs typeface="Arial" charset="0"/>
              </a:rPr>
              <a:t>policies and plans </a:t>
            </a:r>
            <a:endParaRPr lang="en-US" sz="1300" b="0" i="0" u="none" strike="noStrike" kern="1200" baseline="0" dirty="0">
              <a:solidFill>
                <a:schemeClr val="tx1"/>
              </a:solidFill>
              <a:latin typeface="Arial" charset="0"/>
              <a:ea typeface="MS PGothic" panose="020B0600070205080204" pitchFamily="34" charset="-128"/>
              <a:cs typeface="Arial" charset="0"/>
            </a:endParaRPr>
          </a:p>
          <a:p>
            <a:r>
              <a:rPr lang="en-US" sz="1300" b="0" i="0" u="none" strike="noStrike" kern="1200" baseline="0" dirty="0">
                <a:solidFill>
                  <a:schemeClr val="tx1"/>
                </a:solidFill>
                <a:latin typeface="Arial" charset="0"/>
                <a:ea typeface="MS PGothic" panose="020B0600070205080204" pitchFamily="34" charset="-128"/>
                <a:cs typeface="Arial" charset="0"/>
              </a:rPr>
              <a:t>− Are policies being implemented as planned? Are they having the desired impacts in reducing emissions and achieving other objectives? </a:t>
            </a:r>
          </a:p>
          <a:p>
            <a:r>
              <a:rPr lang="en-US" sz="1300" b="0" i="0" u="none" strike="noStrike" kern="1200" baseline="0" dirty="0">
                <a:solidFill>
                  <a:schemeClr val="tx1"/>
                </a:solidFill>
                <a:latin typeface="Arial" charset="0"/>
                <a:ea typeface="MS PGothic" panose="020B0600070205080204" pitchFamily="34" charset="-128"/>
                <a:cs typeface="Arial" charset="0"/>
              </a:rPr>
              <a:t>− Are new policies that can help achieve mitigation and other objectives? Are new policies that create challenges for meeting mitigation and other objectives? </a:t>
            </a:r>
          </a:p>
          <a:p>
            <a:r>
              <a:rPr lang="en-US" sz="1300" b="0" i="0" u="none" strike="noStrike" kern="1200" baseline="0" dirty="0">
                <a:solidFill>
                  <a:schemeClr val="tx1"/>
                </a:solidFill>
                <a:latin typeface="Arial" charset="0"/>
                <a:ea typeface="MS PGothic" panose="020B0600070205080204" pitchFamily="34" charset="-128"/>
                <a:cs typeface="Arial" charset="0"/>
              </a:rPr>
              <a:t>− What synergies exist between national development goals and related indicators and climate change mitigation? What potential trade-offs might need to be managed? </a:t>
            </a:r>
          </a:p>
          <a:p>
            <a:r>
              <a:rPr lang="en-US" sz="1300" b="0" i="0" u="none" strike="noStrike" kern="1200" baseline="0" dirty="0">
                <a:solidFill>
                  <a:schemeClr val="tx1"/>
                </a:solidFill>
                <a:latin typeface="Arial" charset="0"/>
                <a:ea typeface="MS PGothic" panose="020B0600070205080204" pitchFamily="34" charset="-128"/>
                <a:cs typeface="Arial" charset="0"/>
              </a:rPr>
              <a:t>	</a:t>
            </a:r>
          </a:p>
          <a:p>
            <a:endParaRPr lang="en-US" dirty="0"/>
          </a:p>
        </p:txBody>
      </p:sp>
      <p:sp>
        <p:nvSpPr>
          <p:cNvPr id="4" name="Slide Number Placeholder 3"/>
          <p:cNvSpPr>
            <a:spLocks noGrp="1"/>
          </p:cNvSpPr>
          <p:nvPr>
            <p:ph type="sldNum" sz="quarter" idx="5"/>
          </p:nvPr>
        </p:nvSpPr>
        <p:spPr/>
        <p:txBody>
          <a:bodyPr/>
          <a:lstStyle/>
          <a:p>
            <a:pPr>
              <a:defRPr/>
            </a:pPr>
            <a:fld id="{BAF60FA8-7B3F-4A7C-8F0E-23C53659501D}" type="slidenum">
              <a:rPr lang="de-DE" smtClean="0"/>
              <a:pPr>
                <a:defRPr/>
              </a:pPr>
              <a:t>14</a:t>
            </a:fld>
            <a:endParaRPr lang="de-DE"/>
          </a:p>
        </p:txBody>
      </p:sp>
    </p:spTree>
    <p:extLst>
      <p:ext uri="{BB962C8B-B14F-4D97-AF65-F5344CB8AC3E}">
        <p14:creationId xmlns:p14="http://schemas.microsoft.com/office/powerpoint/2010/main" val="15008460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14FA7B1-F5A7-A340-B2C7-F5F7CC5AB2FB}" type="slidenum">
              <a:rPr kumimoji="0" lang="x-none" sz="1200" b="0" i="0" u="none" strike="noStrike" kern="1200" cap="none" spc="0" normalizeH="0" baseline="0" noProof="0" smtClean="0">
                <a:ln>
                  <a:noFill/>
                </a:ln>
                <a:solidFill>
                  <a:srgbClr val="000000"/>
                </a:solidFill>
                <a:effectLst/>
                <a:uLnTx/>
                <a:uFillTx/>
                <a:latin typeface="Arial" panose="020B060402020202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x-none" sz="1200"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endParaRPr>
          </a:p>
        </p:txBody>
      </p:sp>
    </p:spTree>
    <p:extLst>
      <p:ext uri="{BB962C8B-B14F-4D97-AF65-F5344CB8AC3E}">
        <p14:creationId xmlns:p14="http://schemas.microsoft.com/office/powerpoint/2010/main" val="14750488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6F4D14F3-A24E-4592-9A03-9E5698CDCD5F}" type="slidenum">
              <a:rPr lang="de-DE" altLang="en-US" smtClean="0"/>
              <a:pPr>
                <a:defRPr/>
              </a:pPr>
              <a:t>5</a:t>
            </a:fld>
            <a:endParaRPr lang="de-DE" altLang="en-US"/>
          </a:p>
        </p:txBody>
      </p:sp>
    </p:spTree>
    <p:extLst>
      <p:ext uri="{BB962C8B-B14F-4D97-AF65-F5344CB8AC3E}">
        <p14:creationId xmlns:p14="http://schemas.microsoft.com/office/powerpoint/2010/main" val="17590426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pPr lvl="0" rtl="0"/>
            <a:r>
              <a:rPr lang="en-US" sz="1300" kern="1200" dirty="0">
                <a:solidFill>
                  <a:schemeClr val="tx1"/>
                </a:solidFill>
                <a:effectLst/>
                <a:latin typeface="Arial" charset="0"/>
                <a:ea typeface="MS PGothic" panose="020B0600070205080204" pitchFamily="34" charset="-128"/>
                <a:cs typeface="Arial" charset="0"/>
              </a:rPr>
              <a:t>The Renewables Readiness Assessment (RRA) developed as “a comprehensive assessment of </a:t>
            </a:r>
            <a:r>
              <a:rPr lang="en-US" sz="1300" b="1" kern="1200" dirty="0">
                <a:solidFill>
                  <a:schemeClr val="tx1"/>
                </a:solidFill>
                <a:effectLst/>
                <a:latin typeface="Arial" charset="0"/>
                <a:ea typeface="MS PGothic" panose="020B0600070205080204" pitchFamily="34" charset="-128"/>
                <a:cs typeface="Arial" charset="0"/>
              </a:rPr>
              <a:t>key conditions </a:t>
            </a:r>
            <a:r>
              <a:rPr lang="en-US" sz="1300" kern="1200" dirty="0">
                <a:solidFill>
                  <a:schemeClr val="tx1"/>
                </a:solidFill>
                <a:effectLst/>
                <a:latin typeface="Arial" charset="0"/>
                <a:ea typeface="MS PGothic" panose="020B0600070205080204" pitchFamily="34" charset="-128"/>
                <a:cs typeface="Arial" charset="0"/>
              </a:rPr>
              <a:t>for renewable energy deployment  in a country, the goal would be to identify critical issues in the country’s energy sector and identify short to medium term actions needed to develop enabling frameworks conducive to renewable energy investment. </a:t>
            </a:r>
          </a:p>
          <a:p>
            <a:pPr lvl="0"/>
            <a:r>
              <a:rPr lang="en-US" sz="1300" b="1" kern="1200" dirty="0">
                <a:solidFill>
                  <a:schemeClr val="tx1"/>
                </a:solidFill>
                <a:effectLst/>
                <a:latin typeface="Arial" charset="0"/>
                <a:ea typeface="MS PGothic" panose="020B0600070205080204" pitchFamily="34" charset="-128"/>
                <a:cs typeface="Arial" charset="0"/>
              </a:rPr>
              <a:t>The RRA relies on a consultative multi-stakeholder process, where IRENA serves as a facilitator to translate pollical commitment to renewable energy investments</a:t>
            </a:r>
            <a:endParaRPr lang="en-US" sz="1300" kern="1200" dirty="0">
              <a:solidFill>
                <a:schemeClr val="tx1"/>
              </a:solidFill>
              <a:effectLst/>
              <a:latin typeface="Arial" charset="0"/>
              <a:ea typeface="MS PGothic" panose="020B0600070205080204" pitchFamily="34" charset="-128"/>
              <a:cs typeface="Arial" charset="0"/>
            </a:endParaRPr>
          </a:p>
          <a:p>
            <a:endParaRPr lang="en-US" altLang="en-US"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F56EF13-2C02-484D-BE29-D537B0027BE5}"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3006199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BAF60FA8-7B3F-4A7C-8F0E-23C53659501D}" type="slidenum">
              <a:rPr lang="de-DE" smtClean="0"/>
              <a:pPr>
                <a:defRPr/>
              </a:pPr>
              <a:t>7</a:t>
            </a:fld>
            <a:endParaRPr lang="de-DE"/>
          </a:p>
        </p:txBody>
      </p:sp>
    </p:spTree>
    <p:extLst>
      <p:ext uri="{BB962C8B-B14F-4D97-AF65-F5344CB8AC3E}">
        <p14:creationId xmlns:p14="http://schemas.microsoft.com/office/powerpoint/2010/main" val="5231833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Our report has extensive information on the current energy and renewable energy landscape in the country but I will dive in straight to the key findings and recommendations. </a:t>
            </a:r>
          </a:p>
          <a:p>
            <a:endParaRPr lang="en-US" dirty="0"/>
          </a:p>
        </p:txBody>
      </p:sp>
      <p:sp>
        <p:nvSpPr>
          <p:cNvPr id="4" name="Slide Number Placeholder 3"/>
          <p:cNvSpPr>
            <a:spLocks noGrp="1"/>
          </p:cNvSpPr>
          <p:nvPr>
            <p:ph type="sldNum" sz="quarter" idx="5"/>
          </p:nvPr>
        </p:nvSpPr>
        <p:spPr/>
        <p:txBody>
          <a:bodyPr/>
          <a:lstStyle/>
          <a:p>
            <a:pPr>
              <a:defRPr/>
            </a:pPr>
            <a:fld id="{6F4D14F3-A24E-4592-9A03-9E5698CDCD5F}" type="slidenum">
              <a:rPr lang="de-DE" altLang="en-US" smtClean="0"/>
              <a:pPr>
                <a:defRPr/>
              </a:pPr>
              <a:t>8</a:t>
            </a:fld>
            <a:endParaRPr lang="de-DE" altLang="en-US"/>
          </a:p>
        </p:txBody>
      </p:sp>
    </p:spTree>
    <p:extLst>
      <p:ext uri="{BB962C8B-B14F-4D97-AF65-F5344CB8AC3E}">
        <p14:creationId xmlns:p14="http://schemas.microsoft.com/office/powerpoint/2010/main" val="22454552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300" kern="1200" dirty="0">
                <a:solidFill>
                  <a:schemeClr val="tx1"/>
                </a:solidFill>
                <a:effectLst/>
                <a:latin typeface="Arial" charset="0"/>
                <a:ea typeface="MS PGothic" panose="020B0600070205080204" pitchFamily="34" charset="-128"/>
                <a:cs typeface="Arial" charset="0"/>
              </a:rPr>
              <a:t>Indeed, energy is central to the growth of the Jordanian economy, which relies on imports to meet energy needs. This reliance strains the economy and poses energy supply security risks. These vulnerabilities drove the development of the Master Energy Strategy 2007‑2020, which called for greater </a:t>
            </a:r>
            <a:r>
              <a:rPr lang="en-US" sz="1300" kern="1200" dirty="0" err="1">
                <a:solidFill>
                  <a:schemeClr val="tx1"/>
                </a:solidFill>
                <a:effectLst/>
                <a:latin typeface="Arial" charset="0"/>
                <a:ea typeface="MS PGothic" panose="020B0600070205080204" pitchFamily="34" charset="-128"/>
                <a:cs typeface="Arial" charset="0"/>
              </a:rPr>
              <a:t>utilisation</a:t>
            </a:r>
            <a:r>
              <a:rPr lang="en-US" sz="1300" kern="1200" dirty="0">
                <a:solidFill>
                  <a:schemeClr val="tx1"/>
                </a:solidFill>
                <a:effectLst/>
                <a:latin typeface="Arial" charset="0"/>
                <a:ea typeface="MS PGothic" panose="020B0600070205080204" pitchFamily="34" charset="-128"/>
                <a:cs typeface="Arial" charset="0"/>
              </a:rPr>
              <a:t> of domestic resources, including renewable energy. </a:t>
            </a:r>
          </a:p>
          <a:p>
            <a:r>
              <a:rPr lang="en-US" sz="1300" b="1" kern="1200" dirty="0">
                <a:solidFill>
                  <a:schemeClr val="tx1"/>
                </a:solidFill>
                <a:effectLst/>
                <a:latin typeface="Arial" charset="0"/>
                <a:ea typeface="MS PGothic" panose="020B0600070205080204" pitchFamily="34" charset="-128"/>
                <a:cs typeface="Arial" charset="0"/>
              </a:rPr>
              <a:t> </a:t>
            </a:r>
            <a:endParaRPr lang="en-US" sz="1300" kern="1200" dirty="0">
              <a:solidFill>
                <a:schemeClr val="tx1"/>
              </a:solidFill>
              <a:effectLst/>
              <a:latin typeface="Arial" charset="0"/>
              <a:ea typeface="MS PGothic" panose="020B0600070205080204" pitchFamily="34" charset="-128"/>
              <a:cs typeface="Arial" charset="0"/>
            </a:endParaRPr>
          </a:p>
          <a:p>
            <a:pPr lvl="0"/>
            <a:r>
              <a:rPr lang="en-US" sz="1300" b="1" kern="1200" dirty="0">
                <a:solidFill>
                  <a:schemeClr val="tx1"/>
                </a:solidFill>
                <a:effectLst/>
                <a:latin typeface="Arial" charset="0"/>
                <a:ea typeface="MS PGothic" panose="020B0600070205080204" pitchFamily="34" charset="-128"/>
                <a:cs typeface="Arial" charset="0"/>
              </a:rPr>
              <a:t>Energy Security: </a:t>
            </a:r>
            <a:r>
              <a:rPr lang="en-US" sz="1300" kern="1200" dirty="0">
                <a:solidFill>
                  <a:schemeClr val="tx1"/>
                </a:solidFill>
                <a:effectLst/>
                <a:latin typeface="Arial" charset="0"/>
                <a:ea typeface="MS PGothic" panose="020B0600070205080204" pitchFamily="34" charset="-128"/>
                <a:cs typeface="Arial" charset="0"/>
              </a:rPr>
              <a:t>The majority of </a:t>
            </a:r>
            <a:r>
              <a:rPr lang="en-US" sz="1300" kern="1200" dirty="0" err="1">
                <a:solidFill>
                  <a:schemeClr val="tx1"/>
                </a:solidFill>
                <a:effectLst/>
                <a:latin typeface="Arial" charset="0"/>
                <a:ea typeface="MS PGothic" panose="020B0600070205080204" pitchFamily="34" charset="-128"/>
                <a:cs typeface="Arial" charset="0"/>
              </a:rPr>
              <a:t>jordan</a:t>
            </a:r>
            <a:r>
              <a:rPr lang="en-US" sz="1300" kern="1200" dirty="0">
                <a:solidFill>
                  <a:schemeClr val="tx1"/>
                </a:solidFill>
                <a:effectLst/>
                <a:latin typeface="Arial" charset="0"/>
                <a:ea typeface="MS PGothic" panose="020B0600070205080204" pitchFamily="34" charset="-128"/>
                <a:cs typeface="Arial" charset="0"/>
              </a:rPr>
              <a:t>’ energy comes form imports. This comes with substantial economic costs, supply disruption risks an drive fluctuation vulnerabilities.  Renewable energy solutions benefit accessibility, affordability, and long-term permanence. </a:t>
            </a:r>
          </a:p>
          <a:p>
            <a:pPr lvl="0"/>
            <a:r>
              <a:rPr lang="en-US" sz="1300" b="1" kern="1200" dirty="0">
                <a:solidFill>
                  <a:schemeClr val="tx1"/>
                </a:solidFill>
                <a:effectLst/>
                <a:latin typeface="Arial" charset="0"/>
                <a:ea typeface="MS PGothic" panose="020B0600070205080204" pitchFamily="34" charset="-128"/>
                <a:cs typeface="Arial" charset="0"/>
              </a:rPr>
              <a:t>Economics: S</a:t>
            </a:r>
            <a:r>
              <a:rPr lang="en-US" sz="1300" kern="1200" dirty="0">
                <a:solidFill>
                  <a:schemeClr val="tx1"/>
                </a:solidFill>
                <a:effectLst/>
                <a:latin typeface="Arial" charset="0"/>
                <a:ea typeface="MS PGothic" panose="020B0600070205080204" pitchFamily="34" charset="-128"/>
                <a:cs typeface="Arial" charset="0"/>
              </a:rPr>
              <a:t>ubstantial reductions in the cost of renewable energy technologies over the past decade offer a compelling case for governments to pursue a greater role for renewables. In Jordan, the results of the latest (third) round of direct proposal submissions in 2018 yielded bids as low as USD/kWh 0.026. In comparison, the average cost of electricity purchased by NEPCO in 2018 was 0.081 JOD/kWh USD 0.114 /kWh</a:t>
            </a:r>
            <a:r>
              <a:rPr lang="en-US" sz="1300" b="1" kern="1200" dirty="0">
                <a:solidFill>
                  <a:schemeClr val="tx1"/>
                </a:solidFill>
                <a:effectLst/>
                <a:latin typeface="Arial" charset="0"/>
                <a:ea typeface="MS PGothic" panose="020B0600070205080204" pitchFamily="34" charset="-128"/>
                <a:cs typeface="Arial" charset="0"/>
              </a:rPr>
              <a:t>)</a:t>
            </a:r>
            <a:r>
              <a:rPr lang="en-US" sz="1300" kern="1200" dirty="0">
                <a:solidFill>
                  <a:schemeClr val="tx1"/>
                </a:solidFill>
                <a:effectLst/>
                <a:latin typeface="Arial" charset="0"/>
                <a:ea typeface="MS PGothic" panose="020B0600070205080204" pitchFamily="34" charset="-128"/>
                <a:cs typeface="Arial" charset="0"/>
              </a:rPr>
              <a:t>.</a:t>
            </a:r>
          </a:p>
          <a:p>
            <a:pPr lvl="0"/>
            <a:r>
              <a:rPr lang="en-US" sz="1300" b="1" kern="1200" dirty="0">
                <a:solidFill>
                  <a:schemeClr val="tx1"/>
                </a:solidFill>
                <a:effectLst/>
                <a:latin typeface="Arial" charset="0"/>
                <a:ea typeface="MS PGothic" panose="020B0600070205080204" pitchFamily="34" charset="-128"/>
                <a:cs typeface="Arial" charset="0"/>
              </a:rPr>
              <a:t>Socioeconomic benefits: </a:t>
            </a:r>
            <a:r>
              <a:rPr lang="en-US" sz="1300" kern="1200" dirty="0">
                <a:solidFill>
                  <a:schemeClr val="tx1"/>
                </a:solidFill>
                <a:effectLst/>
                <a:latin typeface="Arial" charset="0"/>
                <a:ea typeface="MS PGothic" panose="020B0600070205080204" pitchFamily="34" charset="-128"/>
                <a:cs typeface="Arial" charset="0"/>
              </a:rPr>
              <a:t>Diversification of the energy mix brings opportunities for job creation and the development of new industries. The socio-economic dimension of renewable energy is critically important for emerging economies looking to </a:t>
            </a:r>
            <a:r>
              <a:rPr lang="en-US" sz="1300" kern="1200" dirty="0" err="1">
                <a:solidFill>
                  <a:schemeClr val="tx1"/>
                </a:solidFill>
                <a:effectLst/>
                <a:latin typeface="Arial" charset="0"/>
                <a:ea typeface="MS PGothic" panose="020B0600070205080204" pitchFamily="34" charset="-128"/>
                <a:cs typeface="Arial" charset="0"/>
              </a:rPr>
              <a:t>maximise</a:t>
            </a:r>
            <a:r>
              <a:rPr lang="en-US" sz="1300" kern="1200" dirty="0">
                <a:solidFill>
                  <a:schemeClr val="tx1"/>
                </a:solidFill>
                <a:effectLst/>
                <a:latin typeface="Arial" charset="0"/>
                <a:ea typeface="MS PGothic" panose="020B0600070205080204" pitchFamily="34" charset="-128"/>
                <a:cs typeface="Arial" charset="0"/>
              </a:rPr>
              <a:t> the benefits from the transition in terms of job creation and local value creation. To </a:t>
            </a:r>
            <a:r>
              <a:rPr lang="en-US" sz="1300" kern="1200" dirty="0" err="1">
                <a:solidFill>
                  <a:schemeClr val="tx1"/>
                </a:solidFill>
                <a:effectLst/>
                <a:latin typeface="Arial" charset="0"/>
                <a:ea typeface="MS PGothic" panose="020B0600070205080204" pitchFamily="34" charset="-128"/>
                <a:cs typeface="Arial" charset="0"/>
              </a:rPr>
              <a:t>maximise</a:t>
            </a:r>
            <a:r>
              <a:rPr lang="en-US" sz="1300" kern="1200" dirty="0">
                <a:solidFill>
                  <a:schemeClr val="tx1"/>
                </a:solidFill>
                <a:effectLst/>
                <a:latin typeface="Arial" charset="0"/>
                <a:ea typeface="MS PGothic" panose="020B0600070205080204" pitchFamily="34" charset="-128"/>
                <a:cs typeface="Arial" charset="0"/>
              </a:rPr>
              <a:t> the socio-economic benefits of renewable energy, different measures are needed, such as visibility on long-term deployment, targeted incentives for domestic manufacturers, enterprise- and human capacity development, and partnerships in technology transfer and research and development. Across the Middle East and North Africa (MENA) region, jobs in the renewable energy sector have the potential to expand from an estimated 542 000 in 2017 to 1.2 million in 2030 and 2 million in 2050, accounting for nearly 30% of all energy sector jobs (IRENA, 2020d).</a:t>
            </a:r>
          </a:p>
          <a:p>
            <a:pPr lvl="0"/>
            <a:r>
              <a:rPr lang="en-US" sz="1300" b="1" kern="1200" dirty="0">
                <a:solidFill>
                  <a:schemeClr val="tx1"/>
                </a:solidFill>
                <a:effectLst/>
                <a:latin typeface="Arial" charset="0"/>
                <a:ea typeface="MS PGothic" panose="020B0600070205080204" pitchFamily="34" charset="-128"/>
                <a:cs typeface="Arial" charset="0"/>
              </a:rPr>
              <a:t>Climate and NDCs: </a:t>
            </a:r>
            <a:r>
              <a:rPr lang="en-US" sz="1300" kern="1200" dirty="0">
                <a:solidFill>
                  <a:schemeClr val="tx1"/>
                </a:solidFill>
                <a:effectLst/>
                <a:latin typeface="Arial" charset="0"/>
                <a:ea typeface="MS PGothic" panose="020B0600070205080204" pitchFamily="34" charset="-128"/>
                <a:cs typeface="Arial" charset="0"/>
              </a:rPr>
              <a:t>Jordan, in its NDC, committed to a reduction of its greenhouse gas emissions by 14% up to 2030 (1.5% through its own resources and 12.5% conditional on the receipt of international financial aid and support) (UNFCCC, 2015). Bylaw (79) year2019 for Climate Change set requirements for the different stakeholders to report their greenhouse gas emissions. The development of renewable energy is a central pillar of decarbonizing the energy mix </a:t>
            </a:r>
            <a:r>
              <a:rPr lang="en-US" sz="1300" kern="1200" dirty="0" err="1">
                <a:solidFill>
                  <a:schemeClr val="tx1"/>
                </a:solidFill>
                <a:effectLst/>
                <a:latin typeface="Arial" charset="0"/>
                <a:ea typeface="MS PGothic" panose="020B0600070205080204" pitchFamily="34" charset="-128"/>
                <a:cs typeface="Arial" charset="0"/>
              </a:rPr>
              <a:t>whilealso</a:t>
            </a:r>
            <a:r>
              <a:rPr lang="en-US" sz="1300" kern="1200" dirty="0">
                <a:solidFill>
                  <a:schemeClr val="tx1"/>
                </a:solidFill>
                <a:effectLst/>
                <a:latin typeface="Arial" charset="0"/>
                <a:ea typeface="MS PGothic" panose="020B0600070205080204" pitchFamily="34" charset="-128"/>
                <a:cs typeface="Arial" charset="0"/>
              </a:rPr>
              <a:t> securing a reliable energy supply. In 2018 alone, electricity generated from solar PV and wind avoided nearly 1.5 million </a:t>
            </a:r>
            <a:r>
              <a:rPr lang="en-US" sz="1300" kern="1200" dirty="0" err="1">
                <a:solidFill>
                  <a:schemeClr val="tx1"/>
                </a:solidFill>
                <a:effectLst/>
                <a:latin typeface="Arial" charset="0"/>
                <a:ea typeface="MS PGothic" panose="020B0600070205080204" pitchFamily="34" charset="-128"/>
                <a:cs typeface="Arial" charset="0"/>
              </a:rPr>
              <a:t>tonnes</a:t>
            </a:r>
            <a:r>
              <a:rPr lang="en-US" sz="1300" kern="1200" dirty="0">
                <a:solidFill>
                  <a:schemeClr val="tx1"/>
                </a:solidFill>
                <a:effectLst/>
                <a:latin typeface="Arial" charset="0"/>
                <a:ea typeface="MS PGothic" panose="020B0600070205080204" pitchFamily="34" charset="-128"/>
                <a:cs typeface="Arial" charset="0"/>
              </a:rPr>
              <a:t> of carbon emissions.</a:t>
            </a:r>
          </a:p>
          <a:p>
            <a:pPr marL="342900" indent="-342900">
              <a:buFont typeface="Calibri" panose="020F0502020204030204" pitchFamily="34" charset="0"/>
              <a:buAutoNum type="arabicPeriod"/>
            </a:pPr>
            <a:endParaRPr lang="en-US" altLang="en-US" dirty="0">
              <a:latin typeface="Arial" panose="020B0604020202020204" pitchFamily="34" charset="0"/>
              <a:cs typeface="Arial" panose="020B0604020202020204" pitchFamily="34" charset="0"/>
            </a:endParaRPr>
          </a:p>
          <a:p>
            <a:pPr marL="342900" indent="-342900">
              <a:buFont typeface="Calibri" panose="020F0502020204030204" pitchFamily="34" charset="0"/>
              <a:buAutoNum type="arabicPeriod"/>
            </a:pPr>
            <a:endParaRPr lang="en-US" altLang="en-US" dirty="0">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pPr>
              <a:defRPr/>
            </a:pPr>
            <a:fld id="{6F4D14F3-A24E-4592-9A03-9E5698CDCD5F}" type="slidenum">
              <a:rPr lang="de-DE" altLang="en-US" smtClean="0"/>
              <a:pPr>
                <a:defRPr/>
              </a:pPr>
              <a:t>9</a:t>
            </a:fld>
            <a:endParaRPr lang="de-DE" altLang="en-US"/>
          </a:p>
        </p:txBody>
      </p:sp>
    </p:spTree>
    <p:extLst>
      <p:ext uri="{BB962C8B-B14F-4D97-AF65-F5344CB8AC3E}">
        <p14:creationId xmlns:p14="http://schemas.microsoft.com/office/powerpoint/2010/main" val="24592932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6F4D14F3-A24E-4592-9A03-9E5698CDCD5F}" type="slidenum">
              <a:rPr lang="de-DE" altLang="en-US" smtClean="0"/>
              <a:pPr>
                <a:defRPr/>
              </a:pPr>
              <a:t>10</a:t>
            </a:fld>
            <a:endParaRPr lang="de-DE" altLang="en-US"/>
          </a:p>
        </p:txBody>
      </p:sp>
    </p:spTree>
    <p:extLst>
      <p:ext uri="{BB962C8B-B14F-4D97-AF65-F5344CB8AC3E}">
        <p14:creationId xmlns:p14="http://schemas.microsoft.com/office/powerpoint/2010/main" val="31699063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Buikding</a:t>
            </a:r>
            <a:r>
              <a:rPr lang="en-US" dirty="0"/>
              <a:t> on the assessment of the country’s renewable energy landscape and extensive stakeholder engagement.</a:t>
            </a:r>
          </a:p>
          <a:p>
            <a:endParaRPr lang="en-US" dirty="0"/>
          </a:p>
          <a:p>
            <a:r>
              <a:rPr lang="en-US" dirty="0"/>
              <a:t> The RRA serves as </a:t>
            </a:r>
            <a:r>
              <a:rPr lang="en-US" dirty="0" err="1"/>
              <a:t>aguiding</a:t>
            </a:r>
            <a:r>
              <a:rPr lang="en-US" dirty="0"/>
              <a:t> document to implement the MASTER strategy 2020-230. </a:t>
            </a:r>
          </a:p>
          <a:p>
            <a:endParaRPr lang="en-US" dirty="0"/>
          </a:p>
        </p:txBody>
      </p:sp>
      <p:sp>
        <p:nvSpPr>
          <p:cNvPr id="4" name="Slide Number Placeholder 3"/>
          <p:cNvSpPr>
            <a:spLocks noGrp="1"/>
          </p:cNvSpPr>
          <p:nvPr>
            <p:ph type="sldNum" sz="quarter" idx="5"/>
          </p:nvPr>
        </p:nvSpPr>
        <p:spPr/>
        <p:txBody>
          <a:bodyPr/>
          <a:lstStyle/>
          <a:p>
            <a:pPr>
              <a:defRPr/>
            </a:pPr>
            <a:fld id="{6F4D14F3-A24E-4592-9A03-9E5698CDCD5F}" type="slidenum">
              <a:rPr lang="de-DE" altLang="en-US" smtClean="0"/>
              <a:pPr>
                <a:defRPr/>
              </a:pPr>
              <a:t>11</a:t>
            </a:fld>
            <a:endParaRPr lang="de-DE" altLang="en-US"/>
          </a:p>
        </p:txBody>
      </p:sp>
    </p:spTree>
    <p:extLst>
      <p:ext uri="{BB962C8B-B14F-4D97-AF65-F5344CB8AC3E}">
        <p14:creationId xmlns:p14="http://schemas.microsoft.com/office/powerpoint/2010/main" val="34931386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l" defTabSz="914400" rtl="0" eaLnBrk="0" fontAlgn="base" latinLnBrk="0" hangingPunct="0">
              <a:lnSpc>
                <a:spcPct val="100000"/>
              </a:lnSpc>
              <a:spcBef>
                <a:spcPct val="30000"/>
              </a:spcBef>
              <a:spcAft>
                <a:spcPct val="0"/>
              </a:spcAft>
              <a:buClrTx/>
              <a:buSzTx/>
              <a:buFont typeface="+mj-lt"/>
              <a:buAutoNum type="arabicPeriod"/>
              <a:tabLst/>
              <a:defRPr/>
            </a:pPr>
            <a:endParaRPr lang="en-GB" sz="1300" kern="1200" dirty="0">
              <a:solidFill>
                <a:schemeClr val="tx1"/>
              </a:solidFill>
              <a:effectLst/>
              <a:latin typeface="Arial" charset="0"/>
              <a:ea typeface="MS PGothic" panose="020B0600070205080204" pitchFamily="34" charset="-128"/>
              <a:cs typeface="Arial" charset="0"/>
            </a:endParaRPr>
          </a:p>
          <a:p>
            <a:pPr marL="342900" marR="0" lvl="0" indent="-342900" algn="l" defTabSz="914400" rtl="0" eaLnBrk="0" fontAlgn="base" latinLnBrk="0" hangingPunct="0">
              <a:lnSpc>
                <a:spcPct val="100000"/>
              </a:lnSpc>
              <a:spcBef>
                <a:spcPct val="30000"/>
              </a:spcBef>
              <a:spcAft>
                <a:spcPct val="0"/>
              </a:spcAft>
              <a:buClrTx/>
              <a:buSzTx/>
              <a:buFont typeface="+mj-lt"/>
              <a:buAutoNum type="arabicPeriod"/>
              <a:tabLst/>
              <a:defRPr/>
            </a:pPr>
            <a:endParaRPr lang="en-GB" sz="1300" kern="1200" dirty="0">
              <a:solidFill>
                <a:schemeClr val="tx1"/>
              </a:solidFill>
              <a:effectLst/>
              <a:latin typeface="Arial" charset="0"/>
              <a:ea typeface="MS PGothic" panose="020B0600070205080204" pitchFamily="34" charset="-128"/>
              <a:cs typeface="Arial" charset="0"/>
            </a:endParaRPr>
          </a:p>
          <a:p>
            <a:r>
              <a:rPr lang="en-US" sz="1300" b="0" i="0" u="none" strike="noStrike" kern="1200" baseline="0" dirty="0">
                <a:solidFill>
                  <a:schemeClr val="tx1"/>
                </a:solidFill>
                <a:latin typeface="Arial" charset="0"/>
                <a:ea typeface="MS PGothic" panose="020B0600070205080204" pitchFamily="34" charset="-128"/>
                <a:cs typeface="Arial" charset="0"/>
              </a:rPr>
              <a:t>? </a:t>
            </a:r>
          </a:p>
          <a:p>
            <a:r>
              <a:rPr lang="en-US" sz="1300" b="0" i="0" u="none" strike="noStrike" kern="1200" baseline="0" dirty="0">
                <a:solidFill>
                  <a:schemeClr val="tx1"/>
                </a:solidFill>
                <a:latin typeface="Arial" charset="0"/>
                <a:ea typeface="MS PGothic" panose="020B0600070205080204" pitchFamily="34" charset="-128"/>
                <a:cs typeface="Arial" charset="0"/>
              </a:rPr>
              <a:t>	</a:t>
            </a:r>
          </a:p>
          <a:p>
            <a:pPr marL="342900" marR="0" lvl="0" indent="-342900" algn="l" defTabSz="914400" rtl="0" eaLnBrk="0" fontAlgn="base" latinLnBrk="0" hangingPunct="0">
              <a:lnSpc>
                <a:spcPct val="100000"/>
              </a:lnSpc>
              <a:spcBef>
                <a:spcPct val="30000"/>
              </a:spcBef>
              <a:spcAft>
                <a:spcPct val="0"/>
              </a:spcAft>
              <a:buClrTx/>
              <a:buSzTx/>
              <a:buFont typeface="+mj-lt"/>
              <a:buAutoNum type="arabicPeriod"/>
              <a:tabLst/>
              <a:defRPr/>
            </a:pPr>
            <a:endParaRPr lang="en-GB" sz="1300" kern="1200" dirty="0">
              <a:solidFill>
                <a:schemeClr val="tx1"/>
              </a:solidFill>
              <a:effectLst/>
              <a:latin typeface="Arial" charset="0"/>
              <a:ea typeface="MS PGothic" panose="020B0600070205080204" pitchFamily="34" charset="-128"/>
              <a:cs typeface="Arial" charset="0"/>
            </a:endParaRPr>
          </a:p>
          <a:p>
            <a:pPr marL="342900" marR="0" lvl="0" indent="-342900" algn="l" defTabSz="914400" rtl="0" eaLnBrk="0" fontAlgn="base" latinLnBrk="0" hangingPunct="0">
              <a:lnSpc>
                <a:spcPct val="100000"/>
              </a:lnSpc>
              <a:spcBef>
                <a:spcPct val="30000"/>
              </a:spcBef>
              <a:spcAft>
                <a:spcPct val="0"/>
              </a:spcAft>
              <a:buClrTx/>
              <a:buSzTx/>
              <a:buFont typeface="+mj-lt"/>
              <a:buAutoNum type="arabicPeriod"/>
              <a:tabLst/>
              <a:defRPr/>
            </a:pPr>
            <a:endParaRPr lang="en-US" sz="1300" kern="1200" dirty="0">
              <a:solidFill>
                <a:schemeClr val="tx1"/>
              </a:solidFill>
              <a:effectLst/>
              <a:latin typeface="Arial" charset="0"/>
              <a:ea typeface="MS PGothic" panose="020B0600070205080204" pitchFamily="34" charset="-128"/>
              <a:cs typeface="Arial" charset="0"/>
            </a:endParaRPr>
          </a:p>
          <a:p>
            <a:endParaRPr lang="en-US" sz="1300" kern="1200" dirty="0">
              <a:solidFill>
                <a:schemeClr val="tx1"/>
              </a:solidFill>
              <a:effectLst/>
              <a:latin typeface="Arial" charset="0"/>
              <a:ea typeface="MS PGothic" panose="020B0600070205080204" pitchFamily="34" charset="-128"/>
              <a:cs typeface="Arial" charset="0"/>
            </a:endParaRPr>
          </a:p>
          <a:p>
            <a:endParaRPr lang="en-US" dirty="0"/>
          </a:p>
        </p:txBody>
      </p:sp>
      <p:sp>
        <p:nvSpPr>
          <p:cNvPr id="4" name="Slide Number Placeholder 3"/>
          <p:cNvSpPr>
            <a:spLocks noGrp="1"/>
          </p:cNvSpPr>
          <p:nvPr>
            <p:ph type="sldNum" sz="quarter" idx="5"/>
          </p:nvPr>
        </p:nvSpPr>
        <p:spPr/>
        <p:txBody>
          <a:bodyPr/>
          <a:lstStyle/>
          <a:p>
            <a:pPr>
              <a:defRPr/>
            </a:pPr>
            <a:fld id="{6F4D14F3-A24E-4592-9A03-9E5698CDCD5F}" type="slidenum">
              <a:rPr lang="de-DE" altLang="en-US" smtClean="0"/>
              <a:pPr>
                <a:defRPr/>
              </a:pPr>
              <a:t>12</a:t>
            </a:fld>
            <a:endParaRPr lang="de-DE" altLang="en-US"/>
          </a:p>
        </p:txBody>
      </p:sp>
    </p:spTree>
    <p:extLst>
      <p:ext uri="{BB962C8B-B14F-4D97-AF65-F5344CB8AC3E}">
        <p14:creationId xmlns:p14="http://schemas.microsoft.com/office/powerpoint/2010/main" val="402503514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0" y="2876005"/>
            <a:ext cx="8638117" cy="2876003"/>
          </a:xfrm>
          <a:solidFill>
            <a:srgbClr val="0872A6"/>
          </a:solidFill>
        </p:spPr>
        <p:txBody>
          <a:bodyPr lIns="402962" tIns="201480" rIns="402962" bIns="402962"/>
          <a:lstStyle>
            <a:lvl1pPr>
              <a:lnSpc>
                <a:spcPct val="110000"/>
              </a:lnSpc>
              <a:defRPr sz="3500">
                <a:solidFill>
                  <a:schemeClr val="bg1"/>
                </a:solidFill>
              </a:defRPr>
            </a:lvl1pPr>
          </a:lstStyle>
          <a:p>
            <a:r>
              <a:rPr lang="de-DE" dirty="0"/>
              <a:t>Titelmasterformat durch Klicken bearbeiten</a:t>
            </a:r>
          </a:p>
        </p:txBody>
      </p:sp>
    </p:spTree>
    <p:extLst>
      <p:ext uri="{BB962C8B-B14F-4D97-AF65-F5344CB8AC3E}">
        <p14:creationId xmlns:p14="http://schemas.microsoft.com/office/powerpoint/2010/main" val="36215799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a:extLst>
              <a:ext uri="{FF2B5EF4-FFF2-40B4-BE49-F238E27FC236}">
                <a16:creationId xmlns:a16="http://schemas.microsoft.com/office/drawing/2014/main" id="{D7B38ACE-2B2C-4FFE-A68B-F9632F589EE4}"/>
              </a:ext>
            </a:extLst>
          </p:cNvPr>
          <p:cNvSpPr>
            <a:spLocks noGrp="1" noChangeArrowheads="1"/>
          </p:cNvSpPr>
          <p:nvPr>
            <p:ph type="sldNum" sz="quarter" idx="10"/>
          </p:nvPr>
        </p:nvSpPr>
        <p:spPr>
          <a:ln/>
        </p:spPr>
        <p:txBody>
          <a:bodyPr/>
          <a:lstStyle>
            <a:lvl1pPr>
              <a:defRPr/>
            </a:lvl1pPr>
          </a:lstStyle>
          <a:p>
            <a:pPr>
              <a:defRPr/>
            </a:pPr>
            <a:fld id="{03C14EC9-22CA-4D9F-A331-21169B91A1B6}" type="slidenum">
              <a:rPr lang="de-DE" altLang="en-US"/>
              <a:pPr>
                <a:defRPr/>
              </a:pPr>
              <a:t>‹#›</a:t>
            </a:fld>
            <a:endParaRPr lang="de-DE" altLang="en-US"/>
          </a:p>
        </p:txBody>
      </p:sp>
    </p:spTree>
    <p:extLst>
      <p:ext uri="{BB962C8B-B14F-4D97-AF65-F5344CB8AC3E}">
        <p14:creationId xmlns:p14="http://schemas.microsoft.com/office/powerpoint/2010/main" val="1454983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l-GR"/>
          </a:p>
        </p:txBody>
      </p:sp>
      <p:sp>
        <p:nvSpPr>
          <p:cNvPr id="3" name="Rectangle 6">
            <a:extLst>
              <a:ext uri="{FF2B5EF4-FFF2-40B4-BE49-F238E27FC236}">
                <a16:creationId xmlns:a16="http://schemas.microsoft.com/office/drawing/2014/main" id="{2D1F7999-3E2A-44F9-876C-86E018D57467}"/>
              </a:ext>
            </a:extLst>
          </p:cNvPr>
          <p:cNvSpPr>
            <a:spLocks noGrp="1" noChangeArrowheads="1"/>
          </p:cNvSpPr>
          <p:nvPr>
            <p:ph type="sldNum" sz="quarter" idx="10"/>
          </p:nvPr>
        </p:nvSpPr>
        <p:spPr>
          <a:ln/>
        </p:spPr>
        <p:txBody>
          <a:bodyPr/>
          <a:lstStyle>
            <a:lvl1pPr>
              <a:defRPr/>
            </a:lvl1pPr>
          </a:lstStyle>
          <a:p>
            <a:pPr>
              <a:defRPr/>
            </a:pPr>
            <a:fld id="{048CC9C2-F637-4D95-807E-2D4254A16321}" type="slidenum">
              <a:rPr lang="de-DE" altLang="en-US"/>
              <a:pPr>
                <a:defRPr/>
              </a:pPr>
              <a:t>‹#›</a:t>
            </a:fld>
            <a:endParaRPr lang="de-DE" altLang="en-US"/>
          </a:p>
        </p:txBody>
      </p:sp>
    </p:spTree>
    <p:extLst>
      <p:ext uri="{BB962C8B-B14F-4D97-AF65-F5344CB8AC3E}">
        <p14:creationId xmlns:p14="http://schemas.microsoft.com/office/powerpoint/2010/main" val="41193936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6">
            <a:extLst>
              <a:ext uri="{FF2B5EF4-FFF2-40B4-BE49-F238E27FC236}">
                <a16:creationId xmlns:a16="http://schemas.microsoft.com/office/drawing/2014/main" id="{43168108-ECE6-4461-B6EB-DDD6DFB26880}"/>
              </a:ext>
            </a:extLst>
          </p:cNvPr>
          <p:cNvSpPr>
            <a:spLocks noGrp="1" noChangeArrowheads="1"/>
          </p:cNvSpPr>
          <p:nvPr>
            <p:ph type="sldNum" sz="quarter" idx="10"/>
          </p:nvPr>
        </p:nvSpPr>
        <p:spPr>
          <a:ln/>
        </p:spPr>
        <p:txBody>
          <a:bodyPr/>
          <a:lstStyle>
            <a:lvl1pPr>
              <a:defRPr/>
            </a:lvl1pPr>
          </a:lstStyle>
          <a:p>
            <a:pPr>
              <a:defRPr/>
            </a:pPr>
            <a:fld id="{E89E9DD5-6952-43F4-B2E8-C0739A1859E0}" type="slidenum">
              <a:rPr lang="de-DE" altLang="en-US"/>
              <a:pPr>
                <a:defRPr/>
              </a:pPr>
              <a:t>‹#›</a:t>
            </a:fld>
            <a:endParaRPr lang="de-DE" altLang="en-US"/>
          </a:p>
        </p:txBody>
      </p:sp>
    </p:spTree>
    <p:extLst>
      <p:ext uri="{BB962C8B-B14F-4D97-AF65-F5344CB8AC3E}">
        <p14:creationId xmlns:p14="http://schemas.microsoft.com/office/powerpoint/2010/main" val="26951743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2" name="Rectangle 6">
            <a:extLst>
              <a:ext uri="{FF2B5EF4-FFF2-40B4-BE49-F238E27FC236}">
                <a16:creationId xmlns:a16="http://schemas.microsoft.com/office/drawing/2014/main" id="{FDC35B37-E386-A340-B2DE-DB693A77B1EF}"/>
              </a:ext>
            </a:extLst>
          </p:cNvPr>
          <p:cNvSpPr>
            <a:spLocks noGrp="1" noChangeArrowheads="1"/>
          </p:cNvSpPr>
          <p:nvPr>
            <p:ph type="sldNum" sz="quarter" idx="10"/>
          </p:nvPr>
        </p:nvSpPr>
        <p:spPr>
          <a:xfrm>
            <a:off x="11712575" y="6381750"/>
            <a:ext cx="450850" cy="306388"/>
          </a:xfrm>
        </p:spPr>
        <p:txBody>
          <a:bodyPr/>
          <a:lstStyle>
            <a:lvl1pPr>
              <a:defRPr/>
            </a:lvl1pPr>
          </a:lstStyle>
          <a:p>
            <a:pPr>
              <a:defRPr/>
            </a:pPr>
            <a:fld id="{0E2F8765-B852-1248-A10E-BC6B672CEE44}" type="slidenum">
              <a:rPr lang="de-DE" altLang="en-US"/>
              <a:pPr>
                <a:defRPr/>
              </a:pPr>
              <a:t>‹#›</a:t>
            </a:fld>
            <a:endParaRPr lang="de-DE" altLang="en-US" dirty="0"/>
          </a:p>
        </p:txBody>
      </p:sp>
    </p:spTree>
    <p:extLst>
      <p:ext uri="{BB962C8B-B14F-4D97-AF65-F5344CB8AC3E}">
        <p14:creationId xmlns:p14="http://schemas.microsoft.com/office/powerpoint/2010/main" val="39576445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endParaRPr lang="el-G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l-GR"/>
          </a:p>
        </p:txBody>
      </p:sp>
      <p:sp>
        <p:nvSpPr>
          <p:cNvPr id="4" name="Date Placeholder 3">
            <a:extLst>
              <a:ext uri="{FF2B5EF4-FFF2-40B4-BE49-F238E27FC236}">
                <a16:creationId xmlns:a16="http://schemas.microsoft.com/office/drawing/2014/main" id="{E193B536-E25A-4194-BF24-199C4E373A45}"/>
              </a:ext>
            </a:extLst>
          </p:cNvPr>
          <p:cNvSpPr>
            <a:spLocks noGrp="1"/>
          </p:cNvSpPr>
          <p:nvPr>
            <p:ph type="dt" sz="half" idx="10"/>
          </p:nvPr>
        </p:nvSpPr>
        <p:spPr/>
        <p:txBody>
          <a:bodyPr/>
          <a:lstStyle>
            <a:lvl1pPr>
              <a:defRPr/>
            </a:lvl1pPr>
          </a:lstStyle>
          <a:p>
            <a:pPr>
              <a:defRPr/>
            </a:pPr>
            <a:fld id="{2632F5FD-87B7-4241-96B9-B63B31E067DA}" type="datetimeFigureOut">
              <a:rPr lang="el-GR"/>
              <a:pPr>
                <a:defRPr/>
              </a:pPr>
              <a:t>17/2/2021</a:t>
            </a:fld>
            <a:endParaRPr lang="el-GR"/>
          </a:p>
        </p:txBody>
      </p:sp>
      <p:sp>
        <p:nvSpPr>
          <p:cNvPr id="5" name="Footer Placeholder 4">
            <a:extLst>
              <a:ext uri="{FF2B5EF4-FFF2-40B4-BE49-F238E27FC236}">
                <a16:creationId xmlns:a16="http://schemas.microsoft.com/office/drawing/2014/main" id="{A619B198-5E38-44FC-AA51-F14C119D4BEB}"/>
              </a:ext>
            </a:extLst>
          </p:cNvPr>
          <p:cNvSpPr>
            <a:spLocks noGrp="1"/>
          </p:cNvSpPr>
          <p:nvPr>
            <p:ph type="ftr" sz="quarter" idx="11"/>
          </p:nvPr>
        </p:nvSpPr>
        <p:spPr/>
        <p:txBody>
          <a:bodyPr/>
          <a:lstStyle>
            <a:lvl1pPr>
              <a:defRPr/>
            </a:lvl1pPr>
          </a:lstStyle>
          <a:p>
            <a:pPr>
              <a:defRPr/>
            </a:pPr>
            <a:endParaRPr lang="el-GR"/>
          </a:p>
        </p:txBody>
      </p:sp>
      <p:sp>
        <p:nvSpPr>
          <p:cNvPr id="6" name="Slide Number Placeholder 5">
            <a:extLst>
              <a:ext uri="{FF2B5EF4-FFF2-40B4-BE49-F238E27FC236}">
                <a16:creationId xmlns:a16="http://schemas.microsoft.com/office/drawing/2014/main" id="{11100A55-52C6-475F-AB38-9A38B59CB1B5}"/>
              </a:ext>
            </a:extLst>
          </p:cNvPr>
          <p:cNvSpPr>
            <a:spLocks noGrp="1"/>
          </p:cNvSpPr>
          <p:nvPr>
            <p:ph type="sldNum" sz="quarter" idx="12"/>
          </p:nvPr>
        </p:nvSpPr>
        <p:spPr/>
        <p:txBody>
          <a:bodyPr/>
          <a:lstStyle>
            <a:lvl1pPr>
              <a:defRPr/>
            </a:lvl1pPr>
          </a:lstStyle>
          <a:p>
            <a:pPr>
              <a:defRPr/>
            </a:pPr>
            <a:fld id="{06226E6D-44B1-4688-B276-30A5BFAA425C}" type="slidenum">
              <a:rPr lang="el-GR" altLang="en-US"/>
              <a:pPr>
                <a:defRPr/>
              </a:pPr>
              <a:t>‹#›</a:t>
            </a:fld>
            <a:endParaRPr lang="el-GR" altLang="en-US"/>
          </a:p>
        </p:txBody>
      </p:sp>
    </p:spTree>
    <p:extLst>
      <p:ext uri="{BB962C8B-B14F-4D97-AF65-F5344CB8AC3E}">
        <p14:creationId xmlns:p14="http://schemas.microsoft.com/office/powerpoint/2010/main" val="12730269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l-G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id="{2FE7DA88-0BE7-49A4-A351-0C70F74C7C14}"/>
              </a:ext>
            </a:extLst>
          </p:cNvPr>
          <p:cNvSpPr>
            <a:spLocks noGrp="1"/>
          </p:cNvSpPr>
          <p:nvPr>
            <p:ph type="dt" sz="half" idx="10"/>
          </p:nvPr>
        </p:nvSpPr>
        <p:spPr/>
        <p:txBody>
          <a:bodyPr/>
          <a:lstStyle>
            <a:lvl1pPr>
              <a:defRPr/>
            </a:lvl1pPr>
          </a:lstStyle>
          <a:p>
            <a:pPr>
              <a:defRPr/>
            </a:pPr>
            <a:fld id="{8977F209-A9EF-4B06-9B55-DB7BEBA08EE8}" type="datetimeFigureOut">
              <a:rPr lang="el-GR"/>
              <a:pPr>
                <a:defRPr/>
              </a:pPr>
              <a:t>17/2/2021</a:t>
            </a:fld>
            <a:endParaRPr lang="el-GR"/>
          </a:p>
        </p:txBody>
      </p:sp>
      <p:sp>
        <p:nvSpPr>
          <p:cNvPr id="5" name="Footer Placeholder 4">
            <a:extLst>
              <a:ext uri="{FF2B5EF4-FFF2-40B4-BE49-F238E27FC236}">
                <a16:creationId xmlns:a16="http://schemas.microsoft.com/office/drawing/2014/main" id="{93F58A0E-CB6D-47FB-A531-3B771214D882}"/>
              </a:ext>
            </a:extLst>
          </p:cNvPr>
          <p:cNvSpPr>
            <a:spLocks noGrp="1"/>
          </p:cNvSpPr>
          <p:nvPr>
            <p:ph type="ftr" sz="quarter" idx="11"/>
          </p:nvPr>
        </p:nvSpPr>
        <p:spPr/>
        <p:txBody>
          <a:bodyPr/>
          <a:lstStyle>
            <a:lvl1pPr>
              <a:defRPr/>
            </a:lvl1pPr>
          </a:lstStyle>
          <a:p>
            <a:pPr>
              <a:defRPr/>
            </a:pPr>
            <a:endParaRPr lang="el-GR"/>
          </a:p>
        </p:txBody>
      </p:sp>
      <p:sp>
        <p:nvSpPr>
          <p:cNvPr id="6" name="Slide Number Placeholder 5">
            <a:extLst>
              <a:ext uri="{FF2B5EF4-FFF2-40B4-BE49-F238E27FC236}">
                <a16:creationId xmlns:a16="http://schemas.microsoft.com/office/drawing/2014/main" id="{548AE98D-4739-4AD4-81DC-ADA4BC1539DE}"/>
              </a:ext>
            </a:extLst>
          </p:cNvPr>
          <p:cNvSpPr>
            <a:spLocks noGrp="1"/>
          </p:cNvSpPr>
          <p:nvPr>
            <p:ph type="sldNum" sz="quarter" idx="12"/>
          </p:nvPr>
        </p:nvSpPr>
        <p:spPr/>
        <p:txBody>
          <a:bodyPr/>
          <a:lstStyle>
            <a:lvl1pPr>
              <a:defRPr/>
            </a:lvl1pPr>
          </a:lstStyle>
          <a:p>
            <a:pPr>
              <a:defRPr/>
            </a:pPr>
            <a:fld id="{A16CF6AA-1563-49E8-B563-985EAB9E6DE3}" type="slidenum">
              <a:rPr lang="el-GR" altLang="en-US"/>
              <a:pPr>
                <a:defRPr/>
              </a:pPr>
              <a:t>‹#›</a:t>
            </a:fld>
            <a:endParaRPr lang="el-GR" altLang="en-US"/>
          </a:p>
        </p:txBody>
      </p:sp>
    </p:spTree>
    <p:extLst>
      <p:ext uri="{BB962C8B-B14F-4D97-AF65-F5344CB8AC3E}">
        <p14:creationId xmlns:p14="http://schemas.microsoft.com/office/powerpoint/2010/main" val="198189578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endParaRPr lang="el-G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89D4F0C-420F-49A3-92D8-8B63213BD210}"/>
              </a:ext>
            </a:extLst>
          </p:cNvPr>
          <p:cNvSpPr>
            <a:spLocks noGrp="1"/>
          </p:cNvSpPr>
          <p:nvPr>
            <p:ph type="dt" sz="half" idx="10"/>
          </p:nvPr>
        </p:nvSpPr>
        <p:spPr/>
        <p:txBody>
          <a:bodyPr/>
          <a:lstStyle>
            <a:lvl1pPr>
              <a:defRPr/>
            </a:lvl1pPr>
          </a:lstStyle>
          <a:p>
            <a:pPr>
              <a:defRPr/>
            </a:pPr>
            <a:fld id="{4975D6E7-54B3-40E9-949D-5088C36CABBE}" type="datetimeFigureOut">
              <a:rPr lang="el-GR"/>
              <a:pPr>
                <a:defRPr/>
              </a:pPr>
              <a:t>17/2/2021</a:t>
            </a:fld>
            <a:endParaRPr lang="el-GR"/>
          </a:p>
        </p:txBody>
      </p:sp>
      <p:sp>
        <p:nvSpPr>
          <p:cNvPr id="5" name="Footer Placeholder 4">
            <a:extLst>
              <a:ext uri="{FF2B5EF4-FFF2-40B4-BE49-F238E27FC236}">
                <a16:creationId xmlns:a16="http://schemas.microsoft.com/office/drawing/2014/main" id="{B3A4E0D2-229F-460D-9587-228E9EA0643D}"/>
              </a:ext>
            </a:extLst>
          </p:cNvPr>
          <p:cNvSpPr>
            <a:spLocks noGrp="1"/>
          </p:cNvSpPr>
          <p:nvPr>
            <p:ph type="ftr" sz="quarter" idx="11"/>
          </p:nvPr>
        </p:nvSpPr>
        <p:spPr/>
        <p:txBody>
          <a:bodyPr/>
          <a:lstStyle>
            <a:lvl1pPr>
              <a:defRPr/>
            </a:lvl1pPr>
          </a:lstStyle>
          <a:p>
            <a:pPr>
              <a:defRPr/>
            </a:pPr>
            <a:endParaRPr lang="el-GR"/>
          </a:p>
        </p:txBody>
      </p:sp>
      <p:sp>
        <p:nvSpPr>
          <p:cNvPr id="6" name="Slide Number Placeholder 5">
            <a:extLst>
              <a:ext uri="{FF2B5EF4-FFF2-40B4-BE49-F238E27FC236}">
                <a16:creationId xmlns:a16="http://schemas.microsoft.com/office/drawing/2014/main" id="{9EF86189-6F97-483D-8F41-C76B6E156B05}"/>
              </a:ext>
            </a:extLst>
          </p:cNvPr>
          <p:cNvSpPr>
            <a:spLocks noGrp="1"/>
          </p:cNvSpPr>
          <p:nvPr>
            <p:ph type="sldNum" sz="quarter" idx="12"/>
          </p:nvPr>
        </p:nvSpPr>
        <p:spPr/>
        <p:txBody>
          <a:bodyPr/>
          <a:lstStyle>
            <a:lvl1pPr>
              <a:defRPr/>
            </a:lvl1pPr>
          </a:lstStyle>
          <a:p>
            <a:pPr>
              <a:defRPr/>
            </a:pPr>
            <a:fld id="{672DEDA9-19C4-4EF0-9479-C138DA167A63}" type="slidenum">
              <a:rPr lang="el-GR" altLang="en-US"/>
              <a:pPr>
                <a:defRPr/>
              </a:pPr>
              <a:t>‹#›</a:t>
            </a:fld>
            <a:endParaRPr lang="el-GR" altLang="en-US"/>
          </a:p>
        </p:txBody>
      </p:sp>
    </p:spTree>
    <p:extLst>
      <p:ext uri="{BB962C8B-B14F-4D97-AF65-F5344CB8AC3E}">
        <p14:creationId xmlns:p14="http://schemas.microsoft.com/office/powerpoint/2010/main" val="92744154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l-G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5" name="Date Placeholder 3">
            <a:extLst>
              <a:ext uri="{FF2B5EF4-FFF2-40B4-BE49-F238E27FC236}">
                <a16:creationId xmlns:a16="http://schemas.microsoft.com/office/drawing/2014/main" id="{0D8BFF3F-1F64-4140-9717-E41749448898}"/>
              </a:ext>
            </a:extLst>
          </p:cNvPr>
          <p:cNvSpPr>
            <a:spLocks noGrp="1"/>
          </p:cNvSpPr>
          <p:nvPr>
            <p:ph type="dt" sz="half" idx="10"/>
          </p:nvPr>
        </p:nvSpPr>
        <p:spPr/>
        <p:txBody>
          <a:bodyPr/>
          <a:lstStyle>
            <a:lvl1pPr>
              <a:defRPr/>
            </a:lvl1pPr>
          </a:lstStyle>
          <a:p>
            <a:pPr>
              <a:defRPr/>
            </a:pPr>
            <a:fld id="{1639E6FA-1827-4BB8-B515-5B1376DBE107}" type="datetimeFigureOut">
              <a:rPr lang="el-GR"/>
              <a:pPr>
                <a:defRPr/>
              </a:pPr>
              <a:t>17/2/2021</a:t>
            </a:fld>
            <a:endParaRPr lang="el-GR"/>
          </a:p>
        </p:txBody>
      </p:sp>
      <p:sp>
        <p:nvSpPr>
          <p:cNvPr id="6" name="Footer Placeholder 4">
            <a:extLst>
              <a:ext uri="{FF2B5EF4-FFF2-40B4-BE49-F238E27FC236}">
                <a16:creationId xmlns:a16="http://schemas.microsoft.com/office/drawing/2014/main" id="{3D35814C-4D61-4EEF-B71C-4F41C26425B0}"/>
              </a:ext>
            </a:extLst>
          </p:cNvPr>
          <p:cNvSpPr>
            <a:spLocks noGrp="1"/>
          </p:cNvSpPr>
          <p:nvPr>
            <p:ph type="ftr" sz="quarter" idx="11"/>
          </p:nvPr>
        </p:nvSpPr>
        <p:spPr/>
        <p:txBody>
          <a:bodyPr/>
          <a:lstStyle>
            <a:lvl1pPr>
              <a:defRPr/>
            </a:lvl1pPr>
          </a:lstStyle>
          <a:p>
            <a:pPr>
              <a:defRPr/>
            </a:pPr>
            <a:endParaRPr lang="el-GR"/>
          </a:p>
        </p:txBody>
      </p:sp>
      <p:sp>
        <p:nvSpPr>
          <p:cNvPr id="7" name="Slide Number Placeholder 5">
            <a:extLst>
              <a:ext uri="{FF2B5EF4-FFF2-40B4-BE49-F238E27FC236}">
                <a16:creationId xmlns:a16="http://schemas.microsoft.com/office/drawing/2014/main" id="{C3522CCB-7AB1-45F6-B7B2-03539119E86E}"/>
              </a:ext>
            </a:extLst>
          </p:cNvPr>
          <p:cNvSpPr>
            <a:spLocks noGrp="1"/>
          </p:cNvSpPr>
          <p:nvPr>
            <p:ph type="sldNum" sz="quarter" idx="12"/>
          </p:nvPr>
        </p:nvSpPr>
        <p:spPr/>
        <p:txBody>
          <a:bodyPr/>
          <a:lstStyle>
            <a:lvl1pPr>
              <a:defRPr/>
            </a:lvl1pPr>
          </a:lstStyle>
          <a:p>
            <a:pPr>
              <a:defRPr/>
            </a:pPr>
            <a:fld id="{A5FD45B1-C716-4756-8F92-004161BAFB70}" type="slidenum">
              <a:rPr lang="el-GR" altLang="en-US"/>
              <a:pPr>
                <a:defRPr/>
              </a:pPr>
              <a:t>‹#›</a:t>
            </a:fld>
            <a:endParaRPr lang="el-GR" altLang="en-US"/>
          </a:p>
        </p:txBody>
      </p:sp>
    </p:spTree>
    <p:extLst>
      <p:ext uri="{BB962C8B-B14F-4D97-AF65-F5344CB8AC3E}">
        <p14:creationId xmlns:p14="http://schemas.microsoft.com/office/powerpoint/2010/main" val="92621652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l-G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7" name="Date Placeholder 3">
            <a:extLst>
              <a:ext uri="{FF2B5EF4-FFF2-40B4-BE49-F238E27FC236}">
                <a16:creationId xmlns:a16="http://schemas.microsoft.com/office/drawing/2014/main" id="{00832323-1CA6-4A50-8581-77DCFE59D875}"/>
              </a:ext>
            </a:extLst>
          </p:cNvPr>
          <p:cNvSpPr>
            <a:spLocks noGrp="1"/>
          </p:cNvSpPr>
          <p:nvPr>
            <p:ph type="dt" sz="half" idx="10"/>
          </p:nvPr>
        </p:nvSpPr>
        <p:spPr/>
        <p:txBody>
          <a:bodyPr/>
          <a:lstStyle>
            <a:lvl1pPr>
              <a:defRPr/>
            </a:lvl1pPr>
          </a:lstStyle>
          <a:p>
            <a:pPr>
              <a:defRPr/>
            </a:pPr>
            <a:fld id="{51CD28FF-A841-49F7-A39B-F161D3FAFF0F}" type="datetimeFigureOut">
              <a:rPr lang="el-GR"/>
              <a:pPr>
                <a:defRPr/>
              </a:pPr>
              <a:t>17/2/2021</a:t>
            </a:fld>
            <a:endParaRPr lang="el-GR"/>
          </a:p>
        </p:txBody>
      </p:sp>
      <p:sp>
        <p:nvSpPr>
          <p:cNvPr id="8" name="Footer Placeholder 4">
            <a:extLst>
              <a:ext uri="{FF2B5EF4-FFF2-40B4-BE49-F238E27FC236}">
                <a16:creationId xmlns:a16="http://schemas.microsoft.com/office/drawing/2014/main" id="{CDD54F5F-871B-4A48-9579-4D4546CF35A1}"/>
              </a:ext>
            </a:extLst>
          </p:cNvPr>
          <p:cNvSpPr>
            <a:spLocks noGrp="1"/>
          </p:cNvSpPr>
          <p:nvPr>
            <p:ph type="ftr" sz="quarter" idx="11"/>
          </p:nvPr>
        </p:nvSpPr>
        <p:spPr/>
        <p:txBody>
          <a:bodyPr/>
          <a:lstStyle>
            <a:lvl1pPr>
              <a:defRPr/>
            </a:lvl1pPr>
          </a:lstStyle>
          <a:p>
            <a:pPr>
              <a:defRPr/>
            </a:pPr>
            <a:endParaRPr lang="el-GR"/>
          </a:p>
        </p:txBody>
      </p:sp>
      <p:sp>
        <p:nvSpPr>
          <p:cNvPr id="9" name="Slide Number Placeholder 5">
            <a:extLst>
              <a:ext uri="{FF2B5EF4-FFF2-40B4-BE49-F238E27FC236}">
                <a16:creationId xmlns:a16="http://schemas.microsoft.com/office/drawing/2014/main" id="{1309357B-E7CB-4D07-8325-7EE5D9F09A10}"/>
              </a:ext>
            </a:extLst>
          </p:cNvPr>
          <p:cNvSpPr>
            <a:spLocks noGrp="1"/>
          </p:cNvSpPr>
          <p:nvPr>
            <p:ph type="sldNum" sz="quarter" idx="12"/>
          </p:nvPr>
        </p:nvSpPr>
        <p:spPr/>
        <p:txBody>
          <a:bodyPr/>
          <a:lstStyle>
            <a:lvl1pPr>
              <a:defRPr/>
            </a:lvl1pPr>
          </a:lstStyle>
          <a:p>
            <a:pPr>
              <a:defRPr/>
            </a:pPr>
            <a:fld id="{37BDF0AB-0B9B-4A73-8E59-8F5A4EFD3B68}" type="slidenum">
              <a:rPr lang="el-GR" altLang="en-US"/>
              <a:pPr>
                <a:defRPr/>
              </a:pPr>
              <a:t>‹#›</a:t>
            </a:fld>
            <a:endParaRPr lang="el-GR" altLang="en-US"/>
          </a:p>
        </p:txBody>
      </p:sp>
    </p:spTree>
    <p:extLst>
      <p:ext uri="{BB962C8B-B14F-4D97-AF65-F5344CB8AC3E}">
        <p14:creationId xmlns:p14="http://schemas.microsoft.com/office/powerpoint/2010/main" val="3744036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l-GR"/>
          </a:p>
        </p:txBody>
      </p:sp>
      <p:sp>
        <p:nvSpPr>
          <p:cNvPr id="3" name="Date Placeholder 3">
            <a:extLst>
              <a:ext uri="{FF2B5EF4-FFF2-40B4-BE49-F238E27FC236}">
                <a16:creationId xmlns:a16="http://schemas.microsoft.com/office/drawing/2014/main" id="{67A31F12-154E-4655-B89A-09FB6781C446}"/>
              </a:ext>
            </a:extLst>
          </p:cNvPr>
          <p:cNvSpPr>
            <a:spLocks noGrp="1"/>
          </p:cNvSpPr>
          <p:nvPr>
            <p:ph type="dt" sz="half" idx="10"/>
          </p:nvPr>
        </p:nvSpPr>
        <p:spPr/>
        <p:txBody>
          <a:bodyPr/>
          <a:lstStyle>
            <a:lvl1pPr>
              <a:defRPr/>
            </a:lvl1pPr>
          </a:lstStyle>
          <a:p>
            <a:pPr>
              <a:defRPr/>
            </a:pPr>
            <a:fld id="{2CD5E4FB-C0F6-4B09-AFC1-E10782AD0EA5}" type="datetimeFigureOut">
              <a:rPr lang="el-GR"/>
              <a:pPr>
                <a:defRPr/>
              </a:pPr>
              <a:t>17/2/2021</a:t>
            </a:fld>
            <a:endParaRPr lang="el-GR"/>
          </a:p>
        </p:txBody>
      </p:sp>
      <p:sp>
        <p:nvSpPr>
          <p:cNvPr id="4" name="Footer Placeholder 4">
            <a:extLst>
              <a:ext uri="{FF2B5EF4-FFF2-40B4-BE49-F238E27FC236}">
                <a16:creationId xmlns:a16="http://schemas.microsoft.com/office/drawing/2014/main" id="{FE5B462F-2EB4-4777-94BD-2DDA5D5099AD}"/>
              </a:ext>
            </a:extLst>
          </p:cNvPr>
          <p:cNvSpPr>
            <a:spLocks noGrp="1"/>
          </p:cNvSpPr>
          <p:nvPr>
            <p:ph type="ftr" sz="quarter" idx="11"/>
          </p:nvPr>
        </p:nvSpPr>
        <p:spPr/>
        <p:txBody>
          <a:bodyPr/>
          <a:lstStyle>
            <a:lvl1pPr>
              <a:defRPr/>
            </a:lvl1pPr>
          </a:lstStyle>
          <a:p>
            <a:pPr>
              <a:defRPr/>
            </a:pPr>
            <a:endParaRPr lang="el-GR"/>
          </a:p>
        </p:txBody>
      </p:sp>
      <p:sp>
        <p:nvSpPr>
          <p:cNvPr id="5" name="Slide Number Placeholder 5">
            <a:extLst>
              <a:ext uri="{FF2B5EF4-FFF2-40B4-BE49-F238E27FC236}">
                <a16:creationId xmlns:a16="http://schemas.microsoft.com/office/drawing/2014/main" id="{DB4733B6-A70B-4841-BD4A-9AD908CA7DCE}"/>
              </a:ext>
            </a:extLst>
          </p:cNvPr>
          <p:cNvSpPr>
            <a:spLocks noGrp="1"/>
          </p:cNvSpPr>
          <p:nvPr>
            <p:ph type="sldNum" sz="quarter" idx="12"/>
          </p:nvPr>
        </p:nvSpPr>
        <p:spPr/>
        <p:txBody>
          <a:bodyPr/>
          <a:lstStyle>
            <a:lvl1pPr>
              <a:defRPr/>
            </a:lvl1pPr>
          </a:lstStyle>
          <a:p>
            <a:pPr>
              <a:defRPr/>
            </a:pPr>
            <a:fld id="{00C7BF57-F22C-4EAB-9841-6E74602A8065}" type="slidenum">
              <a:rPr lang="el-GR" altLang="en-US"/>
              <a:pPr>
                <a:defRPr/>
              </a:pPr>
              <a:t>‹#›</a:t>
            </a:fld>
            <a:endParaRPr lang="el-GR" altLang="en-US"/>
          </a:p>
        </p:txBody>
      </p:sp>
    </p:spTree>
    <p:extLst>
      <p:ext uri="{BB962C8B-B14F-4D97-AF65-F5344CB8AC3E}">
        <p14:creationId xmlns:p14="http://schemas.microsoft.com/office/powerpoint/2010/main" val="24534102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872A6"/>
                </a:solidFill>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a:extLst>
              <a:ext uri="{FF2B5EF4-FFF2-40B4-BE49-F238E27FC236}">
                <a16:creationId xmlns:a16="http://schemas.microsoft.com/office/drawing/2014/main" id="{1EF831D1-D1B2-4A47-8925-A2D982C0A9B2}"/>
              </a:ext>
            </a:extLst>
          </p:cNvPr>
          <p:cNvSpPr>
            <a:spLocks noGrp="1" noChangeArrowheads="1"/>
          </p:cNvSpPr>
          <p:nvPr>
            <p:ph type="sldNum" sz="quarter" idx="10"/>
          </p:nvPr>
        </p:nvSpPr>
        <p:spPr>
          <a:ln/>
        </p:spPr>
        <p:txBody>
          <a:bodyPr/>
          <a:lstStyle>
            <a:lvl1pPr>
              <a:defRPr/>
            </a:lvl1pPr>
          </a:lstStyle>
          <a:p>
            <a:pPr>
              <a:defRPr/>
            </a:pPr>
            <a:fld id="{93973694-2C9A-448D-B3C7-A443C13B92D6}" type="slidenum">
              <a:rPr lang="de-DE" altLang="en-US"/>
              <a:pPr>
                <a:defRPr/>
              </a:pPr>
              <a:t>‹#›</a:t>
            </a:fld>
            <a:endParaRPr lang="de-DE" altLang="en-US"/>
          </a:p>
        </p:txBody>
      </p:sp>
    </p:spTree>
    <p:extLst>
      <p:ext uri="{BB962C8B-B14F-4D97-AF65-F5344CB8AC3E}">
        <p14:creationId xmlns:p14="http://schemas.microsoft.com/office/powerpoint/2010/main" val="23042275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73688A76-6CF2-4CE0-9A0E-292B599FFDFE}"/>
              </a:ext>
            </a:extLst>
          </p:cNvPr>
          <p:cNvSpPr>
            <a:spLocks noGrp="1"/>
          </p:cNvSpPr>
          <p:nvPr>
            <p:ph type="dt" sz="half" idx="10"/>
          </p:nvPr>
        </p:nvSpPr>
        <p:spPr/>
        <p:txBody>
          <a:bodyPr/>
          <a:lstStyle>
            <a:lvl1pPr>
              <a:defRPr/>
            </a:lvl1pPr>
          </a:lstStyle>
          <a:p>
            <a:pPr>
              <a:defRPr/>
            </a:pPr>
            <a:fld id="{E9D7157C-4836-456B-BCC0-8374918FF06C}" type="datetimeFigureOut">
              <a:rPr lang="el-GR"/>
              <a:pPr>
                <a:defRPr/>
              </a:pPr>
              <a:t>17/2/2021</a:t>
            </a:fld>
            <a:endParaRPr lang="el-GR"/>
          </a:p>
        </p:txBody>
      </p:sp>
      <p:sp>
        <p:nvSpPr>
          <p:cNvPr id="3" name="Footer Placeholder 4">
            <a:extLst>
              <a:ext uri="{FF2B5EF4-FFF2-40B4-BE49-F238E27FC236}">
                <a16:creationId xmlns:a16="http://schemas.microsoft.com/office/drawing/2014/main" id="{899416B2-AA91-4A89-A16A-D954AEB71134}"/>
              </a:ext>
            </a:extLst>
          </p:cNvPr>
          <p:cNvSpPr>
            <a:spLocks noGrp="1"/>
          </p:cNvSpPr>
          <p:nvPr>
            <p:ph type="ftr" sz="quarter" idx="11"/>
          </p:nvPr>
        </p:nvSpPr>
        <p:spPr/>
        <p:txBody>
          <a:bodyPr/>
          <a:lstStyle>
            <a:lvl1pPr>
              <a:defRPr/>
            </a:lvl1pPr>
          </a:lstStyle>
          <a:p>
            <a:pPr>
              <a:defRPr/>
            </a:pPr>
            <a:endParaRPr lang="el-GR"/>
          </a:p>
        </p:txBody>
      </p:sp>
      <p:sp>
        <p:nvSpPr>
          <p:cNvPr id="4" name="Slide Number Placeholder 5">
            <a:extLst>
              <a:ext uri="{FF2B5EF4-FFF2-40B4-BE49-F238E27FC236}">
                <a16:creationId xmlns:a16="http://schemas.microsoft.com/office/drawing/2014/main" id="{BA7DBC9A-40C7-4493-B120-EAB69CE9EBBF}"/>
              </a:ext>
            </a:extLst>
          </p:cNvPr>
          <p:cNvSpPr>
            <a:spLocks noGrp="1"/>
          </p:cNvSpPr>
          <p:nvPr>
            <p:ph type="sldNum" sz="quarter" idx="12"/>
          </p:nvPr>
        </p:nvSpPr>
        <p:spPr/>
        <p:txBody>
          <a:bodyPr/>
          <a:lstStyle>
            <a:lvl1pPr>
              <a:defRPr/>
            </a:lvl1pPr>
          </a:lstStyle>
          <a:p>
            <a:pPr>
              <a:defRPr/>
            </a:pPr>
            <a:fld id="{BC2EFA8E-F742-416E-A3FF-8054CF40CFD2}" type="slidenum">
              <a:rPr lang="el-GR" altLang="en-US"/>
              <a:pPr>
                <a:defRPr/>
              </a:pPr>
              <a:t>‹#›</a:t>
            </a:fld>
            <a:endParaRPr lang="el-GR" altLang="en-US"/>
          </a:p>
        </p:txBody>
      </p:sp>
    </p:spTree>
    <p:extLst>
      <p:ext uri="{BB962C8B-B14F-4D97-AF65-F5344CB8AC3E}">
        <p14:creationId xmlns:p14="http://schemas.microsoft.com/office/powerpoint/2010/main" val="174436876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endParaRPr lang="el-G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9880A92E-7C07-48B5-B6EE-F08D74D255F7}"/>
              </a:ext>
            </a:extLst>
          </p:cNvPr>
          <p:cNvSpPr>
            <a:spLocks noGrp="1"/>
          </p:cNvSpPr>
          <p:nvPr>
            <p:ph type="dt" sz="half" idx="10"/>
          </p:nvPr>
        </p:nvSpPr>
        <p:spPr/>
        <p:txBody>
          <a:bodyPr/>
          <a:lstStyle>
            <a:lvl1pPr>
              <a:defRPr/>
            </a:lvl1pPr>
          </a:lstStyle>
          <a:p>
            <a:pPr>
              <a:defRPr/>
            </a:pPr>
            <a:fld id="{62A1CD30-0B2E-4C6A-AA15-CE7772F71A2B}" type="datetimeFigureOut">
              <a:rPr lang="el-GR"/>
              <a:pPr>
                <a:defRPr/>
              </a:pPr>
              <a:t>17/2/2021</a:t>
            </a:fld>
            <a:endParaRPr lang="el-GR"/>
          </a:p>
        </p:txBody>
      </p:sp>
      <p:sp>
        <p:nvSpPr>
          <p:cNvPr id="6" name="Footer Placeholder 4">
            <a:extLst>
              <a:ext uri="{FF2B5EF4-FFF2-40B4-BE49-F238E27FC236}">
                <a16:creationId xmlns:a16="http://schemas.microsoft.com/office/drawing/2014/main" id="{9CEDAFB7-9732-4E92-9FB5-13F3BE09AF97}"/>
              </a:ext>
            </a:extLst>
          </p:cNvPr>
          <p:cNvSpPr>
            <a:spLocks noGrp="1"/>
          </p:cNvSpPr>
          <p:nvPr>
            <p:ph type="ftr" sz="quarter" idx="11"/>
          </p:nvPr>
        </p:nvSpPr>
        <p:spPr/>
        <p:txBody>
          <a:bodyPr/>
          <a:lstStyle>
            <a:lvl1pPr>
              <a:defRPr/>
            </a:lvl1pPr>
          </a:lstStyle>
          <a:p>
            <a:pPr>
              <a:defRPr/>
            </a:pPr>
            <a:endParaRPr lang="el-GR"/>
          </a:p>
        </p:txBody>
      </p:sp>
      <p:sp>
        <p:nvSpPr>
          <p:cNvPr id="7" name="Slide Number Placeholder 5">
            <a:extLst>
              <a:ext uri="{FF2B5EF4-FFF2-40B4-BE49-F238E27FC236}">
                <a16:creationId xmlns:a16="http://schemas.microsoft.com/office/drawing/2014/main" id="{142C825F-455C-40EC-9179-84CB8E73C504}"/>
              </a:ext>
            </a:extLst>
          </p:cNvPr>
          <p:cNvSpPr>
            <a:spLocks noGrp="1"/>
          </p:cNvSpPr>
          <p:nvPr>
            <p:ph type="sldNum" sz="quarter" idx="12"/>
          </p:nvPr>
        </p:nvSpPr>
        <p:spPr/>
        <p:txBody>
          <a:bodyPr/>
          <a:lstStyle>
            <a:lvl1pPr>
              <a:defRPr/>
            </a:lvl1pPr>
          </a:lstStyle>
          <a:p>
            <a:pPr>
              <a:defRPr/>
            </a:pPr>
            <a:fld id="{D5F423E9-016D-40A3-B9CE-578D8B80CF2E}" type="slidenum">
              <a:rPr lang="el-GR" altLang="en-US"/>
              <a:pPr>
                <a:defRPr/>
              </a:pPr>
              <a:t>‹#›</a:t>
            </a:fld>
            <a:endParaRPr lang="el-GR" altLang="en-US"/>
          </a:p>
        </p:txBody>
      </p:sp>
    </p:spTree>
    <p:extLst>
      <p:ext uri="{BB962C8B-B14F-4D97-AF65-F5344CB8AC3E}">
        <p14:creationId xmlns:p14="http://schemas.microsoft.com/office/powerpoint/2010/main" val="27425773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el-GR"/>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l-GR"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14ADFA89-1E43-4792-B74B-003CD2A69EA5}"/>
              </a:ext>
            </a:extLst>
          </p:cNvPr>
          <p:cNvSpPr>
            <a:spLocks noGrp="1"/>
          </p:cNvSpPr>
          <p:nvPr>
            <p:ph type="dt" sz="half" idx="10"/>
          </p:nvPr>
        </p:nvSpPr>
        <p:spPr/>
        <p:txBody>
          <a:bodyPr/>
          <a:lstStyle>
            <a:lvl1pPr>
              <a:defRPr/>
            </a:lvl1pPr>
          </a:lstStyle>
          <a:p>
            <a:pPr>
              <a:defRPr/>
            </a:pPr>
            <a:fld id="{747A3EE3-9B41-4C02-A522-E0529AA4A01E}" type="datetimeFigureOut">
              <a:rPr lang="el-GR"/>
              <a:pPr>
                <a:defRPr/>
              </a:pPr>
              <a:t>17/2/2021</a:t>
            </a:fld>
            <a:endParaRPr lang="el-GR"/>
          </a:p>
        </p:txBody>
      </p:sp>
      <p:sp>
        <p:nvSpPr>
          <p:cNvPr id="6" name="Footer Placeholder 4">
            <a:extLst>
              <a:ext uri="{FF2B5EF4-FFF2-40B4-BE49-F238E27FC236}">
                <a16:creationId xmlns:a16="http://schemas.microsoft.com/office/drawing/2014/main" id="{9BB64A32-E05A-43E8-805B-D209429C3C4B}"/>
              </a:ext>
            </a:extLst>
          </p:cNvPr>
          <p:cNvSpPr>
            <a:spLocks noGrp="1"/>
          </p:cNvSpPr>
          <p:nvPr>
            <p:ph type="ftr" sz="quarter" idx="11"/>
          </p:nvPr>
        </p:nvSpPr>
        <p:spPr/>
        <p:txBody>
          <a:bodyPr/>
          <a:lstStyle>
            <a:lvl1pPr>
              <a:defRPr/>
            </a:lvl1pPr>
          </a:lstStyle>
          <a:p>
            <a:pPr>
              <a:defRPr/>
            </a:pPr>
            <a:endParaRPr lang="el-GR"/>
          </a:p>
        </p:txBody>
      </p:sp>
      <p:sp>
        <p:nvSpPr>
          <p:cNvPr id="7" name="Slide Number Placeholder 5">
            <a:extLst>
              <a:ext uri="{FF2B5EF4-FFF2-40B4-BE49-F238E27FC236}">
                <a16:creationId xmlns:a16="http://schemas.microsoft.com/office/drawing/2014/main" id="{B726E1F5-3370-4DAF-B44F-E446EFCAEBA2}"/>
              </a:ext>
            </a:extLst>
          </p:cNvPr>
          <p:cNvSpPr>
            <a:spLocks noGrp="1"/>
          </p:cNvSpPr>
          <p:nvPr>
            <p:ph type="sldNum" sz="quarter" idx="12"/>
          </p:nvPr>
        </p:nvSpPr>
        <p:spPr/>
        <p:txBody>
          <a:bodyPr/>
          <a:lstStyle>
            <a:lvl1pPr>
              <a:defRPr/>
            </a:lvl1pPr>
          </a:lstStyle>
          <a:p>
            <a:pPr>
              <a:defRPr/>
            </a:pPr>
            <a:fld id="{39421F62-5424-4364-A207-8002FE2B25C8}" type="slidenum">
              <a:rPr lang="el-GR" altLang="en-US"/>
              <a:pPr>
                <a:defRPr/>
              </a:pPr>
              <a:t>‹#›</a:t>
            </a:fld>
            <a:endParaRPr lang="el-GR" altLang="en-US"/>
          </a:p>
        </p:txBody>
      </p:sp>
    </p:spTree>
    <p:extLst>
      <p:ext uri="{BB962C8B-B14F-4D97-AF65-F5344CB8AC3E}">
        <p14:creationId xmlns:p14="http://schemas.microsoft.com/office/powerpoint/2010/main" val="17123795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l-G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id="{2547055D-2DCC-44DD-9AFF-81AA81E822A7}"/>
              </a:ext>
            </a:extLst>
          </p:cNvPr>
          <p:cNvSpPr>
            <a:spLocks noGrp="1"/>
          </p:cNvSpPr>
          <p:nvPr>
            <p:ph type="dt" sz="half" idx="10"/>
          </p:nvPr>
        </p:nvSpPr>
        <p:spPr/>
        <p:txBody>
          <a:bodyPr/>
          <a:lstStyle>
            <a:lvl1pPr>
              <a:defRPr/>
            </a:lvl1pPr>
          </a:lstStyle>
          <a:p>
            <a:pPr>
              <a:defRPr/>
            </a:pPr>
            <a:fld id="{938CD275-B34F-4F5B-80AC-BA2756A540B8}" type="datetimeFigureOut">
              <a:rPr lang="el-GR"/>
              <a:pPr>
                <a:defRPr/>
              </a:pPr>
              <a:t>17/2/2021</a:t>
            </a:fld>
            <a:endParaRPr lang="el-GR"/>
          </a:p>
        </p:txBody>
      </p:sp>
      <p:sp>
        <p:nvSpPr>
          <p:cNvPr id="5" name="Footer Placeholder 4">
            <a:extLst>
              <a:ext uri="{FF2B5EF4-FFF2-40B4-BE49-F238E27FC236}">
                <a16:creationId xmlns:a16="http://schemas.microsoft.com/office/drawing/2014/main" id="{0312A579-D028-4E3C-A0AA-4D3262498B40}"/>
              </a:ext>
            </a:extLst>
          </p:cNvPr>
          <p:cNvSpPr>
            <a:spLocks noGrp="1"/>
          </p:cNvSpPr>
          <p:nvPr>
            <p:ph type="ftr" sz="quarter" idx="11"/>
          </p:nvPr>
        </p:nvSpPr>
        <p:spPr/>
        <p:txBody>
          <a:bodyPr/>
          <a:lstStyle>
            <a:lvl1pPr>
              <a:defRPr/>
            </a:lvl1pPr>
          </a:lstStyle>
          <a:p>
            <a:pPr>
              <a:defRPr/>
            </a:pPr>
            <a:endParaRPr lang="el-GR"/>
          </a:p>
        </p:txBody>
      </p:sp>
      <p:sp>
        <p:nvSpPr>
          <p:cNvPr id="6" name="Slide Number Placeholder 5">
            <a:extLst>
              <a:ext uri="{FF2B5EF4-FFF2-40B4-BE49-F238E27FC236}">
                <a16:creationId xmlns:a16="http://schemas.microsoft.com/office/drawing/2014/main" id="{BA372E88-001C-4CC2-B0F5-32485F8B3225}"/>
              </a:ext>
            </a:extLst>
          </p:cNvPr>
          <p:cNvSpPr>
            <a:spLocks noGrp="1"/>
          </p:cNvSpPr>
          <p:nvPr>
            <p:ph type="sldNum" sz="quarter" idx="12"/>
          </p:nvPr>
        </p:nvSpPr>
        <p:spPr/>
        <p:txBody>
          <a:bodyPr/>
          <a:lstStyle>
            <a:lvl1pPr>
              <a:defRPr/>
            </a:lvl1pPr>
          </a:lstStyle>
          <a:p>
            <a:pPr>
              <a:defRPr/>
            </a:pPr>
            <a:fld id="{D30847D5-0487-4008-BCA6-2085146B5CB7}" type="slidenum">
              <a:rPr lang="el-GR" altLang="en-US"/>
              <a:pPr>
                <a:defRPr/>
              </a:pPr>
              <a:t>‹#›</a:t>
            </a:fld>
            <a:endParaRPr lang="el-GR" altLang="en-US"/>
          </a:p>
        </p:txBody>
      </p:sp>
    </p:spTree>
    <p:extLst>
      <p:ext uri="{BB962C8B-B14F-4D97-AF65-F5344CB8AC3E}">
        <p14:creationId xmlns:p14="http://schemas.microsoft.com/office/powerpoint/2010/main" val="352399364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endParaRPr lang="el-G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id="{CBFF6227-4EBF-4AC8-8353-26608B9C2737}"/>
              </a:ext>
            </a:extLst>
          </p:cNvPr>
          <p:cNvSpPr>
            <a:spLocks noGrp="1"/>
          </p:cNvSpPr>
          <p:nvPr>
            <p:ph type="dt" sz="half" idx="10"/>
          </p:nvPr>
        </p:nvSpPr>
        <p:spPr/>
        <p:txBody>
          <a:bodyPr/>
          <a:lstStyle>
            <a:lvl1pPr>
              <a:defRPr/>
            </a:lvl1pPr>
          </a:lstStyle>
          <a:p>
            <a:pPr>
              <a:defRPr/>
            </a:pPr>
            <a:fld id="{F6142AE2-D086-4CF9-8697-9D776C58D26E}" type="datetimeFigureOut">
              <a:rPr lang="el-GR"/>
              <a:pPr>
                <a:defRPr/>
              </a:pPr>
              <a:t>17/2/2021</a:t>
            </a:fld>
            <a:endParaRPr lang="el-GR"/>
          </a:p>
        </p:txBody>
      </p:sp>
      <p:sp>
        <p:nvSpPr>
          <p:cNvPr id="5" name="Footer Placeholder 4">
            <a:extLst>
              <a:ext uri="{FF2B5EF4-FFF2-40B4-BE49-F238E27FC236}">
                <a16:creationId xmlns:a16="http://schemas.microsoft.com/office/drawing/2014/main" id="{454F1875-D97D-4A89-BD1E-70E690248027}"/>
              </a:ext>
            </a:extLst>
          </p:cNvPr>
          <p:cNvSpPr>
            <a:spLocks noGrp="1"/>
          </p:cNvSpPr>
          <p:nvPr>
            <p:ph type="ftr" sz="quarter" idx="11"/>
          </p:nvPr>
        </p:nvSpPr>
        <p:spPr/>
        <p:txBody>
          <a:bodyPr/>
          <a:lstStyle>
            <a:lvl1pPr>
              <a:defRPr/>
            </a:lvl1pPr>
          </a:lstStyle>
          <a:p>
            <a:pPr>
              <a:defRPr/>
            </a:pPr>
            <a:endParaRPr lang="el-GR"/>
          </a:p>
        </p:txBody>
      </p:sp>
      <p:sp>
        <p:nvSpPr>
          <p:cNvPr id="6" name="Slide Number Placeholder 5">
            <a:extLst>
              <a:ext uri="{FF2B5EF4-FFF2-40B4-BE49-F238E27FC236}">
                <a16:creationId xmlns:a16="http://schemas.microsoft.com/office/drawing/2014/main" id="{F4DA200B-7DDD-41CC-BAFE-7E2E8686ADE0}"/>
              </a:ext>
            </a:extLst>
          </p:cNvPr>
          <p:cNvSpPr>
            <a:spLocks noGrp="1"/>
          </p:cNvSpPr>
          <p:nvPr>
            <p:ph type="sldNum" sz="quarter" idx="12"/>
          </p:nvPr>
        </p:nvSpPr>
        <p:spPr/>
        <p:txBody>
          <a:bodyPr/>
          <a:lstStyle>
            <a:lvl1pPr>
              <a:defRPr/>
            </a:lvl1pPr>
          </a:lstStyle>
          <a:p>
            <a:pPr>
              <a:defRPr/>
            </a:pPr>
            <a:fld id="{ABD39AF9-F508-4BE1-9101-4BD75251FF17}" type="slidenum">
              <a:rPr lang="el-GR" altLang="en-US"/>
              <a:pPr>
                <a:defRPr/>
              </a:pPr>
              <a:t>‹#›</a:t>
            </a:fld>
            <a:endParaRPr lang="el-GR" altLang="en-US"/>
          </a:p>
        </p:txBody>
      </p:sp>
    </p:spTree>
    <p:extLst>
      <p:ext uri="{BB962C8B-B14F-4D97-AF65-F5344CB8AC3E}">
        <p14:creationId xmlns:p14="http://schemas.microsoft.com/office/powerpoint/2010/main" val="20913378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946129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F4F4B7-FEF4-4580-A37A-8FDF5C2AECC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6FD7167-0744-425E-80F9-FCA9E16AA3F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79E2D90-2BAE-43F2-A402-C680A87CBDF7}"/>
              </a:ext>
            </a:extLst>
          </p:cNvPr>
          <p:cNvSpPr>
            <a:spLocks noGrp="1"/>
          </p:cNvSpPr>
          <p:nvPr>
            <p:ph type="dt" sz="half" idx="10"/>
          </p:nvPr>
        </p:nvSpPr>
        <p:spPr/>
        <p:txBody>
          <a:bodyPr/>
          <a:lstStyle/>
          <a:p>
            <a:fld id="{73B6DBB4-6C05-4CEB-A227-E28343A8F8B8}" type="datetimeFigureOut">
              <a:rPr lang="en-US" smtClean="0"/>
              <a:t>2/17/2021</a:t>
            </a:fld>
            <a:endParaRPr lang="en-US"/>
          </a:p>
        </p:txBody>
      </p:sp>
      <p:sp>
        <p:nvSpPr>
          <p:cNvPr id="5" name="Footer Placeholder 4">
            <a:extLst>
              <a:ext uri="{FF2B5EF4-FFF2-40B4-BE49-F238E27FC236}">
                <a16:creationId xmlns:a16="http://schemas.microsoft.com/office/drawing/2014/main" id="{1ECB9B1C-9D6A-45DA-885F-017841154BF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D6646FE-049E-4500-9223-C99ACD6D862B}"/>
              </a:ext>
            </a:extLst>
          </p:cNvPr>
          <p:cNvSpPr>
            <a:spLocks noGrp="1"/>
          </p:cNvSpPr>
          <p:nvPr>
            <p:ph type="sldNum" sz="quarter" idx="12"/>
          </p:nvPr>
        </p:nvSpPr>
        <p:spPr/>
        <p:txBody>
          <a:bodyPr/>
          <a:lstStyle/>
          <a:p>
            <a:fld id="{A3878CAB-2DBE-4F4D-A6E1-81E27C078E6B}" type="slidenum">
              <a:rPr lang="en-US" smtClean="0"/>
              <a:t>‹#›</a:t>
            </a:fld>
            <a:endParaRPr lang="en-US"/>
          </a:p>
        </p:txBody>
      </p:sp>
    </p:spTree>
    <p:extLst>
      <p:ext uri="{BB962C8B-B14F-4D97-AF65-F5344CB8AC3E}">
        <p14:creationId xmlns:p14="http://schemas.microsoft.com/office/powerpoint/2010/main" val="4295144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299E16-8505-42C3-ABB4-93032AE5A67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82090D5-8B10-4BC4-A606-289FCECB7A4F}"/>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906616-265C-405C-8BE0-AC6B6A4D89D7}"/>
              </a:ext>
            </a:extLst>
          </p:cNvPr>
          <p:cNvSpPr>
            <a:spLocks noGrp="1"/>
          </p:cNvSpPr>
          <p:nvPr>
            <p:ph type="dt" sz="half" idx="10"/>
          </p:nvPr>
        </p:nvSpPr>
        <p:spPr/>
        <p:txBody>
          <a:bodyPr/>
          <a:lstStyle/>
          <a:p>
            <a:fld id="{73B6DBB4-6C05-4CEB-A227-E28343A8F8B8}" type="datetimeFigureOut">
              <a:rPr lang="en-US" smtClean="0"/>
              <a:t>2/17/2021</a:t>
            </a:fld>
            <a:endParaRPr lang="en-US"/>
          </a:p>
        </p:txBody>
      </p:sp>
      <p:sp>
        <p:nvSpPr>
          <p:cNvPr id="5" name="Footer Placeholder 4">
            <a:extLst>
              <a:ext uri="{FF2B5EF4-FFF2-40B4-BE49-F238E27FC236}">
                <a16:creationId xmlns:a16="http://schemas.microsoft.com/office/drawing/2014/main" id="{3A7EAB72-2FE9-4C39-A0D8-AB448DAB9E1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D045870-3D4B-463A-9B64-7D81191B582A}"/>
              </a:ext>
            </a:extLst>
          </p:cNvPr>
          <p:cNvSpPr>
            <a:spLocks noGrp="1"/>
          </p:cNvSpPr>
          <p:nvPr>
            <p:ph type="sldNum" sz="quarter" idx="12"/>
          </p:nvPr>
        </p:nvSpPr>
        <p:spPr/>
        <p:txBody>
          <a:bodyPr/>
          <a:lstStyle/>
          <a:p>
            <a:fld id="{A3878CAB-2DBE-4F4D-A6E1-81E27C078E6B}" type="slidenum">
              <a:rPr lang="en-US" smtClean="0"/>
              <a:t>‹#›</a:t>
            </a:fld>
            <a:endParaRPr lang="en-US"/>
          </a:p>
        </p:txBody>
      </p:sp>
    </p:spTree>
    <p:extLst>
      <p:ext uri="{BB962C8B-B14F-4D97-AF65-F5344CB8AC3E}">
        <p14:creationId xmlns:p14="http://schemas.microsoft.com/office/powerpoint/2010/main" val="273505618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7E28D0-0732-4AE3-A0F2-1FDBE9BB392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0716969-9BC9-4240-A47E-382619E61E6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6A900096-9FCE-4BAE-931B-F1EA07E69C53}"/>
              </a:ext>
            </a:extLst>
          </p:cNvPr>
          <p:cNvSpPr>
            <a:spLocks noGrp="1"/>
          </p:cNvSpPr>
          <p:nvPr>
            <p:ph type="dt" sz="half" idx="10"/>
          </p:nvPr>
        </p:nvSpPr>
        <p:spPr/>
        <p:txBody>
          <a:bodyPr/>
          <a:lstStyle/>
          <a:p>
            <a:fld id="{73B6DBB4-6C05-4CEB-A227-E28343A8F8B8}" type="datetimeFigureOut">
              <a:rPr lang="en-US" smtClean="0"/>
              <a:t>2/17/2021</a:t>
            </a:fld>
            <a:endParaRPr lang="en-US"/>
          </a:p>
        </p:txBody>
      </p:sp>
      <p:sp>
        <p:nvSpPr>
          <p:cNvPr id="5" name="Footer Placeholder 4">
            <a:extLst>
              <a:ext uri="{FF2B5EF4-FFF2-40B4-BE49-F238E27FC236}">
                <a16:creationId xmlns:a16="http://schemas.microsoft.com/office/drawing/2014/main" id="{4F53705D-8EFE-49B4-8C82-C84614165A7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331C6BA-4ACB-48A4-AA1C-DF12D89D9804}"/>
              </a:ext>
            </a:extLst>
          </p:cNvPr>
          <p:cNvSpPr>
            <a:spLocks noGrp="1"/>
          </p:cNvSpPr>
          <p:nvPr>
            <p:ph type="sldNum" sz="quarter" idx="12"/>
          </p:nvPr>
        </p:nvSpPr>
        <p:spPr/>
        <p:txBody>
          <a:bodyPr/>
          <a:lstStyle/>
          <a:p>
            <a:fld id="{A3878CAB-2DBE-4F4D-A6E1-81E27C078E6B}" type="slidenum">
              <a:rPr lang="en-US" smtClean="0"/>
              <a:t>‹#›</a:t>
            </a:fld>
            <a:endParaRPr lang="en-US"/>
          </a:p>
        </p:txBody>
      </p:sp>
    </p:spTree>
    <p:extLst>
      <p:ext uri="{BB962C8B-B14F-4D97-AF65-F5344CB8AC3E}">
        <p14:creationId xmlns:p14="http://schemas.microsoft.com/office/powerpoint/2010/main" val="137817487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6CBA0F-7739-407E-A22B-0785DF405C6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D5E6FA7-593D-4EB7-A91F-CD5334AA382C}"/>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03B112A-06A1-46DA-83F8-EA83A3EF42BC}"/>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0C4BB26-520F-4C9A-94A0-02E8DBD9DF02}"/>
              </a:ext>
            </a:extLst>
          </p:cNvPr>
          <p:cNvSpPr>
            <a:spLocks noGrp="1"/>
          </p:cNvSpPr>
          <p:nvPr>
            <p:ph type="dt" sz="half" idx="10"/>
          </p:nvPr>
        </p:nvSpPr>
        <p:spPr/>
        <p:txBody>
          <a:bodyPr/>
          <a:lstStyle/>
          <a:p>
            <a:fld id="{73B6DBB4-6C05-4CEB-A227-E28343A8F8B8}" type="datetimeFigureOut">
              <a:rPr lang="en-US" smtClean="0"/>
              <a:t>2/17/2021</a:t>
            </a:fld>
            <a:endParaRPr lang="en-US"/>
          </a:p>
        </p:txBody>
      </p:sp>
      <p:sp>
        <p:nvSpPr>
          <p:cNvPr id="6" name="Footer Placeholder 5">
            <a:extLst>
              <a:ext uri="{FF2B5EF4-FFF2-40B4-BE49-F238E27FC236}">
                <a16:creationId xmlns:a16="http://schemas.microsoft.com/office/drawing/2014/main" id="{B9D528B5-B471-47D3-B858-E0B3F5F045A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79874AE-973C-4501-A5D2-285A23E04078}"/>
              </a:ext>
            </a:extLst>
          </p:cNvPr>
          <p:cNvSpPr>
            <a:spLocks noGrp="1"/>
          </p:cNvSpPr>
          <p:nvPr>
            <p:ph type="sldNum" sz="quarter" idx="12"/>
          </p:nvPr>
        </p:nvSpPr>
        <p:spPr/>
        <p:txBody>
          <a:bodyPr/>
          <a:lstStyle/>
          <a:p>
            <a:fld id="{A3878CAB-2DBE-4F4D-A6E1-81E27C078E6B}" type="slidenum">
              <a:rPr lang="en-US" smtClean="0"/>
              <a:t>‹#›</a:t>
            </a:fld>
            <a:endParaRPr lang="en-US"/>
          </a:p>
        </p:txBody>
      </p:sp>
    </p:spTree>
    <p:extLst>
      <p:ext uri="{BB962C8B-B14F-4D97-AF65-F5344CB8AC3E}">
        <p14:creationId xmlns:p14="http://schemas.microsoft.com/office/powerpoint/2010/main" val="7378512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7054"/>
            <a:ext cx="10363200" cy="1361872"/>
          </a:xfrm>
        </p:spPr>
        <p:txBody>
          <a:bodyPr anchor="t"/>
          <a:lstStyle>
            <a:lvl1pPr algn="l">
              <a:defRPr sz="4500" b="1" cap="all">
                <a:solidFill>
                  <a:srgbClr val="0872A6"/>
                </a:solidFill>
              </a:defRPr>
            </a:lvl1pPr>
          </a:lstStyle>
          <a:p>
            <a:r>
              <a:rPr lang="en-US" dirty="0"/>
              <a:t>Click to edit Master title style</a:t>
            </a:r>
          </a:p>
        </p:txBody>
      </p:sp>
      <p:sp>
        <p:nvSpPr>
          <p:cNvPr id="3" name="Text Placeholder 2"/>
          <p:cNvSpPr>
            <a:spLocks noGrp="1"/>
          </p:cNvSpPr>
          <p:nvPr>
            <p:ph type="body" idx="1"/>
          </p:nvPr>
        </p:nvSpPr>
        <p:spPr>
          <a:xfrm>
            <a:off x="963084" y="2907727"/>
            <a:ext cx="10363200" cy="1499327"/>
          </a:xfrm>
        </p:spPr>
        <p:txBody>
          <a:bodyPr anchor="b"/>
          <a:lstStyle>
            <a:lvl1pPr marL="0" indent="0">
              <a:buNone/>
              <a:defRPr sz="2200"/>
            </a:lvl1pPr>
            <a:lvl2pPr marL="511761" indent="0">
              <a:buNone/>
              <a:defRPr sz="2000"/>
            </a:lvl2pPr>
            <a:lvl3pPr marL="1023523" indent="0">
              <a:buNone/>
              <a:defRPr sz="1800"/>
            </a:lvl3pPr>
            <a:lvl4pPr marL="1535285" indent="0">
              <a:buNone/>
              <a:defRPr sz="1600"/>
            </a:lvl4pPr>
            <a:lvl5pPr marL="2047046" indent="0">
              <a:buNone/>
              <a:defRPr sz="1600"/>
            </a:lvl5pPr>
            <a:lvl6pPr marL="2558807" indent="0">
              <a:buNone/>
              <a:defRPr sz="1600"/>
            </a:lvl6pPr>
            <a:lvl7pPr marL="3070568" indent="0">
              <a:buNone/>
              <a:defRPr sz="1600"/>
            </a:lvl7pPr>
            <a:lvl8pPr marL="3582330" indent="0">
              <a:buNone/>
              <a:defRPr sz="1600"/>
            </a:lvl8pPr>
            <a:lvl9pPr marL="4094092" indent="0">
              <a:buNone/>
              <a:defRPr sz="1600"/>
            </a:lvl9pPr>
          </a:lstStyle>
          <a:p>
            <a:pPr lvl="0"/>
            <a:r>
              <a:rPr lang="en-US"/>
              <a:t>Click to edit Master text styles</a:t>
            </a:r>
          </a:p>
        </p:txBody>
      </p:sp>
      <p:sp>
        <p:nvSpPr>
          <p:cNvPr id="4" name="Rectangle 6">
            <a:extLst>
              <a:ext uri="{FF2B5EF4-FFF2-40B4-BE49-F238E27FC236}">
                <a16:creationId xmlns:a16="http://schemas.microsoft.com/office/drawing/2014/main" id="{B04A9E26-3400-49CF-9944-5E66B3A608B4}"/>
              </a:ext>
            </a:extLst>
          </p:cNvPr>
          <p:cNvSpPr>
            <a:spLocks noGrp="1" noChangeArrowheads="1"/>
          </p:cNvSpPr>
          <p:nvPr>
            <p:ph type="sldNum" sz="quarter" idx="10"/>
          </p:nvPr>
        </p:nvSpPr>
        <p:spPr>
          <a:ln/>
        </p:spPr>
        <p:txBody>
          <a:bodyPr/>
          <a:lstStyle>
            <a:lvl1pPr>
              <a:defRPr/>
            </a:lvl1pPr>
          </a:lstStyle>
          <a:p>
            <a:pPr>
              <a:defRPr/>
            </a:pPr>
            <a:fld id="{03F7374A-DEDE-47CB-8B4C-590D972202CE}" type="slidenum">
              <a:rPr lang="de-DE" altLang="en-US"/>
              <a:pPr>
                <a:defRPr/>
              </a:pPr>
              <a:t>‹#›</a:t>
            </a:fld>
            <a:endParaRPr lang="de-DE" altLang="en-US"/>
          </a:p>
        </p:txBody>
      </p:sp>
    </p:spTree>
    <p:extLst>
      <p:ext uri="{BB962C8B-B14F-4D97-AF65-F5344CB8AC3E}">
        <p14:creationId xmlns:p14="http://schemas.microsoft.com/office/powerpoint/2010/main" val="52766756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3FB36C-8F8D-4C56-906A-9351472A5C1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4B55970-DD33-412D-984F-33620EE4961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55FBC17F-DD73-490A-A858-A372F97D216A}"/>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CF40F51-7DAE-431C-B40A-552C9053281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8B6D9817-C86B-4E35-8BF9-211B5F5237D8}"/>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588D598-A3D1-44FE-B83C-DECF3432CFCF}"/>
              </a:ext>
            </a:extLst>
          </p:cNvPr>
          <p:cNvSpPr>
            <a:spLocks noGrp="1"/>
          </p:cNvSpPr>
          <p:nvPr>
            <p:ph type="dt" sz="half" idx="10"/>
          </p:nvPr>
        </p:nvSpPr>
        <p:spPr/>
        <p:txBody>
          <a:bodyPr/>
          <a:lstStyle/>
          <a:p>
            <a:fld id="{73B6DBB4-6C05-4CEB-A227-E28343A8F8B8}" type="datetimeFigureOut">
              <a:rPr lang="en-US" smtClean="0"/>
              <a:t>2/17/2021</a:t>
            </a:fld>
            <a:endParaRPr lang="en-US"/>
          </a:p>
        </p:txBody>
      </p:sp>
      <p:sp>
        <p:nvSpPr>
          <p:cNvPr id="8" name="Footer Placeholder 7">
            <a:extLst>
              <a:ext uri="{FF2B5EF4-FFF2-40B4-BE49-F238E27FC236}">
                <a16:creationId xmlns:a16="http://schemas.microsoft.com/office/drawing/2014/main" id="{AE2F2F87-37EB-4760-BB05-809E0C60F3A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DDCB264-8732-4392-AFD2-FD775C6C525C}"/>
              </a:ext>
            </a:extLst>
          </p:cNvPr>
          <p:cNvSpPr>
            <a:spLocks noGrp="1"/>
          </p:cNvSpPr>
          <p:nvPr>
            <p:ph type="sldNum" sz="quarter" idx="12"/>
          </p:nvPr>
        </p:nvSpPr>
        <p:spPr/>
        <p:txBody>
          <a:bodyPr/>
          <a:lstStyle/>
          <a:p>
            <a:fld id="{A3878CAB-2DBE-4F4D-A6E1-81E27C078E6B}" type="slidenum">
              <a:rPr lang="en-US" smtClean="0"/>
              <a:t>‹#›</a:t>
            </a:fld>
            <a:endParaRPr lang="en-US"/>
          </a:p>
        </p:txBody>
      </p:sp>
    </p:spTree>
    <p:extLst>
      <p:ext uri="{BB962C8B-B14F-4D97-AF65-F5344CB8AC3E}">
        <p14:creationId xmlns:p14="http://schemas.microsoft.com/office/powerpoint/2010/main" val="16398070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48FF98-CA33-44AD-8156-5C6FBD2BAF8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FF96A6C-FC93-410E-B7B2-49349B6DC884}"/>
              </a:ext>
            </a:extLst>
          </p:cNvPr>
          <p:cNvSpPr>
            <a:spLocks noGrp="1"/>
          </p:cNvSpPr>
          <p:nvPr>
            <p:ph type="dt" sz="half" idx="10"/>
          </p:nvPr>
        </p:nvSpPr>
        <p:spPr/>
        <p:txBody>
          <a:bodyPr/>
          <a:lstStyle/>
          <a:p>
            <a:fld id="{73B6DBB4-6C05-4CEB-A227-E28343A8F8B8}" type="datetimeFigureOut">
              <a:rPr lang="en-US" smtClean="0"/>
              <a:t>2/17/2021</a:t>
            </a:fld>
            <a:endParaRPr lang="en-US"/>
          </a:p>
        </p:txBody>
      </p:sp>
      <p:sp>
        <p:nvSpPr>
          <p:cNvPr id="4" name="Footer Placeholder 3">
            <a:extLst>
              <a:ext uri="{FF2B5EF4-FFF2-40B4-BE49-F238E27FC236}">
                <a16:creationId xmlns:a16="http://schemas.microsoft.com/office/drawing/2014/main" id="{07C26A2B-A5F0-4991-A6CE-08138C2528F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D75723F-E53E-43A9-963D-1D13766460CB}"/>
              </a:ext>
            </a:extLst>
          </p:cNvPr>
          <p:cNvSpPr>
            <a:spLocks noGrp="1"/>
          </p:cNvSpPr>
          <p:nvPr>
            <p:ph type="sldNum" sz="quarter" idx="12"/>
          </p:nvPr>
        </p:nvSpPr>
        <p:spPr/>
        <p:txBody>
          <a:bodyPr/>
          <a:lstStyle/>
          <a:p>
            <a:fld id="{A3878CAB-2DBE-4F4D-A6E1-81E27C078E6B}" type="slidenum">
              <a:rPr lang="en-US" smtClean="0"/>
              <a:t>‹#›</a:t>
            </a:fld>
            <a:endParaRPr lang="en-US"/>
          </a:p>
        </p:txBody>
      </p:sp>
    </p:spTree>
    <p:extLst>
      <p:ext uri="{BB962C8B-B14F-4D97-AF65-F5344CB8AC3E}">
        <p14:creationId xmlns:p14="http://schemas.microsoft.com/office/powerpoint/2010/main" val="271254540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06B802B-D73D-41CB-87F4-2C1FF2787D57}"/>
              </a:ext>
            </a:extLst>
          </p:cNvPr>
          <p:cNvSpPr>
            <a:spLocks noGrp="1"/>
          </p:cNvSpPr>
          <p:nvPr>
            <p:ph type="dt" sz="half" idx="10"/>
          </p:nvPr>
        </p:nvSpPr>
        <p:spPr/>
        <p:txBody>
          <a:bodyPr/>
          <a:lstStyle/>
          <a:p>
            <a:fld id="{73B6DBB4-6C05-4CEB-A227-E28343A8F8B8}" type="datetimeFigureOut">
              <a:rPr lang="en-US" smtClean="0"/>
              <a:t>2/17/2021</a:t>
            </a:fld>
            <a:endParaRPr lang="en-US"/>
          </a:p>
        </p:txBody>
      </p:sp>
      <p:sp>
        <p:nvSpPr>
          <p:cNvPr id="3" name="Footer Placeholder 2">
            <a:extLst>
              <a:ext uri="{FF2B5EF4-FFF2-40B4-BE49-F238E27FC236}">
                <a16:creationId xmlns:a16="http://schemas.microsoft.com/office/drawing/2014/main" id="{77C78BA4-8156-47BD-8E08-3874F033FE8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B49B205-5F16-4D26-ADCE-8327A594A833}"/>
              </a:ext>
            </a:extLst>
          </p:cNvPr>
          <p:cNvSpPr>
            <a:spLocks noGrp="1"/>
          </p:cNvSpPr>
          <p:nvPr>
            <p:ph type="sldNum" sz="quarter" idx="12"/>
          </p:nvPr>
        </p:nvSpPr>
        <p:spPr/>
        <p:txBody>
          <a:bodyPr/>
          <a:lstStyle/>
          <a:p>
            <a:fld id="{A3878CAB-2DBE-4F4D-A6E1-81E27C078E6B}" type="slidenum">
              <a:rPr lang="en-US" smtClean="0"/>
              <a:t>‹#›</a:t>
            </a:fld>
            <a:endParaRPr lang="en-US"/>
          </a:p>
        </p:txBody>
      </p:sp>
    </p:spTree>
    <p:extLst>
      <p:ext uri="{BB962C8B-B14F-4D97-AF65-F5344CB8AC3E}">
        <p14:creationId xmlns:p14="http://schemas.microsoft.com/office/powerpoint/2010/main" val="408846815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E7FDBB-4C31-40DB-B614-A103AEAF3F4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B994454-2FE8-4376-9DF0-85401749494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5F4F966-4137-44E5-BCB4-3CBD5F269D1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54B41FD-660F-41D3-BE72-4C4E5835B6F4}"/>
              </a:ext>
            </a:extLst>
          </p:cNvPr>
          <p:cNvSpPr>
            <a:spLocks noGrp="1"/>
          </p:cNvSpPr>
          <p:nvPr>
            <p:ph type="dt" sz="half" idx="10"/>
          </p:nvPr>
        </p:nvSpPr>
        <p:spPr/>
        <p:txBody>
          <a:bodyPr/>
          <a:lstStyle/>
          <a:p>
            <a:fld id="{73B6DBB4-6C05-4CEB-A227-E28343A8F8B8}" type="datetimeFigureOut">
              <a:rPr lang="en-US" smtClean="0"/>
              <a:t>2/17/2021</a:t>
            </a:fld>
            <a:endParaRPr lang="en-US"/>
          </a:p>
        </p:txBody>
      </p:sp>
      <p:sp>
        <p:nvSpPr>
          <p:cNvPr id="6" name="Footer Placeholder 5">
            <a:extLst>
              <a:ext uri="{FF2B5EF4-FFF2-40B4-BE49-F238E27FC236}">
                <a16:creationId xmlns:a16="http://schemas.microsoft.com/office/drawing/2014/main" id="{293924AD-DB9C-4F2B-AC59-7A0BF2D9A81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2B044E2-79A8-4F84-A211-82E0A4D8EBAE}"/>
              </a:ext>
            </a:extLst>
          </p:cNvPr>
          <p:cNvSpPr>
            <a:spLocks noGrp="1"/>
          </p:cNvSpPr>
          <p:nvPr>
            <p:ph type="sldNum" sz="quarter" idx="12"/>
          </p:nvPr>
        </p:nvSpPr>
        <p:spPr/>
        <p:txBody>
          <a:bodyPr/>
          <a:lstStyle/>
          <a:p>
            <a:fld id="{A3878CAB-2DBE-4F4D-A6E1-81E27C078E6B}" type="slidenum">
              <a:rPr lang="en-US" smtClean="0"/>
              <a:t>‹#›</a:t>
            </a:fld>
            <a:endParaRPr lang="en-US"/>
          </a:p>
        </p:txBody>
      </p:sp>
    </p:spTree>
    <p:extLst>
      <p:ext uri="{BB962C8B-B14F-4D97-AF65-F5344CB8AC3E}">
        <p14:creationId xmlns:p14="http://schemas.microsoft.com/office/powerpoint/2010/main" val="59262238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EB7967-0F84-433E-B35C-22FD15D9CFD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B009F19-ACCF-44E7-BCA9-2EA0A8028F7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032F4C5-5E2F-4046-9B8B-92D424E8E8A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6A3DF186-E446-4A7A-9E36-E7D756D1298A}"/>
              </a:ext>
            </a:extLst>
          </p:cNvPr>
          <p:cNvSpPr>
            <a:spLocks noGrp="1"/>
          </p:cNvSpPr>
          <p:nvPr>
            <p:ph type="dt" sz="half" idx="10"/>
          </p:nvPr>
        </p:nvSpPr>
        <p:spPr/>
        <p:txBody>
          <a:bodyPr/>
          <a:lstStyle/>
          <a:p>
            <a:fld id="{73B6DBB4-6C05-4CEB-A227-E28343A8F8B8}" type="datetimeFigureOut">
              <a:rPr lang="en-US" smtClean="0"/>
              <a:t>2/17/2021</a:t>
            </a:fld>
            <a:endParaRPr lang="en-US"/>
          </a:p>
        </p:txBody>
      </p:sp>
      <p:sp>
        <p:nvSpPr>
          <p:cNvPr id="6" name="Footer Placeholder 5">
            <a:extLst>
              <a:ext uri="{FF2B5EF4-FFF2-40B4-BE49-F238E27FC236}">
                <a16:creationId xmlns:a16="http://schemas.microsoft.com/office/drawing/2014/main" id="{84C051A2-100E-4C93-B12C-91AD1E89FE6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084EAEF-BEE5-41CC-9ADF-A07EBC9828CB}"/>
              </a:ext>
            </a:extLst>
          </p:cNvPr>
          <p:cNvSpPr>
            <a:spLocks noGrp="1"/>
          </p:cNvSpPr>
          <p:nvPr>
            <p:ph type="sldNum" sz="quarter" idx="12"/>
          </p:nvPr>
        </p:nvSpPr>
        <p:spPr/>
        <p:txBody>
          <a:bodyPr/>
          <a:lstStyle/>
          <a:p>
            <a:fld id="{A3878CAB-2DBE-4F4D-A6E1-81E27C078E6B}" type="slidenum">
              <a:rPr lang="en-US" smtClean="0"/>
              <a:t>‹#›</a:t>
            </a:fld>
            <a:endParaRPr lang="en-US"/>
          </a:p>
        </p:txBody>
      </p:sp>
    </p:spTree>
    <p:extLst>
      <p:ext uri="{BB962C8B-B14F-4D97-AF65-F5344CB8AC3E}">
        <p14:creationId xmlns:p14="http://schemas.microsoft.com/office/powerpoint/2010/main" val="388760455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8DDC74-674A-4369-95B6-38A19BF428C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A6CB7BB-DF5D-451B-A883-D38F1007BCB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43B6AC4-EEB1-4580-91C7-AFCBCE6F0CD2}"/>
              </a:ext>
            </a:extLst>
          </p:cNvPr>
          <p:cNvSpPr>
            <a:spLocks noGrp="1"/>
          </p:cNvSpPr>
          <p:nvPr>
            <p:ph type="dt" sz="half" idx="10"/>
          </p:nvPr>
        </p:nvSpPr>
        <p:spPr/>
        <p:txBody>
          <a:bodyPr/>
          <a:lstStyle/>
          <a:p>
            <a:fld id="{73B6DBB4-6C05-4CEB-A227-E28343A8F8B8}" type="datetimeFigureOut">
              <a:rPr lang="en-US" smtClean="0"/>
              <a:t>2/17/2021</a:t>
            </a:fld>
            <a:endParaRPr lang="en-US"/>
          </a:p>
        </p:txBody>
      </p:sp>
      <p:sp>
        <p:nvSpPr>
          <p:cNvPr id="5" name="Footer Placeholder 4">
            <a:extLst>
              <a:ext uri="{FF2B5EF4-FFF2-40B4-BE49-F238E27FC236}">
                <a16:creationId xmlns:a16="http://schemas.microsoft.com/office/drawing/2014/main" id="{3288D317-FC82-47A3-8741-B0FFCE8709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1F7B91E-66D8-46DC-9B54-18EF8DBC2DED}"/>
              </a:ext>
            </a:extLst>
          </p:cNvPr>
          <p:cNvSpPr>
            <a:spLocks noGrp="1"/>
          </p:cNvSpPr>
          <p:nvPr>
            <p:ph type="sldNum" sz="quarter" idx="12"/>
          </p:nvPr>
        </p:nvSpPr>
        <p:spPr/>
        <p:txBody>
          <a:bodyPr/>
          <a:lstStyle/>
          <a:p>
            <a:fld id="{A3878CAB-2DBE-4F4D-A6E1-81E27C078E6B}" type="slidenum">
              <a:rPr lang="en-US" smtClean="0"/>
              <a:t>‹#›</a:t>
            </a:fld>
            <a:endParaRPr lang="en-US"/>
          </a:p>
        </p:txBody>
      </p:sp>
    </p:spTree>
    <p:extLst>
      <p:ext uri="{BB962C8B-B14F-4D97-AF65-F5344CB8AC3E}">
        <p14:creationId xmlns:p14="http://schemas.microsoft.com/office/powerpoint/2010/main" val="104286917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A099DB6-EB7D-4745-922B-07B6717F24D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96FC33C-511A-444C-8379-D88B685380B8}"/>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5291F1A-E022-415B-9F98-DEAD0FBA38D4}"/>
              </a:ext>
            </a:extLst>
          </p:cNvPr>
          <p:cNvSpPr>
            <a:spLocks noGrp="1"/>
          </p:cNvSpPr>
          <p:nvPr>
            <p:ph type="dt" sz="half" idx="10"/>
          </p:nvPr>
        </p:nvSpPr>
        <p:spPr/>
        <p:txBody>
          <a:bodyPr/>
          <a:lstStyle/>
          <a:p>
            <a:fld id="{73B6DBB4-6C05-4CEB-A227-E28343A8F8B8}" type="datetimeFigureOut">
              <a:rPr lang="en-US" smtClean="0"/>
              <a:t>2/17/2021</a:t>
            </a:fld>
            <a:endParaRPr lang="en-US"/>
          </a:p>
        </p:txBody>
      </p:sp>
      <p:sp>
        <p:nvSpPr>
          <p:cNvPr id="5" name="Footer Placeholder 4">
            <a:extLst>
              <a:ext uri="{FF2B5EF4-FFF2-40B4-BE49-F238E27FC236}">
                <a16:creationId xmlns:a16="http://schemas.microsoft.com/office/drawing/2014/main" id="{74EF86F7-A8EA-47CF-A6CB-9A0747542E6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2801362-5F8D-4344-9BF0-936FBC04DAE7}"/>
              </a:ext>
            </a:extLst>
          </p:cNvPr>
          <p:cNvSpPr>
            <a:spLocks noGrp="1"/>
          </p:cNvSpPr>
          <p:nvPr>
            <p:ph type="sldNum" sz="quarter" idx="12"/>
          </p:nvPr>
        </p:nvSpPr>
        <p:spPr/>
        <p:txBody>
          <a:bodyPr/>
          <a:lstStyle/>
          <a:p>
            <a:fld id="{A3878CAB-2DBE-4F4D-A6E1-81E27C078E6B}" type="slidenum">
              <a:rPr lang="en-US" smtClean="0"/>
              <a:t>‹#›</a:t>
            </a:fld>
            <a:endParaRPr lang="en-US"/>
          </a:p>
        </p:txBody>
      </p:sp>
    </p:spTree>
    <p:extLst>
      <p:ext uri="{BB962C8B-B14F-4D97-AF65-F5344CB8AC3E}">
        <p14:creationId xmlns:p14="http://schemas.microsoft.com/office/powerpoint/2010/main" val="397025051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78084501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100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872A6"/>
                </a:solidFill>
              </a:defRPr>
            </a:lvl1pPr>
          </a:lstStyle>
          <a:p>
            <a:r>
              <a:rPr lang="en-US" dirty="0"/>
              <a:t>Click to edit Master title style</a:t>
            </a:r>
          </a:p>
        </p:txBody>
      </p:sp>
      <p:sp>
        <p:nvSpPr>
          <p:cNvPr id="3" name="Content Placeholder 2"/>
          <p:cNvSpPr>
            <a:spLocks noGrp="1"/>
          </p:cNvSpPr>
          <p:nvPr>
            <p:ph sz="half" idx="1"/>
          </p:nvPr>
        </p:nvSpPr>
        <p:spPr>
          <a:xfrm>
            <a:off x="478368" y="2457292"/>
            <a:ext cx="5511800" cy="3368731"/>
          </a:xfrm>
        </p:spPr>
        <p:txBody>
          <a:bodyPr/>
          <a:lstStyle>
            <a:lvl1pPr>
              <a:defRPr sz="32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3367" y="2457292"/>
            <a:ext cx="5513917" cy="3368731"/>
          </a:xfrm>
        </p:spPr>
        <p:txBody>
          <a:bodyPr/>
          <a:lstStyle>
            <a:lvl1pPr>
              <a:defRPr sz="32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6">
            <a:extLst>
              <a:ext uri="{FF2B5EF4-FFF2-40B4-BE49-F238E27FC236}">
                <a16:creationId xmlns:a16="http://schemas.microsoft.com/office/drawing/2014/main" id="{1EB76B64-96AE-434C-97EB-8A468FBA0898}"/>
              </a:ext>
            </a:extLst>
          </p:cNvPr>
          <p:cNvSpPr>
            <a:spLocks noGrp="1" noChangeArrowheads="1"/>
          </p:cNvSpPr>
          <p:nvPr>
            <p:ph type="sldNum" sz="quarter" idx="10"/>
          </p:nvPr>
        </p:nvSpPr>
        <p:spPr>
          <a:ln/>
        </p:spPr>
        <p:txBody>
          <a:bodyPr/>
          <a:lstStyle>
            <a:lvl1pPr>
              <a:defRPr/>
            </a:lvl1pPr>
          </a:lstStyle>
          <a:p>
            <a:pPr>
              <a:defRPr/>
            </a:pPr>
            <a:fld id="{619A20CE-0CD6-435B-B8BB-CAE55965806B}" type="slidenum">
              <a:rPr lang="de-DE" altLang="en-US"/>
              <a:pPr>
                <a:defRPr/>
              </a:pPr>
              <a:t>‹#›</a:t>
            </a:fld>
            <a:endParaRPr lang="de-DE" altLang="en-US"/>
          </a:p>
        </p:txBody>
      </p:sp>
    </p:spTree>
    <p:extLst>
      <p:ext uri="{BB962C8B-B14F-4D97-AF65-F5344CB8AC3E}">
        <p14:creationId xmlns:p14="http://schemas.microsoft.com/office/powerpoint/2010/main" val="37191915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914"/>
            <a:ext cx="10972800" cy="1141943"/>
          </a:xfrm>
        </p:spPr>
        <p:txBody>
          <a:bodyPr/>
          <a:lstStyle>
            <a:lvl1pPr>
              <a:defRPr>
                <a:solidFill>
                  <a:srgbClr val="0872A6"/>
                </a:solidFill>
              </a:defRPr>
            </a:lvl1pPr>
          </a:lstStyle>
          <a:p>
            <a:r>
              <a:rPr lang="en-US" dirty="0"/>
              <a:t>Click to edit Master title style</a:t>
            </a:r>
          </a:p>
        </p:txBody>
      </p:sp>
      <p:sp>
        <p:nvSpPr>
          <p:cNvPr id="3" name="Text Placeholder 2"/>
          <p:cNvSpPr>
            <a:spLocks noGrp="1"/>
          </p:cNvSpPr>
          <p:nvPr>
            <p:ph type="body" idx="1"/>
          </p:nvPr>
        </p:nvSpPr>
        <p:spPr>
          <a:xfrm>
            <a:off x="609600" y="1535279"/>
            <a:ext cx="5386917" cy="638642"/>
          </a:xfrm>
        </p:spPr>
        <p:txBody>
          <a:bodyPr anchor="b"/>
          <a:lstStyle>
            <a:lvl1pPr marL="0" indent="0">
              <a:buNone/>
              <a:defRPr sz="2700" b="1"/>
            </a:lvl1pPr>
            <a:lvl2pPr marL="511761" indent="0">
              <a:buNone/>
              <a:defRPr sz="2200" b="1"/>
            </a:lvl2pPr>
            <a:lvl3pPr marL="1023523" indent="0">
              <a:buNone/>
              <a:defRPr sz="2000" b="1"/>
            </a:lvl3pPr>
            <a:lvl4pPr marL="1535285" indent="0">
              <a:buNone/>
              <a:defRPr sz="1800" b="1"/>
            </a:lvl4pPr>
            <a:lvl5pPr marL="2047046" indent="0">
              <a:buNone/>
              <a:defRPr sz="1800" b="1"/>
            </a:lvl5pPr>
            <a:lvl6pPr marL="2558807" indent="0">
              <a:buNone/>
              <a:defRPr sz="1800" b="1"/>
            </a:lvl6pPr>
            <a:lvl7pPr marL="3070568" indent="0">
              <a:buNone/>
              <a:defRPr sz="1800" b="1"/>
            </a:lvl7pPr>
            <a:lvl8pPr marL="3582330" indent="0">
              <a:buNone/>
              <a:defRPr sz="1800" b="1"/>
            </a:lvl8pPr>
            <a:lvl9pPr marL="4094092" indent="0">
              <a:buNone/>
              <a:defRPr sz="1800" b="1"/>
            </a:lvl9pPr>
          </a:lstStyle>
          <a:p>
            <a:pPr lvl="0"/>
            <a:r>
              <a:rPr lang="en-US"/>
              <a:t>Click to edit Master text styles</a:t>
            </a:r>
          </a:p>
        </p:txBody>
      </p:sp>
      <p:sp>
        <p:nvSpPr>
          <p:cNvPr id="4" name="Content Placeholder 3"/>
          <p:cNvSpPr>
            <a:spLocks noGrp="1"/>
          </p:cNvSpPr>
          <p:nvPr>
            <p:ph sz="half" idx="2"/>
          </p:nvPr>
        </p:nvSpPr>
        <p:spPr>
          <a:xfrm>
            <a:off x="609600" y="2173921"/>
            <a:ext cx="5386917" cy="3952390"/>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0" y="1535279"/>
            <a:ext cx="5389033" cy="638642"/>
          </a:xfrm>
        </p:spPr>
        <p:txBody>
          <a:bodyPr anchor="b"/>
          <a:lstStyle>
            <a:lvl1pPr marL="0" indent="0">
              <a:buNone/>
              <a:defRPr sz="2700" b="1"/>
            </a:lvl1pPr>
            <a:lvl2pPr marL="511761" indent="0">
              <a:buNone/>
              <a:defRPr sz="2200" b="1"/>
            </a:lvl2pPr>
            <a:lvl3pPr marL="1023523" indent="0">
              <a:buNone/>
              <a:defRPr sz="2000" b="1"/>
            </a:lvl3pPr>
            <a:lvl4pPr marL="1535285" indent="0">
              <a:buNone/>
              <a:defRPr sz="1800" b="1"/>
            </a:lvl4pPr>
            <a:lvl5pPr marL="2047046" indent="0">
              <a:buNone/>
              <a:defRPr sz="1800" b="1"/>
            </a:lvl5pPr>
            <a:lvl6pPr marL="2558807" indent="0">
              <a:buNone/>
              <a:defRPr sz="1800" b="1"/>
            </a:lvl6pPr>
            <a:lvl7pPr marL="3070568" indent="0">
              <a:buNone/>
              <a:defRPr sz="1800" b="1"/>
            </a:lvl7pPr>
            <a:lvl8pPr marL="3582330" indent="0">
              <a:buNone/>
              <a:defRPr sz="1800" b="1"/>
            </a:lvl8pPr>
            <a:lvl9pPr marL="4094092" indent="0">
              <a:buNone/>
              <a:defRPr sz="1800" b="1"/>
            </a:lvl9pPr>
          </a:lstStyle>
          <a:p>
            <a:pPr lvl="0"/>
            <a:r>
              <a:rPr lang="en-US"/>
              <a:t>Click to edit Master text styles</a:t>
            </a:r>
          </a:p>
        </p:txBody>
      </p:sp>
      <p:sp>
        <p:nvSpPr>
          <p:cNvPr id="6" name="Content Placeholder 5"/>
          <p:cNvSpPr>
            <a:spLocks noGrp="1"/>
          </p:cNvSpPr>
          <p:nvPr>
            <p:ph sz="quarter" idx="4"/>
          </p:nvPr>
        </p:nvSpPr>
        <p:spPr>
          <a:xfrm>
            <a:off x="6193370" y="2173921"/>
            <a:ext cx="5389033" cy="3952390"/>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7110626E-B42B-494E-A82A-F7D1DB8F7894}"/>
              </a:ext>
            </a:extLst>
          </p:cNvPr>
          <p:cNvSpPr>
            <a:spLocks noGrp="1" noChangeArrowheads="1"/>
          </p:cNvSpPr>
          <p:nvPr>
            <p:ph type="sldNum" sz="quarter" idx="10"/>
          </p:nvPr>
        </p:nvSpPr>
        <p:spPr>
          <a:ln/>
        </p:spPr>
        <p:txBody>
          <a:bodyPr/>
          <a:lstStyle>
            <a:lvl1pPr>
              <a:defRPr/>
            </a:lvl1pPr>
          </a:lstStyle>
          <a:p>
            <a:pPr>
              <a:defRPr/>
            </a:pPr>
            <a:fld id="{D882361B-365F-49DF-A256-B9B86D7A167D}" type="slidenum">
              <a:rPr lang="de-DE" altLang="en-US"/>
              <a:pPr>
                <a:defRPr/>
              </a:pPr>
              <a:t>‹#›</a:t>
            </a:fld>
            <a:endParaRPr lang="de-DE" altLang="en-US"/>
          </a:p>
        </p:txBody>
      </p:sp>
    </p:spTree>
    <p:extLst>
      <p:ext uri="{BB962C8B-B14F-4D97-AF65-F5344CB8AC3E}">
        <p14:creationId xmlns:p14="http://schemas.microsoft.com/office/powerpoint/2010/main" val="8150978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6">
            <a:extLst>
              <a:ext uri="{FF2B5EF4-FFF2-40B4-BE49-F238E27FC236}">
                <a16:creationId xmlns:a16="http://schemas.microsoft.com/office/drawing/2014/main" id="{2A824F20-019F-42A5-9BF5-710C1A542CBA}"/>
              </a:ext>
            </a:extLst>
          </p:cNvPr>
          <p:cNvSpPr>
            <a:spLocks noGrp="1" noChangeArrowheads="1"/>
          </p:cNvSpPr>
          <p:nvPr>
            <p:ph type="sldNum" sz="quarter" idx="10"/>
          </p:nvPr>
        </p:nvSpPr>
        <p:spPr>
          <a:ln/>
        </p:spPr>
        <p:txBody>
          <a:bodyPr/>
          <a:lstStyle>
            <a:lvl1pPr>
              <a:defRPr/>
            </a:lvl1pPr>
          </a:lstStyle>
          <a:p>
            <a:pPr>
              <a:defRPr/>
            </a:pPr>
            <a:fld id="{59BFC2F6-4B0C-41D2-A151-6791E9944C67}" type="slidenum">
              <a:rPr lang="de-DE" altLang="en-US"/>
              <a:pPr>
                <a:defRPr/>
              </a:pPr>
              <a:t>‹#›</a:t>
            </a:fld>
            <a:endParaRPr lang="de-DE" altLang="en-US"/>
          </a:p>
        </p:txBody>
      </p:sp>
    </p:spTree>
    <p:extLst>
      <p:ext uri="{BB962C8B-B14F-4D97-AF65-F5344CB8AC3E}">
        <p14:creationId xmlns:p14="http://schemas.microsoft.com/office/powerpoint/2010/main" val="30727489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a:extLst>
              <a:ext uri="{FF2B5EF4-FFF2-40B4-BE49-F238E27FC236}">
                <a16:creationId xmlns:a16="http://schemas.microsoft.com/office/drawing/2014/main" id="{533F16FB-01AA-45F0-83C4-8D5CBC1646A8}"/>
              </a:ext>
            </a:extLst>
          </p:cNvPr>
          <p:cNvSpPr>
            <a:spLocks noGrp="1" noChangeArrowheads="1"/>
          </p:cNvSpPr>
          <p:nvPr>
            <p:ph type="sldNum" sz="quarter" idx="10"/>
          </p:nvPr>
        </p:nvSpPr>
        <p:spPr>
          <a:ln/>
        </p:spPr>
        <p:txBody>
          <a:bodyPr/>
          <a:lstStyle>
            <a:lvl1pPr>
              <a:defRPr/>
            </a:lvl1pPr>
          </a:lstStyle>
          <a:p>
            <a:pPr>
              <a:defRPr/>
            </a:pPr>
            <a:fld id="{1469184B-A9BA-46B5-B492-91B8C8433EB0}" type="slidenum">
              <a:rPr lang="de-DE" altLang="en-US"/>
              <a:pPr>
                <a:defRPr/>
              </a:pPr>
              <a:t>‹#›</a:t>
            </a:fld>
            <a:endParaRPr lang="de-DE" altLang="en-US"/>
          </a:p>
        </p:txBody>
      </p:sp>
    </p:spTree>
    <p:extLst>
      <p:ext uri="{BB962C8B-B14F-4D97-AF65-F5344CB8AC3E}">
        <p14:creationId xmlns:p14="http://schemas.microsoft.com/office/powerpoint/2010/main" val="5439936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2799"/>
            <a:ext cx="4011084" cy="1163090"/>
          </a:xfrm>
        </p:spPr>
        <p:txBody>
          <a:bodyPr anchor="b"/>
          <a:lstStyle>
            <a:lvl1pPr algn="l">
              <a:defRPr sz="2200" b="1"/>
            </a:lvl1pPr>
          </a:lstStyle>
          <a:p>
            <a:r>
              <a:rPr lang="en-US"/>
              <a:t>Click to edit Master title style</a:t>
            </a:r>
          </a:p>
        </p:txBody>
      </p:sp>
      <p:sp>
        <p:nvSpPr>
          <p:cNvPr id="3" name="Content Placeholder 2"/>
          <p:cNvSpPr>
            <a:spLocks noGrp="1"/>
          </p:cNvSpPr>
          <p:nvPr>
            <p:ph idx="1"/>
          </p:nvPr>
        </p:nvSpPr>
        <p:spPr>
          <a:xfrm>
            <a:off x="4766735" y="272800"/>
            <a:ext cx="6815667" cy="5853513"/>
          </a:xfrm>
        </p:spPr>
        <p:txBody>
          <a:bodyPr/>
          <a:lstStyle>
            <a:lvl1pPr>
              <a:defRPr sz="3500"/>
            </a:lvl1pPr>
            <a:lvl2pPr>
              <a:defRPr sz="3200"/>
            </a:lvl2pPr>
            <a:lvl3pPr>
              <a:defRPr sz="27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888"/>
            <a:ext cx="4011084" cy="4690424"/>
          </a:xfrm>
        </p:spPr>
        <p:txBody>
          <a:bodyPr/>
          <a:lstStyle>
            <a:lvl1pPr marL="0" indent="0">
              <a:buNone/>
              <a:defRPr sz="1600"/>
            </a:lvl1pPr>
            <a:lvl2pPr marL="511761" indent="0">
              <a:buNone/>
              <a:defRPr sz="1300"/>
            </a:lvl2pPr>
            <a:lvl3pPr marL="1023523" indent="0">
              <a:buNone/>
              <a:defRPr sz="1100"/>
            </a:lvl3pPr>
            <a:lvl4pPr marL="1535285" indent="0">
              <a:buNone/>
              <a:defRPr sz="1000"/>
            </a:lvl4pPr>
            <a:lvl5pPr marL="2047046" indent="0">
              <a:buNone/>
              <a:defRPr sz="1000"/>
            </a:lvl5pPr>
            <a:lvl6pPr marL="2558807" indent="0">
              <a:buNone/>
              <a:defRPr sz="1000"/>
            </a:lvl6pPr>
            <a:lvl7pPr marL="3070568" indent="0">
              <a:buNone/>
              <a:defRPr sz="1000"/>
            </a:lvl7pPr>
            <a:lvl8pPr marL="3582330" indent="0">
              <a:buNone/>
              <a:defRPr sz="1000"/>
            </a:lvl8pPr>
            <a:lvl9pPr marL="4094092" indent="0">
              <a:buNone/>
              <a:defRPr sz="1000"/>
            </a:lvl9pPr>
          </a:lstStyle>
          <a:p>
            <a:pPr lvl="0"/>
            <a:r>
              <a:rPr lang="en-US"/>
              <a:t>Click to edit Master text styles</a:t>
            </a:r>
          </a:p>
        </p:txBody>
      </p:sp>
      <p:sp>
        <p:nvSpPr>
          <p:cNvPr id="5" name="Rectangle 6">
            <a:extLst>
              <a:ext uri="{FF2B5EF4-FFF2-40B4-BE49-F238E27FC236}">
                <a16:creationId xmlns:a16="http://schemas.microsoft.com/office/drawing/2014/main" id="{1BB84C5B-2DD7-4CC0-83A3-9D06FFD9FA16}"/>
              </a:ext>
            </a:extLst>
          </p:cNvPr>
          <p:cNvSpPr>
            <a:spLocks noGrp="1" noChangeArrowheads="1"/>
          </p:cNvSpPr>
          <p:nvPr>
            <p:ph type="sldNum" sz="quarter" idx="10"/>
          </p:nvPr>
        </p:nvSpPr>
        <p:spPr>
          <a:ln/>
        </p:spPr>
        <p:txBody>
          <a:bodyPr/>
          <a:lstStyle>
            <a:lvl1pPr>
              <a:defRPr/>
            </a:lvl1pPr>
          </a:lstStyle>
          <a:p>
            <a:pPr>
              <a:defRPr/>
            </a:pPr>
            <a:fld id="{4CD9B862-7EE7-4047-BB38-FD979F5EE539}" type="slidenum">
              <a:rPr lang="de-DE" altLang="en-US"/>
              <a:pPr>
                <a:defRPr/>
              </a:pPr>
              <a:t>‹#›</a:t>
            </a:fld>
            <a:endParaRPr lang="de-DE" altLang="en-US"/>
          </a:p>
        </p:txBody>
      </p:sp>
    </p:spTree>
    <p:extLst>
      <p:ext uri="{BB962C8B-B14F-4D97-AF65-F5344CB8AC3E}">
        <p14:creationId xmlns:p14="http://schemas.microsoft.com/office/powerpoint/2010/main" val="42269326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388"/>
            <a:ext cx="7315200" cy="566742"/>
          </a:xfrm>
        </p:spPr>
        <p:txBody>
          <a:bodyPr anchor="b"/>
          <a:lstStyle>
            <a:lvl1pPr algn="l">
              <a:defRPr sz="2200" b="1"/>
            </a:lvl1pPr>
          </a:lstStyle>
          <a:p>
            <a:r>
              <a:rPr lang="en-US"/>
              <a:t>Click to edit Master title style</a:t>
            </a:r>
          </a:p>
        </p:txBody>
      </p:sp>
      <p:sp>
        <p:nvSpPr>
          <p:cNvPr id="3" name="Picture Placeholder 2"/>
          <p:cNvSpPr>
            <a:spLocks noGrp="1"/>
          </p:cNvSpPr>
          <p:nvPr>
            <p:ph type="pic" idx="1"/>
          </p:nvPr>
        </p:nvSpPr>
        <p:spPr>
          <a:xfrm>
            <a:off x="2389717" y="613267"/>
            <a:ext cx="7315200" cy="4115222"/>
          </a:xfrm>
        </p:spPr>
        <p:txBody>
          <a:bodyPr/>
          <a:lstStyle>
            <a:lvl1pPr marL="0" indent="0">
              <a:buNone/>
              <a:defRPr sz="3500"/>
            </a:lvl1pPr>
            <a:lvl2pPr marL="511761" indent="0">
              <a:buNone/>
              <a:defRPr sz="3200"/>
            </a:lvl2pPr>
            <a:lvl3pPr marL="1023523" indent="0">
              <a:buNone/>
              <a:defRPr sz="2700"/>
            </a:lvl3pPr>
            <a:lvl4pPr marL="1535285" indent="0">
              <a:buNone/>
              <a:defRPr sz="2200"/>
            </a:lvl4pPr>
            <a:lvl5pPr marL="2047046" indent="0">
              <a:buNone/>
              <a:defRPr sz="2200"/>
            </a:lvl5pPr>
            <a:lvl6pPr marL="2558807" indent="0">
              <a:buNone/>
              <a:defRPr sz="2200"/>
            </a:lvl6pPr>
            <a:lvl7pPr marL="3070568" indent="0">
              <a:buNone/>
              <a:defRPr sz="2200"/>
            </a:lvl7pPr>
            <a:lvl8pPr marL="3582330" indent="0">
              <a:buNone/>
              <a:defRPr sz="2200"/>
            </a:lvl8pPr>
            <a:lvl9pPr marL="4094092" indent="0">
              <a:buNone/>
              <a:defRPr sz="2200"/>
            </a:lvl9pPr>
          </a:lstStyle>
          <a:p>
            <a:pPr lvl="0"/>
            <a:endParaRPr lang="en-US" noProof="0" dirty="0"/>
          </a:p>
        </p:txBody>
      </p:sp>
      <p:sp>
        <p:nvSpPr>
          <p:cNvPr id="4" name="Text Placeholder 3"/>
          <p:cNvSpPr>
            <a:spLocks noGrp="1"/>
          </p:cNvSpPr>
          <p:nvPr>
            <p:ph type="body" sz="half" idx="2"/>
          </p:nvPr>
        </p:nvSpPr>
        <p:spPr>
          <a:xfrm>
            <a:off x="2389717" y="5367131"/>
            <a:ext cx="7315200" cy="805705"/>
          </a:xfrm>
        </p:spPr>
        <p:txBody>
          <a:bodyPr/>
          <a:lstStyle>
            <a:lvl1pPr marL="0" indent="0">
              <a:buNone/>
              <a:defRPr sz="1600"/>
            </a:lvl1pPr>
            <a:lvl2pPr marL="511761" indent="0">
              <a:buNone/>
              <a:defRPr sz="1300"/>
            </a:lvl2pPr>
            <a:lvl3pPr marL="1023523" indent="0">
              <a:buNone/>
              <a:defRPr sz="1100"/>
            </a:lvl3pPr>
            <a:lvl4pPr marL="1535285" indent="0">
              <a:buNone/>
              <a:defRPr sz="1000"/>
            </a:lvl4pPr>
            <a:lvl5pPr marL="2047046" indent="0">
              <a:buNone/>
              <a:defRPr sz="1000"/>
            </a:lvl5pPr>
            <a:lvl6pPr marL="2558807" indent="0">
              <a:buNone/>
              <a:defRPr sz="1000"/>
            </a:lvl6pPr>
            <a:lvl7pPr marL="3070568" indent="0">
              <a:buNone/>
              <a:defRPr sz="1000"/>
            </a:lvl7pPr>
            <a:lvl8pPr marL="3582330" indent="0">
              <a:buNone/>
              <a:defRPr sz="1000"/>
            </a:lvl8pPr>
            <a:lvl9pPr marL="4094092" indent="0">
              <a:buNone/>
              <a:defRPr sz="1000"/>
            </a:lvl9pPr>
          </a:lstStyle>
          <a:p>
            <a:pPr lvl="0"/>
            <a:r>
              <a:rPr lang="en-US"/>
              <a:t>Click to edit Master text styles</a:t>
            </a:r>
          </a:p>
        </p:txBody>
      </p:sp>
      <p:sp>
        <p:nvSpPr>
          <p:cNvPr id="5" name="Rectangle 6">
            <a:extLst>
              <a:ext uri="{FF2B5EF4-FFF2-40B4-BE49-F238E27FC236}">
                <a16:creationId xmlns:a16="http://schemas.microsoft.com/office/drawing/2014/main" id="{C0A930B3-D695-464D-8756-99FD45CAB01E}"/>
              </a:ext>
            </a:extLst>
          </p:cNvPr>
          <p:cNvSpPr>
            <a:spLocks noGrp="1" noChangeArrowheads="1"/>
          </p:cNvSpPr>
          <p:nvPr>
            <p:ph type="sldNum" sz="quarter" idx="10"/>
          </p:nvPr>
        </p:nvSpPr>
        <p:spPr>
          <a:ln/>
        </p:spPr>
        <p:txBody>
          <a:bodyPr/>
          <a:lstStyle>
            <a:lvl1pPr>
              <a:defRPr/>
            </a:lvl1pPr>
          </a:lstStyle>
          <a:p>
            <a:pPr>
              <a:defRPr/>
            </a:pPr>
            <a:fld id="{F9A692EB-970C-451F-9C81-46DF7DB3351A}" type="slidenum">
              <a:rPr lang="de-DE" altLang="en-US"/>
              <a:pPr>
                <a:defRPr/>
              </a:pPr>
              <a:t>‹#›</a:t>
            </a:fld>
            <a:endParaRPr lang="de-DE" altLang="en-US"/>
          </a:p>
        </p:txBody>
      </p:sp>
    </p:spTree>
    <p:extLst>
      <p:ext uri="{BB962C8B-B14F-4D97-AF65-F5344CB8AC3E}">
        <p14:creationId xmlns:p14="http://schemas.microsoft.com/office/powerpoint/2010/main" val="9069103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3.xml"/><Relationship Id="rId1" Type="http://schemas.openxmlformats.org/officeDocument/2006/relationships/slideLayout" Target="../slideLayouts/slideLayout25.xml"/><Relationship Id="rId4" Type="http://schemas.microsoft.com/office/2007/relationships/hdphoto" Target="../media/hdphoto1.wdp"/></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theme" Target="../theme/theme4.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5.xml"/><Relationship Id="rId1" Type="http://schemas.openxmlformats.org/officeDocument/2006/relationships/slideLayout" Target="../slideLayouts/slideLayout37.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6.xml"/><Relationship Id="rId1"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a:extLst>
              <a:ext uri="{FF2B5EF4-FFF2-40B4-BE49-F238E27FC236}">
                <a16:creationId xmlns:a16="http://schemas.microsoft.com/office/drawing/2014/main" id="{59AA5167-85EF-4F59-8310-77C9D61D662E}"/>
              </a:ext>
            </a:extLst>
          </p:cNvPr>
          <p:cNvSpPr>
            <a:spLocks noGrp="1" noChangeArrowheads="1"/>
          </p:cNvSpPr>
          <p:nvPr>
            <p:ph type="title"/>
          </p:nvPr>
        </p:nvSpPr>
        <p:spPr bwMode="auto">
          <a:xfrm>
            <a:off x="477838" y="1125538"/>
            <a:ext cx="11229975" cy="484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de-DE" altLang="en-US"/>
              <a:t>Titelmasterformat durch Klicken bearbeiten</a:t>
            </a:r>
          </a:p>
        </p:txBody>
      </p:sp>
      <p:sp>
        <p:nvSpPr>
          <p:cNvPr id="1027" name="Rectangle 3">
            <a:extLst>
              <a:ext uri="{FF2B5EF4-FFF2-40B4-BE49-F238E27FC236}">
                <a16:creationId xmlns:a16="http://schemas.microsoft.com/office/drawing/2014/main" id="{CFD0B3DD-6371-4B66-A627-AAEE572A94E6}"/>
              </a:ext>
            </a:extLst>
          </p:cNvPr>
          <p:cNvSpPr>
            <a:spLocks noGrp="1" noChangeArrowheads="1"/>
          </p:cNvSpPr>
          <p:nvPr>
            <p:ph type="body" idx="1"/>
          </p:nvPr>
        </p:nvSpPr>
        <p:spPr bwMode="auto">
          <a:xfrm>
            <a:off x="477838" y="2276475"/>
            <a:ext cx="11229975" cy="336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en-US"/>
              <a:t>Textmasterformate durch Klicken bearbeiten</a:t>
            </a:r>
          </a:p>
          <a:p>
            <a:pPr lvl="1"/>
            <a:r>
              <a:rPr lang="de-DE" altLang="en-US"/>
              <a:t>Zweite Ebene</a:t>
            </a:r>
          </a:p>
        </p:txBody>
      </p:sp>
      <p:sp>
        <p:nvSpPr>
          <p:cNvPr id="1030" name="Rectangle 6">
            <a:extLst>
              <a:ext uri="{FF2B5EF4-FFF2-40B4-BE49-F238E27FC236}">
                <a16:creationId xmlns:a16="http://schemas.microsoft.com/office/drawing/2014/main" id="{9BE8B45D-CCED-DA46-BE6C-702823E7D316}"/>
              </a:ext>
            </a:extLst>
          </p:cNvPr>
          <p:cNvSpPr>
            <a:spLocks noGrp="1" noChangeArrowheads="1"/>
          </p:cNvSpPr>
          <p:nvPr>
            <p:ph type="sldNum" sz="quarter" idx="4"/>
          </p:nvPr>
        </p:nvSpPr>
        <p:spPr bwMode="auto">
          <a:xfrm>
            <a:off x="10748963" y="6403975"/>
            <a:ext cx="958850" cy="306388"/>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eaLnBrk="1" hangingPunct="1">
              <a:defRPr sz="1100">
                <a:solidFill>
                  <a:srgbClr val="646464"/>
                </a:solidFill>
                <a:latin typeface="Arial" panose="020B0604020202020204" pitchFamily="34" charset="0"/>
                <a:ea typeface="MS PGothic" panose="020B0600070205080204" pitchFamily="34" charset="-128"/>
              </a:defRPr>
            </a:lvl1pPr>
          </a:lstStyle>
          <a:p>
            <a:pPr>
              <a:defRPr/>
            </a:pPr>
            <a:fld id="{8E94E908-AFFE-41B5-8E40-40664D8F265F}" type="slidenum">
              <a:rPr lang="de-DE" altLang="en-US"/>
              <a:pPr>
                <a:defRPr/>
              </a:pPr>
              <a:t>‹#›</a:t>
            </a:fld>
            <a:endParaRPr lang="de-DE" altLang="en-US"/>
          </a:p>
        </p:txBody>
      </p:sp>
      <p:sp>
        <p:nvSpPr>
          <p:cNvPr id="3" name="Rectangle 2">
            <a:extLst>
              <a:ext uri="{FF2B5EF4-FFF2-40B4-BE49-F238E27FC236}">
                <a16:creationId xmlns:a16="http://schemas.microsoft.com/office/drawing/2014/main" id="{9B598D4C-E4A5-FA43-B201-50D5BAFF835B}"/>
              </a:ext>
            </a:extLst>
          </p:cNvPr>
          <p:cNvSpPr/>
          <p:nvPr userDrawn="1"/>
        </p:nvSpPr>
        <p:spPr>
          <a:xfrm>
            <a:off x="477838" y="947738"/>
            <a:ext cx="11229975" cy="33337"/>
          </a:xfrm>
          <a:prstGeom prst="rect">
            <a:avLst/>
          </a:prstGeom>
          <a:solidFill>
            <a:srgbClr val="0872A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l-GR"/>
          </a:p>
        </p:txBody>
      </p:sp>
      <p:pic>
        <p:nvPicPr>
          <p:cNvPr id="2" name="Picture 7">
            <a:extLst>
              <a:ext uri="{FF2B5EF4-FFF2-40B4-BE49-F238E27FC236}">
                <a16:creationId xmlns:a16="http://schemas.microsoft.com/office/drawing/2014/main" id="{2A181E8E-B5FE-4862-89EC-AA59B28EB11A}"/>
              </a:ext>
            </a:extLst>
          </p:cNvPr>
          <p:cNvPicPr>
            <a:picLocks noChangeAspect="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9704388" y="312738"/>
            <a:ext cx="19875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470" r:id="rId1"/>
    <p:sldLayoutId id="2147485437" r:id="rId2"/>
    <p:sldLayoutId id="2147485438" r:id="rId3"/>
    <p:sldLayoutId id="2147485439" r:id="rId4"/>
    <p:sldLayoutId id="2147485440" r:id="rId5"/>
    <p:sldLayoutId id="2147485441" r:id="rId6"/>
    <p:sldLayoutId id="2147485442" r:id="rId7"/>
    <p:sldLayoutId id="2147485443" r:id="rId8"/>
    <p:sldLayoutId id="2147485444" r:id="rId9"/>
    <p:sldLayoutId id="2147485445" r:id="rId10"/>
    <p:sldLayoutId id="2147485446" r:id="rId11"/>
    <p:sldLayoutId id="2147485447" r:id="rId12"/>
    <p:sldLayoutId id="2147485488" r:id="rId13"/>
  </p:sldLayoutIdLst>
  <p:hf hdr="0" ftr="0"/>
  <p:txStyles>
    <p:titleStyle>
      <a:lvl1pPr algn="l" rtl="0" eaLnBrk="0" fontAlgn="base" hangingPunct="0">
        <a:spcBef>
          <a:spcPct val="0"/>
        </a:spcBef>
        <a:spcAft>
          <a:spcPct val="0"/>
        </a:spcAft>
        <a:defRPr sz="2700" b="1">
          <a:solidFill>
            <a:srgbClr val="0872A6"/>
          </a:solidFill>
          <a:latin typeface="ITC Avant Garde Gothic" pitchFamily="34" charset="0"/>
          <a:ea typeface="MS PGothic" panose="020B0600070205080204" pitchFamily="34" charset="-128"/>
          <a:cs typeface="+mj-cs"/>
        </a:defRPr>
      </a:lvl1pPr>
      <a:lvl2pPr algn="l" rtl="0" eaLnBrk="0" fontAlgn="base" hangingPunct="0">
        <a:spcBef>
          <a:spcPct val="0"/>
        </a:spcBef>
        <a:spcAft>
          <a:spcPct val="0"/>
        </a:spcAft>
        <a:defRPr sz="2700" b="1">
          <a:solidFill>
            <a:srgbClr val="0872A6"/>
          </a:solidFill>
          <a:latin typeface="ITC Avant Garde Gothic" charset="0"/>
          <a:ea typeface="MS PGothic" panose="020B0600070205080204" pitchFamily="34" charset="-128"/>
          <a:cs typeface="Arial" charset="0"/>
        </a:defRPr>
      </a:lvl2pPr>
      <a:lvl3pPr algn="l" rtl="0" eaLnBrk="0" fontAlgn="base" hangingPunct="0">
        <a:spcBef>
          <a:spcPct val="0"/>
        </a:spcBef>
        <a:spcAft>
          <a:spcPct val="0"/>
        </a:spcAft>
        <a:defRPr sz="2700" b="1">
          <a:solidFill>
            <a:srgbClr val="0872A6"/>
          </a:solidFill>
          <a:latin typeface="ITC Avant Garde Gothic" charset="0"/>
          <a:ea typeface="MS PGothic" panose="020B0600070205080204" pitchFamily="34" charset="-128"/>
          <a:cs typeface="Arial" charset="0"/>
        </a:defRPr>
      </a:lvl3pPr>
      <a:lvl4pPr algn="l" rtl="0" eaLnBrk="0" fontAlgn="base" hangingPunct="0">
        <a:spcBef>
          <a:spcPct val="0"/>
        </a:spcBef>
        <a:spcAft>
          <a:spcPct val="0"/>
        </a:spcAft>
        <a:defRPr sz="2700" b="1">
          <a:solidFill>
            <a:srgbClr val="0872A6"/>
          </a:solidFill>
          <a:latin typeface="ITC Avant Garde Gothic" charset="0"/>
          <a:ea typeface="MS PGothic" panose="020B0600070205080204" pitchFamily="34" charset="-128"/>
          <a:cs typeface="Arial" charset="0"/>
        </a:defRPr>
      </a:lvl4pPr>
      <a:lvl5pPr algn="l" rtl="0" eaLnBrk="0" fontAlgn="base" hangingPunct="0">
        <a:spcBef>
          <a:spcPct val="0"/>
        </a:spcBef>
        <a:spcAft>
          <a:spcPct val="0"/>
        </a:spcAft>
        <a:defRPr sz="2700" b="1">
          <a:solidFill>
            <a:srgbClr val="0872A6"/>
          </a:solidFill>
          <a:latin typeface="ITC Avant Garde Gothic" charset="0"/>
          <a:ea typeface="MS PGothic" panose="020B0600070205080204" pitchFamily="34" charset="-128"/>
          <a:cs typeface="Arial" charset="0"/>
        </a:defRPr>
      </a:lvl5pPr>
      <a:lvl6pPr marL="511761" algn="l" rtl="0" fontAlgn="base">
        <a:spcBef>
          <a:spcPct val="0"/>
        </a:spcBef>
        <a:spcAft>
          <a:spcPct val="0"/>
        </a:spcAft>
        <a:defRPr sz="2700" b="1">
          <a:solidFill>
            <a:srgbClr val="E10019"/>
          </a:solidFill>
          <a:latin typeface="Arial" charset="0"/>
          <a:cs typeface="Arial" charset="0"/>
        </a:defRPr>
      </a:lvl6pPr>
      <a:lvl7pPr marL="1023523" algn="l" rtl="0" fontAlgn="base">
        <a:spcBef>
          <a:spcPct val="0"/>
        </a:spcBef>
        <a:spcAft>
          <a:spcPct val="0"/>
        </a:spcAft>
        <a:defRPr sz="2700" b="1">
          <a:solidFill>
            <a:srgbClr val="E10019"/>
          </a:solidFill>
          <a:latin typeface="Arial" charset="0"/>
          <a:cs typeface="Arial" charset="0"/>
        </a:defRPr>
      </a:lvl7pPr>
      <a:lvl8pPr marL="1535285" algn="l" rtl="0" fontAlgn="base">
        <a:spcBef>
          <a:spcPct val="0"/>
        </a:spcBef>
        <a:spcAft>
          <a:spcPct val="0"/>
        </a:spcAft>
        <a:defRPr sz="2700" b="1">
          <a:solidFill>
            <a:srgbClr val="E10019"/>
          </a:solidFill>
          <a:latin typeface="Arial" charset="0"/>
          <a:cs typeface="Arial" charset="0"/>
        </a:defRPr>
      </a:lvl8pPr>
      <a:lvl9pPr marL="2047046" algn="l" rtl="0" fontAlgn="base">
        <a:spcBef>
          <a:spcPct val="0"/>
        </a:spcBef>
        <a:spcAft>
          <a:spcPct val="0"/>
        </a:spcAft>
        <a:defRPr sz="2700" b="1">
          <a:solidFill>
            <a:srgbClr val="E10019"/>
          </a:solidFill>
          <a:latin typeface="Arial" charset="0"/>
          <a:cs typeface="Arial" charset="0"/>
        </a:defRPr>
      </a:lvl9pPr>
    </p:titleStyle>
    <p:bodyStyle>
      <a:lvl1pPr marL="382588" indent="-382588" algn="l" rtl="0" eaLnBrk="0" fontAlgn="base" hangingPunct="0">
        <a:lnSpc>
          <a:spcPct val="130000"/>
        </a:lnSpc>
        <a:spcBef>
          <a:spcPct val="0"/>
        </a:spcBef>
        <a:spcAft>
          <a:spcPct val="0"/>
        </a:spcAft>
        <a:buChar char="•"/>
        <a:defRPr sz="1600">
          <a:solidFill>
            <a:schemeClr val="tx1"/>
          </a:solidFill>
          <a:latin typeface="+mn-lt"/>
          <a:ea typeface="MS PGothic" panose="020B0600070205080204" pitchFamily="34" charset="-128"/>
          <a:cs typeface="+mn-cs"/>
        </a:defRPr>
      </a:lvl1pPr>
      <a:lvl2pPr marL="830263" indent="-319088" algn="l" rtl="0" eaLnBrk="0" fontAlgn="base" hangingPunct="0">
        <a:lnSpc>
          <a:spcPct val="130000"/>
        </a:lnSpc>
        <a:spcBef>
          <a:spcPct val="0"/>
        </a:spcBef>
        <a:spcAft>
          <a:spcPct val="0"/>
        </a:spcAft>
        <a:buFont typeface="Wingdings" panose="05000000000000000000" pitchFamily="2" charset="2"/>
        <a:buChar char="§"/>
        <a:defRPr sz="1600">
          <a:solidFill>
            <a:schemeClr val="tx1"/>
          </a:solidFill>
          <a:latin typeface="+mn-lt"/>
          <a:ea typeface="MS PGothic" panose="020B0600070205080204" pitchFamily="34" charset="-128"/>
          <a:cs typeface="+mn-cs"/>
        </a:defRPr>
      </a:lvl2pPr>
      <a:lvl3pPr marL="1277938" indent="-255588" algn="l" rtl="0" eaLnBrk="0" fontAlgn="base" hangingPunct="0">
        <a:lnSpc>
          <a:spcPct val="150000"/>
        </a:lnSpc>
        <a:spcBef>
          <a:spcPct val="0"/>
        </a:spcBef>
        <a:spcAft>
          <a:spcPct val="0"/>
        </a:spcAft>
        <a:buChar char="•"/>
        <a:defRPr sz="2700">
          <a:solidFill>
            <a:schemeClr val="tx1"/>
          </a:solidFill>
          <a:latin typeface="+mn-lt"/>
          <a:ea typeface="MS PGothic" panose="020B0600070205080204" pitchFamily="34" charset="-128"/>
          <a:cs typeface="+mn-cs"/>
        </a:defRPr>
      </a:lvl3pPr>
      <a:lvl4pPr marL="1790700" indent="-255588" algn="l" rtl="0" eaLnBrk="0" fontAlgn="base" hangingPunct="0">
        <a:lnSpc>
          <a:spcPct val="150000"/>
        </a:lnSpc>
        <a:spcBef>
          <a:spcPct val="0"/>
        </a:spcBef>
        <a:spcAft>
          <a:spcPct val="0"/>
        </a:spcAft>
        <a:buChar char="–"/>
        <a:defRPr sz="2200">
          <a:solidFill>
            <a:schemeClr val="tx1"/>
          </a:solidFill>
          <a:latin typeface="+mn-lt"/>
          <a:ea typeface="MS PGothic" panose="020B0600070205080204" pitchFamily="34" charset="-128"/>
          <a:cs typeface="+mn-cs"/>
        </a:defRPr>
      </a:lvl4pPr>
      <a:lvl5pPr marL="2301875" indent="-255588" algn="l" rtl="0" eaLnBrk="0" fontAlgn="base" hangingPunct="0">
        <a:lnSpc>
          <a:spcPct val="150000"/>
        </a:lnSpc>
        <a:spcBef>
          <a:spcPct val="0"/>
        </a:spcBef>
        <a:spcAft>
          <a:spcPct val="0"/>
        </a:spcAft>
        <a:buChar char="»"/>
        <a:defRPr sz="2200">
          <a:solidFill>
            <a:schemeClr val="tx1"/>
          </a:solidFill>
          <a:latin typeface="+mn-lt"/>
          <a:ea typeface="MS PGothic" panose="020B0600070205080204" pitchFamily="34" charset="-128"/>
          <a:cs typeface="+mn-cs"/>
        </a:defRPr>
      </a:lvl5pPr>
      <a:lvl6pPr marL="2814688" indent="-255881" algn="l" rtl="0" fontAlgn="base">
        <a:lnSpc>
          <a:spcPct val="150000"/>
        </a:lnSpc>
        <a:spcBef>
          <a:spcPct val="0"/>
        </a:spcBef>
        <a:spcAft>
          <a:spcPct val="0"/>
        </a:spcAft>
        <a:buChar char="»"/>
        <a:defRPr>
          <a:solidFill>
            <a:schemeClr val="tx1"/>
          </a:solidFill>
          <a:latin typeface="+mn-lt"/>
          <a:cs typeface="+mn-cs"/>
        </a:defRPr>
      </a:lvl6pPr>
      <a:lvl7pPr marL="3326450" indent="-255881" algn="l" rtl="0" fontAlgn="base">
        <a:lnSpc>
          <a:spcPct val="150000"/>
        </a:lnSpc>
        <a:spcBef>
          <a:spcPct val="0"/>
        </a:spcBef>
        <a:spcAft>
          <a:spcPct val="0"/>
        </a:spcAft>
        <a:buChar char="»"/>
        <a:defRPr>
          <a:solidFill>
            <a:schemeClr val="tx1"/>
          </a:solidFill>
          <a:latin typeface="+mn-lt"/>
          <a:cs typeface="+mn-cs"/>
        </a:defRPr>
      </a:lvl7pPr>
      <a:lvl8pPr marL="3838210" indent="-255881" algn="l" rtl="0" fontAlgn="base">
        <a:lnSpc>
          <a:spcPct val="150000"/>
        </a:lnSpc>
        <a:spcBef>
          <a:spcPct val="0"/>
        </a:spcBef>
        <a:spcAft>
          <a:spcPct val="0"/>
        </a:spcAft>
        <a:buChar char="»"/>
        <a:defRPr>
          <a:solidFill>
            <a:schemeClr val="tx1"/>
          </a:solidFill>
          <a:latin typeface="+mn-lt"/>
          <a:cs typeface="+mn-cs"/>
        </a:defRPr>
      </a:lvl8pPr>
      <a:lvl9pPr marL="4349972" indent="-255881" algn="l" rtl="0" fontAlgn="base">
        <a:lnSpc>
          <a:spcPct val="150000"/>
        </a:lnSpc>
        <a:spcBef>
          <a:spcPct val="0"/>
        </a:spcBef>
        <a:spcAft>
          <a:spcPct val="0"/>
        </a:spcAft>
        <a:buChar char="»"/>
        <a:defRPr>
          <a:solidFill>
            <a:schemeClr val="tx1"/>
          </a:solidFill>
          <a:latin typeface="+mn-lt"/>
          <a:cs typeface="+mn-cs"/>
        </a:defRPr>
      </a:lvl9pPr>
    </p:bodyStyle>
    <p:otherStyle>
      <a:defPPr>
        <a:defRPr lang="en-US"/>
      </a:defPPr>
      <a:lvl1pPr marL="0" algn="l" defTabSz="1023523" rtl="0" eaLnBrk="1" latinLnBrk="0" hangingPunct="1">
        <a:defRPr sz="2000" kern="1200">
          <a:solidFill>
            <a:schemeClr val="tx1"/>
          </a:solidFill>
          <a:latin typeface="+mn-lt"/>
          <a:ea typeface="+mn-ea"/>
          <a:cs typeface="+mn-cs"/>
        </a:defRPr>
      </a:lvl1pPr>
      <a:lvl2pPr marL="511761" algn="l" defTabSz="1023523" rtl="0" eaLnBrk="1" latinLnBrk="0" hangingPunct="1">
        <a:defRPr sz="2000" kern="1200">
          <a:solidFill>
            <a:schemeClr val="tx1"/>
          </a:solidFill>
          <a:latin typeface="+mn-lt"/>
          <a:ea typeface="+mn-ea"/>
          <a:cs typeface="+mn-cs"/>
        </a:defRPr>
      </a:lvl2pPr>
      <a:lvl3pPr marL="1023523" algn="l" defTabSz="1023523" rtl="0" eaLnBrk="1" latinLnBrk="0" hangingPunct="1">
        <a:defRPr sz="2000" kern="1200">
          <a:solidFill>
            <a:schemeClr val="tx1"/>
          </a:solidFill>
          <a:latin typeface="+mn-lt"/>
          <a:ea typeface="+mn-ea"/>
          <a:cs typeface="+mn-cs"/>
        </a:defRPr>
      </a:lvl3pPr>
      <a:lvl4pPr marL="1535285" algn="l" defTabSz="1023523" rtl="0" eaLnBrk="1" latinLnBrk="0" hangingPunct="1">
        <a:defRPr sz="2000" kern="1200">
          <a:solidFill>
            <a:schemeClr val="tx1"/>
          </a:solidFill>
          <a:latin typeface="+mn-lt"/>
          <a:ea typeface="+mn-ea"/>
          <a:cs typeface="+mn-cs"/>
        </a:defRPr>
      </a:lvl4pPr>
      <a:lvl5pPr marL="2047046" algn="l" defTabSz="1023523" rtl="0" eaLnBrk="1" latinLnBrk="0" hangingPunct="1">
        <a:defRPr sz="2000" kern="1200">
          <a:solidFill>
            <a:schemeClr val="tx1"/>
          </a:solidFill>
          <a:latin typeface="+mn-lt"/>
          <a:ea typeface="+mn-ea"/>
          <a:cs typeface="+mn-cs"/>
        </a:defRPr>
      </a:lvl5pPr>
      <a:lvl6pPr marL="2558807" algn="l" defTabSz="1023523" rtl="0" eaLnBrk="1" latinLnBrk="0" hangingPunct="1">
        <a:defRPr sz="2000" kern="1200">
          <a:solidFill>
            <a:schemeClr val="tx1"/>
          </a:solidFill>
          <a:latin typeface="+mn-lt"/>
          <a:ea typeface="+mn-ea"/>
          <a:cs typeface="+mn-cs"/>
        </a:defRPr>
      </a:lvl6pPr>
      <a:lvl7pPr marL="3070568" algn="l" defTabSz="1023523" rtl="0" eaLnBrk="1" latinLnBrk="0" hangingPunct="1">
        <a:defRPr sz="2000" kern="1200">
          <a:solidFill>
            <a:schemeClr val="tx1"/>
          </a:solidFill>
          <a:latin typeface="+mn-lt"/>
          <a:ea typeface="+mn-ea"/>
          <a:cs typeface="+mn-cs"/>
        </a:defRPr>
      </a:lvl7pPr>
      <a:lvl8pPr marL="3582330" algn="l" defTabSz="1023523" rtl="0" eaLnBrk="1" latinLnBrk="0" hangingPunct="1">
        <a:defRPr sz="2000" kern="1200">
          <a:solidFill>
            <a:schemeClr val="tx1"/>
          </a:solidFill>
          <a:latin typeface="+mn-lt"/>
          <a:ea typeface="+mn-ea"/>
          <a:cs typeface="+mn-cs"/>
        </a:defRPr>
      </a:lvl8pPr>
      <a:lvl9pPr marL="4094092" algn="l" defTabSz="1023523" rtl="0" eaLnBrk="1" latinLnBrk="0" hangingPunct="1">
        <a:defRPr sz="20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Title Placeholder 1">
            <a:extLst>
              <a:ext uri="{FF2B5EF4-FFF2-40B4-BE49-F238E27FC236}">
                <a16:creationId xmlns:a16="http://schemas.microsoft.com/office/drawing/2014/main" id="{23E7FE1A-891E-4783-B5B9-FB6E10A02C27}"/>
              </a:ext>
            </a:extLst>
          </p:cNvPr>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endParaRPr lang="el-GR" altLang="en-US"/>
          </a:p>
        </p:txBody>
      </p:sp>
      <p:sp>
        <p:nvSpPr>
          <p:cNvPr id="2051" name="Text Placeholder 2">
            <a:extLst>
              <a:ext uri="{FF2B5EF4-FFF2-40B4-BE49-F238E27FC236}">
                <a16:creationId xmlns:a16="http://schemas.microsoft.com/office/drawing/2014/main" id="{EBE7F3B7-E868-48F0-89EE-1A1E2D156F5C}"/>
              </a:ext>
            </a:extLst>
          </p:cNvPr>
          <p:cNvSpPr>
            <a:spLocks noGrp="1"/>
          </p:cNvSpPr>
          <p:nvPr>
            <p:ph type="body" idx="1"/>
          </p:nvPr>
        </p:nvSpPr>
        <p:spPr bwMode="auto">
          <a:xfrm>
            <a:off x="609600" y="16002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l-GR" altLang="en-US"/>
          </a:p>
        </p:txBody>
      </p:sp>
      <p:sp>
        <p:nvSpPr>
          <p:cNvPr id="4" name="Date Placeholder 3">
            <a:extLst>
              <a:ext uri="{FF2B5EF4-FFF2-40B4-BE49-F238E27FC236}">
                <a16:creationId xmlns:a16="http://schemas.microsoft.com/office/drawing/2014/main" id="{5ADB15A2-1043-D444-B926-E648651A6FB1}"/>
              </a:ext>
            </a:extLst>
          </p:cNvPr>
          <p:cNvSpPr>
            <a:spLocks noGrp="1"/>
          </p:cNvSpPr>
          <p:nvPr>
            <p:ph type="dt" sz="half" idx="2"/>
          </p:nvPr>
        </p:nvSpPr>
        <p:spPr>
          <a:xfrm>
            <a:off x="609600" y="6356350"/>
            <a:ext cx="284480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ea typeface="MS PGothic" panose="020B0600070205080204" pitchFamily="34" charset="-128"/>
              </a:defRPr>
            </a:lvl1pPr>
          </a:lstStyle>
          <a:p>
            <a:pPr>
              <a:defRPr/>
            </a:pPr>
            <a:fld id="{DD051BC2-8EC2-4978-A154-10BDA69B1813}" type="datetimeFigureOut">
              <a:rPr lang="el-GR"/>
              <a:pPr>
                <a:defRPr/>
              </a:pPr>
              <a:t>17/2/2021</a:t>
            </a:fld>
            <a:endParaRPr lang="el-GR"/>
          </a:p>
        </p:txBody>
      </p:sp>
      <p:sp>
        <p:nvSpPr>
          <p:cNvPr id="5" name="Footer Placeholder 4">
            <a:extLst>
              <a:ext uri="{FF2B5EF4-FFF2-40B4-BE49-F238E27FC236}">
                <a16:creationId xmlns:a16="http://schemas.microsoft.com/office/drawing/2014/main" id="{85F0A028-6C2A-9D47-A803-9E15AAAE3EB0}"/>
              </a:ext>
            </a:extLst>
          </p:cNvPr>
          <p:cNvSpPr>
            <a:spLocks noGrp="1"/>
          </p:cNvSpPr>
          <p:nvPr>
            <p:ph type="ftr" sz="quarter" idx="3"/>
          </p:nvPr>
        </p:nvSpPr>
        <p:spPr>
          <a:xfrm>
            <a:off x="4165600" y="6356350"/>
            <a:ext cx="3860800" cy="365125"/>
          </a:xfrm>
          <a:prstGeom prst="rect">
            <a:avLst/>
          </a:prstGeom>
        </p:spPr>
        <p:txBody>
          <a:bodyPr vert="horz" lIns="91440" tIns="45720" rIns="91440" bIns="45720" rtlCol="0" anchor="ctr"/>
          <a:lstStyle>
            <a:lvl1pPr algn="ctr">
              <a:defRPr sz="1200">
                <a:solidFill>
                  <a:schemeClr val="tx1">
                    <a:tint val="75000"/>
                  </a:schemeClr>
                </a:solidFill>
                <a:latin typeface="Arial" panose="020B0604020202020204" pitchFamily="34" charset="0"/>
                <a:ea typeface="MS PGothic" panose="020B0600070205080204" pitchFamily="34" charset="-128"/>
              </a:defRPr>
            </a:lvl1pPr>
          </a:lstStyle>
          <a:p>
            <a:pPr>
              <a:defRPr/>
            </a:pPr>
            <a:endParaRPr lang="el-GR"/>
          </a:p>
        </p:txBody>
      </p:sp>
      <p:sp>
        <p:nvSpPr>
          <p:cNvPr id="6" name="Slide Number Placeholder 5">
            <a:extLst>
              <a:ext uri="{FF2B5EF4-FFF2-40B4-BE49-F238E27FC236}">
                <a16:creationId xmlns:a16="http://schemas.microsoft.com/office/drawing/2014/main" id="{2719C1DD-2CAA-E64E-8CF3-86AFE6EF20E9}"/>
              </a:ext>
            </a:extLst>
          </p:cNvPr>
          <p:cNvSpPr>
            <a:spLocks noGrp="1"/>
          </p:cNvSpPr>
          <p:nvPr>
            <p:ph type="sldNum" sz="quarter" idx="4"/>
          </p:nvPr>
        </p:nvSpPr>
        <p:spPr>
          <a:xfrm>
            <a:off x="8737600" y="6356350"/>
            <a:ext cx="28448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Arial" panose="020B0604020202020204" pitchFamily="34" charset="0"/>
                <a:ea typeface="MS PGothic" panose="020B0600070205080204" pitchFamily="34" charset="-128"/>
              </a:defRPr>
            </a:lvl1pPr>
          </a:lstStyle>
          <a:p>
            <a:pPr>
              <a:defRPr/>
            </a:pPr>
            <a:fld id="{3A7C9F90-934D-4F5F-81B0-A4131F6EEBB6}" type="slidenum">
              <a:rPr lang="el-GR" altLang="en-US"/>
              <a:pPr>
                <a:defRPr/>
              </a:pPr>
              <a:t>‹#›</a:t>
            </a:fld>
            <a:endParaRPr lang="el-GR" altLang="en-US"/>
          </a:p>
        </p:txBody>
      </p:sp>
    </p:spTree>
  </p:cSld>
  <p:clrMap bg1="lt1" tx1="dk1" bg2="lt2" tx2="dk2" accent1="accent1" accent2="accent2" accent3="accent3" accent4="accent4" accent5="accent5" accent6="accent6" hlink="hlink" folHlink="folHlink"/>
  <p:sldLayoutIdLst>
    <p:sldLayoutId id="2147485448" r:id="rId1"/>
    <p:sldLayoutId id="2147485449" r:id="rId2"/>
    <p:sldLayoutId id="2147485450" r:id="rId3"/>
    <p:sldLayoutId id="2147485451" r:id="rId4"/>
    <p:sldLayoutId id="2147485452" r:id="rId5"/>
    <p:sldLayoutId id="2147485453" r:id="rId6"/>
    <p:sldLayoutId id="2147485454" r:id="rId7"/>
    <p:sldLayoutId id="2147485455" r:id="rId8"/>
    <p:sldLayoutId id="2147485456" r:id="rId9"/>
    <p:sldLayoutId id="2147485457" r:id="rId10"/>
    <p:sldLayoutId id="2147485458" r:id="rId11"/>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anose="020F0502020204030204" pitchFamily="34" charset="0"/>
        </a:defRPr>
      </a:lvl2pPr>
      <a:lvl3pPr algn="ctr" rtl="0" eaLnBrk="0" fontAlgn="base" hangingPunct="0">
        <a:spcBef>
          <a:spcPct val="0"/>
        </a:spcBef>
        <a:spcAft>
          <a:spcPct val="0"/>
        </a:spcAft>
        <a:defRPr sz="4400">
          <a:solidFill>
            <a:schemeClr val="tx1"/>
          </a:solidFill>
          <a:latin typeface="Calibri" panose="020F0502020204030204" pitchFamily="34" charset="0"/>
        </a:defRPr>
      </a:lvl3pPr>
      <a:lvl4pPr algn="ctr" rtl="0" eaLnBrk="0" fontAlgn="base" hangingPunct="0">
        <a:spcBef>
          <a:spcPct val="0"/>
        </a:spcBef>
        <a:spcAft>
          <a:spcPct val="0"/>
        </a:spcAft>
        <a:defRPr sz="4400">
          <a:solidFill>
            <a:schemeClr val="tx1"/>
          </a:solidFill>
          <a:latin typeface="Calibri" panose="020F0502020204030204" pitchFamily="34" charset="0"/>
        </a:defRPr>
      </a:lvl4pPr>
      <a:lvl5pPr algn="ctr" rtl="0" eaLnBrk="0" fontAlgn="base" hangingPunct="0">
        <a:spcBef>
          <a:spcPct val="0"/>
        </a:spcBef>
        <a:spcAft>
          <a:spcPct val="0"/>
        </a:spcAft>
        <a:defRPr sz="4400">
          <a:solidFill>
            <a:schemeClr val="tx1"/>
          </a:solidFill>
          <a:latin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5F5A3F1-2463-374E-A9C2-D30399EA92E6}"/>
              </a:ext>
            </a:extLst>
          </p:cNvPr>
          <p:cNvSpPr/>
          <p:nvPr userDrawn="1"/>
        </p:nvSpPr>
        <p:spPr>
          <a:xfrm flipH="1">
            <a:off x="5402317" y="0"/>
            <a:ext cx="6789681" cy="6858000"/>
          </a:xfrm>
          <a:prstGeom prst="rect">
            <a:avLst/>
          </a:prstGeom>
          <a:solidFill>
            <a:srgbClr val="0061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a:p>
        </p:txBody>
      </p:sp>
      <p:pic>
        <p:nvPicPr>
          <p:cNvPr id="3" name="Picture 2" descr="A picture containing food, drawing&#10;&#10;Description automatically generated">
            <a:extLst>
              <a:ext uri="{FF2B5EF4-FFF2-40B4-BE49-F238E27FC236}">
                <a16:creationId xmlns:a16="http://schemas.microsoft.com/office/drawing/2014/main" id="{E9E7AD10-8BB9-944E-9A00-97C0EBCFE61B}"/>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20000"/>
                    </a14:imgEffect>
                  </a14:imgLayer>
                </a14:imgProps>
              </a:ext>
              <a:ext uri="{28A0092B-C50C-407E-A947-70E740481C1C}">
                <a14:useLocalDpi xmlns:a14="http://schemas.microsoft.com/office/drawing/2010/main" val="0"/>
              </a:ext>
            </a:extLst>
          </a:blip>
          <a:stretch>
            <a:fillRect/>
          </a:stretch>
        </p:blipFill>
        <p:spPr>
          <a:xfrm>
            <a:off x="539309" y="429017"/>
            <a:ext cx="2071370" cy="524627"/>
          </a:xfrm>
          <a:prstGeom prst="rect">
            <a:avLst/>
          </a:prstGeom>
        </p:spPr>
      </p:pic>
    </p:spTree>
    <p:extLst>
      <p:ext uri="{BB962C8B-B14F-4D97-AF65-F5344CB8AC3E}">
        <p14:creationId xmlns:p14="http://schemas.microsoft.com/office/powerpoint/2010/main" val="2203916400"/>
      </p:ext>
    </p:extLst>
  </p:cSld>
  <p:clrMap bg1="lt1" tx1="dk1" bg2="lt2" tx2="dk2" accent1="accent1" accent2="accent2" accent3="accent3" accent4="accent4" accent5="accent5" accent6="accent6" hlink="hlink" folHlink="folHlink"/>
  <p:sldLayoutIdLst>
    <p:sldLayoutId id="2147485474"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BA47236-3721-49B0-BDF8-1A1236616C3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7E3A044-9697-4D9F-ADF7-3CDA0FEC33A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093867E-48F2-4A47-BC9D-01CEFFC1F4D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3B6DBB4-6C05-4CEB-A227-E28343A8F8B8}" type="datetimeFigureOut">
              <a:rPr lang="en-US" smtClean="0"/>
              <a:t>2/17/2021</a:t>
            </a:fld>
            <a:endParaRPr lang="en-US"/>
          </a:p>
        </p:txBody>
      </p:sp>
      <p:sp>
        <p:nvSpPr>
          <p:cNvPr id="5" name="Footer Placeholder 4">
            <a:extLst>
              <a:ext uri="{FF2B5EF4-FFF2-40B4-BE49-F238E27FC236}">
                <a16:creationId xmlns:a16="http://schemas.microsoft.com/office/drawing/2014/main" id="{4DC641DA-12F4-4B01-8F7E-8E77470A0FA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A6558533-A3EB-4335-B98C-6BACA9934F1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3878CAB-2DBE-4F4D-A6E1-81E27C078E6B}" type="slidenum">
              <a:rPr lang="en-US" smtClean="0"/>
              <a:t>‹#›</a:t>
            </a:fld>
            <a:endParaRPr lang="en-US"/>
          </a:p>
        </p:txBody>
      </p:sp>
    </p:spTree>
    <p:extLst>
      <p:ext uri="{BB962C8B-B14F-4D97-AF65-F5344CB8AC3E}">
        <p14:creationId xmlns:p14="http://schemas.microsoft.com/office/powerpoint/2010/main" val="1137514488"/>
      </p:ext>
    </p:extLst>
  </p:cSld>
  <p:clrMap bg1="lt1" tx1="dk1" bg2="lt2" tx2="dk2" accent1="accent1" accent2="accent2" accent3="accent3" accent4="accent4" accent5="accent5" accent6="accent6" hlink="hlink" folHlink="folHlink"/>
  <p:sldLayoutIdLst>
    <p:sldLayoutId id="2147485477" r:id="rId1"/>
    <p:sldLayoutId id="2147485478" r:id="rId2"/>
    <p:sldLayoutId id="2147485479" r:id="rId3"/>
    <p:sldLayoutId id="2147485480" r:id="rId4"/>
    <p:sldLayoutId id="2147485481" r:id="rId5"/>
    <p:sldLayoutId id="2147485482" r:id="rId6"/>
    <p:sldLayoutId id="2147485483" r:id="rId7"/>
    <p:sldLayoutId id="2147485484" r:id="rId8"/>
    <p:sldLayoutId id="2147485485" r:id="rId9"/>
    <p:sldLayoutId id="2147485486" r:id="rId10"/>
    <p:sldLayoutId id="214748548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Right Triangle 4">
            <a:extLst>
              <a:ext uri="{FF2B5EF4-FFF2-40B4-BE49-F238E27FC236}">
                <a16:creationId xmlns:a16="http://schemas.microsoft.com/office/drawing/2014/main" id="{59D466C2-2C2C-0244-BC0A-B0A0A96E0D55}"/>
              </a:ext>
            </a:extLst>
          </p:cNvPr>
          <p:cNvSpPr/>
          <p:nvPr userDrawn="1"/>
        </p:nvSpPr>
        <p:spPr>
          <a:xfrm flipH="1">
            <a:off x="9954703" y="5109327"/>
            <a:ext cx="2237295" cy="17486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p>
        </p:txBody>
      </p:sp>
      <p:sp>
        <p:nvSpPr>
          <p:cNvPr id="14" name="Right Triangle 13">
            <a:extLst>
              <a:ext uri="{FF2B5EF4-FFF2-40B4-BE49-F238E27FC236}">
                <a16:creationId xmlns:a16="http://schemas.microsoft.com/office/drawing/2014/main" id="{DA2E08B9-7A1E-0748-8CED-32C91C36BF3B}"/>
              </a:ext>
            </a:extLst>
          </p:cNvPr>
          <p:cNvSpPr/>
          <p:nvPr userDrawn="1"/>
        </p:nvSpPr>
        <p:spPr>
          <a:xfrm flipH="1">
            <a:off x="9954702" y="5109326"/>
            <a:ext cx="2237295" cy="1748673"/>
          </a:xfrm>
          <a:prstGeom prst="rtTriangle">
            <a:avLst/>
          </a:prstGeom>
          <a:solidFill>
            <a:srgbClr val="0061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solidFill>
                <a:srgbClr val="006192"/>
              </a:solidFill>
            </a:endParaRPr>
          </a:p>
        </p:txBody>
      </p:sp>
      <p:sp>
        <p:nvSpPr>
          <p:cNvPr id="4" name="Right Triangle 3">
            <a:extLst>
              <a:ext uri="{FF2B5EF4-FFF2-40B4-BE49-F238E27FC236}">
                <a16:creationId xmlns:a16="http://schemas.microsoft.com/office/drawing/2014/main" id="{2CEC5750-CEDB-4F45-B1C9-19D413CC63CC}"/>
              </a:ext>
            </a:extLst>
          </p:cNvPr>
          <p:cNvSpPr/>
          <p:nvPr userDrawn="1"/>
        </p:nvSpPr>
        <p:spPr>
          <a:xfrm rot="10800000" flipH="1">
            <a:off x="0" y="0"/>
            <a:ext cx="2237295" cy="1748673"/>
          </a:xfrm>
          <a:prstGeom prst="rtTriangle">
            <a:avLst/>
          </a:prstGeom>
          <a:solidFill>
            <a:srgbClr val="0061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solidFill>
                <a:srgbClr val="006192"/>
              </a:solidFill>
            </a:endParaRPr>
          </a:p>
        </p:txBody>
      </p:sp>
      <p:pic>
        <p:nvPicPr>
          <p:cNvPr id="8" name="Picture 7" descr="A picture containing food, drawing&#10;&#10;Description automatically generated">
            <a:extLst>
              <a:ext uri="{FF2B5EF4-FFF2-40B4-BE49-F238E27FC236}">
                <a16:creationId xmlns:a16="http://schemas.microsoft.com/office/drawing/2014/main" id="{9A991E5E-3DF5-6244-A674-DE2BF9C3F93F}"/>
              </a:ext>
            </a:extLst>
          </p:cNvPr>
          <p:cNvPicPr>
            <a:picLocks noChangeAspect="1"/>
          </p:cNvPicPr>
          <p:nvPr userDrawn="1"/>
        </p:nvPicPr>
        <p:blipFill>
          <a:blip r:embed="rId3"/>
          <a:stretch>
            <a:fillRect/>
          </a:stretch>
        </p:blipFill>
        <p:spPr>
          <a:xfrm>
            <a:off x="5148863" y="285058"/>
            <a:ext cx="1897217" cy="480518"/>
          </a:xfrm>
          <a:prstGeom prst="rect">
            <a:avLst/>
          </a:prstGeom>
        </p:spPr>
      </p:pic>
    </p:spTree>
    <p:extLst>
      <p:ext uri="{BB962C8B-B14F-4D97-AF65-F5344CB8AC3E}">
        <p14:creationId xmlns:p14="http://schemas.microsoft.com/office/powerpoint/2010/main" val="489881935"/>
      </p:ext>
    </p:extLst>
  </p:cSld>
  <p:clrMap bg1="lt1" tx1="dk1" bg2="lt2" tx2="dk2" accent1="accent1" accent2="accent2" accent3="accent3" accent4="accent4" accent5="accent5" accent6="accent6" hlink="hlink" folHlink="folHlink"/>
  <p:sldLayoutIdLst>
    <p:sldLayoutId id="2147485490"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5F5A3F1-2463-374E-A9C2-D30399EA92E6}"/>
              </a:ext>
            </a:extLst>
          </p:cNvPr>
          <p:cNvSpPr/>
          <p:nvPr userDrawn="1"/>
        </p:nvSpPr>
        <p:spPr>
          <a:xfrm flipH="1">
            <a:off x="6096000" y="0"/>
            <a:ext cx="6095998" cy="6858000"/>
          </a:xfrm>
          <a:prstGeom prst="rect">
            <a:avLst/>
          </a:prstGeom>
          <a:solidFill>
            <a:srgbClr val="0061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dirty="0"/>
          </a:p>
        </p:txBody>
      </p:sp>
      <p:pic>
        <p:nvPicPr>
          <p:cNvPr id="5" name="Picture 4" descr="A picture containing food, drawing&#10;&#10;Description automatically generated">
            <a:extLst>
              <a:ext uri="{FF2B5EF4-FFF2-40B4-BE49-F238E27FC236}">
                <a16:creationId xmlns:a16="http://schemas.microsoft.com/office/drawing/2014/main" id="{FCEA4167-F6F1-AB47-8A18-1D7CC5992E21}"/>
              </a:ext>
            </a:extLst>
          </p:cNvPr>
          <p:cNvPicPr>
            <a:picLocks noChangeAspect="1"/>
          </p:cNvPicPr>
          <p:nvPr userDrawn="1"/>
        </p:nvPicPr>
        <p:blipFill>
          <a:blip r:embed="rId3"/>
          <a:stretch>
            <a:fillRect/>
          </a:stretch>
        </p:blipFill>
        <p:spPr>
          <a:xfrm>
            <a:off x="282223" y="285058"/>
            <a:ext cx="1897217" cy="480518"/>
          </a:xfrm>
          <a:prstGeom prst="rect">
            <a:avLst/>
          </a:prstGeom>
        </p:spPr>
      </p:pic>
    </p:spTree>
    <p:extLst>
      <p:ext uri="{BB962C8B-B14F-4D97-AF65-F5344CB8AC3E}">
        <p14:creationId xmlns:p14="http://schemas.microsoft.com/office/powerpoint/2010/main" val="1833924315"/>
      </p:ext>
    </p:extLst>
  </p:cSld>
  <p:clrMap bg1="lt1" tx1="dk1" bg2="lt2" tx2="dk2" accent1="accent1" accent2="accent2" accent3="accent3" accent4="accent4" accent5="accent5" accent6="accent6" hlink="hlink" folHlink="folHlink"/>
  <p:sldLayoutIdLst>
    <p:sldLayoutId id="2147485493"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image" Target="../media/image12.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Layout" Target="../slideLayouts/slideLayout37.xml"/><Relationship Id="rId6" Type="http://schemas.openxmlformats.org/officeDocument/2006/relationships/image" Target="../media/image9.emf"/><Relationship Id="rId5" Type="http://schemas.openxmlformats.org/officeDocument/2006/relationships/image" Target="../media/image8.emf"/><Relationship Id="rId4" Type="http://schemas.openxmlformats.org/officeDocument/2006/relationships/image" Target="../media/image7.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7.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26.xml"/><Relationship Id="rId4" Type="http://schemas.openxmlformats.org/officeDocument/2006/relationships/image" Target="../media/image2.jpeg"/></Relationships>
</file>

<file path=ppt/slides/_rels/slide6.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21" Type="http://schemas.openxmlformats.org/officeDocument/2006/relationships/tags" Target="../tags/tag21.xml"/><Relationship Id="rId63" Type="http://schemas.openxmlformats.org/officeDocument/2006/relationships/tags" Target="../tags/tag63.xml"/><Relationship Id="rId159" Type="http://schemas.openxmlformats.org/officeDocument/2006/relationships/tags" Target="../tags/tag159.xml"/><Relationship Id="rId324" Type="http://schemas.openxmlformats.org/officeDocument/2006/relationships/tags" Target="../tags/tag324.xml"/><Relationship Id="rId366" Type="http://schemas.openxmlformats.org/officeDocument/2006/relationships/tags" Target="../tags/tag366.xml"/><Relationship Id="rId170" Type="http://schemas.openxmlformats.org/officeDocument/2006/relationships/tags" Target="../tags/tag170.xml"/><Relationship Id="rId226" Type="http://schemas.openxmlformats.org/officeDocument/2006/relationships/tags" Target="../tags/tag226.xml"/><Relationship Id="rId268" Type="http://schemas.openxmlformats.org/officeDocument/2006/relationships/tags" Target="../tags/tag268.xml"/><Relationship Id="rId32" Type="http://schemas.openxmlformats.org/officeDocument/2006/relationships/tags" Target="../tags/tag32.xml"/><Relationship Id="rId74" Type="http://schemas.openxmlformats.org/officeDocument/2006/relationships/tags" Target="../tags/tag74.xml"/><Relationship Id="rId128" Type="http://schemas.openxmlformats.org/officeDocument/2006/relationships/tags" Target="../tags/tag128.xml"/><Relationship Id="rId335" Type="http://schemas.openxmlformats.org/officeDocument/2006/relationships/tags" Target="../tags/tag335.xml"/><Relationship Id="rId377" Type="http://schemas.openxmlformats.org/officeDocument/2006/relationships/tags" Target="../tags/tag377.xml"/><Relationship Id="rId5" Type="http://schemas.openxmlformats.org/officeDocument/2006/relationships/tags" Target="../tags/tag5.xml"/><Relationship Id="rId181" Type="http://schemas.openxmlformats.org/officeDocument/2006/relationships/tags" Target="../tags/tag181.xml"/><Relationship Id="rId237" Type="http://schemas.openxmlformats.org/officeDocument/2006/relationships/tags" Target="../tags/tag237.xml"/><Relationship Id="rId279" Type="http://schemas.openxmlformats.org/officeDocument/2006/relationships/tags" Target="../tags/tag279.xml"/><Relationship Id="rId43" Type="http://schemas.openxmlformats.org/officeDocument/2006/relationships/tags" Target="../tags/tag43.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46" Type="http://schemas.openxmlformats.org/officeDocument/2006/relationships/tags" Target="../tags/tag346.xml"/><Relationship Id="rId85" Type="http://schemas.openxmlformats.org/officeDocument/2006/relationships/tags" Target="../tags/tag85.xml"/><Relationship Id="rId150" Type="http://schemas.openxmlformats.org/officeDocument/2006/relationships/tags" Target="../tags/tag150.xml"/><Relationship Id="rId192" Type="http://schemas.openxmlformats.org/officeDocument/2006/relationships/tags" Target="../tags/tag192.xml"/><Relationship Id="rId206" Type="http://schemas.openxmlformats.org/officeDocument/2006/relationships/tags" Target="../tags/tag206.xml"/><Relationship Id="rId248" Type="http://schemas.openxmlformats.org/officeDocument/2006/relationships/tags" Target="../tags/tag248.xml"/><Relationship Id="rId12" Type="http://schemas.openxmlformats.org/officeDocument/2006/relationships/tags" Target="../tags/tag12.xml"/><Relationship Id="rId108" Type="http://schemas.openxmlformats.org/officeDocument/2006/relationships/tags" Target="../tags/tag108.xml"/><Relationship Id="rId315" Type="http://schemas.openxmlformats.org/officeDocument/2006/relationships/tags" Target="../tags/tag315.xml"/><Relationship Id="rId357" Type="http://schemas.openxmlformats.org/officeDocument/2006/relationships/tags" Target="../tags/tag357.xml"/><Relationship Id="rId54" Type="http://schemas.openxmlformats.org/officeDocument/2006/relationships/tags" Target="../tags/tag54.xml"/><Relationship Id="rId96" Type="http://schemas.openxmlformats.org/officeDocument/2006/relationships/tags" Target="../tags/tag96.xml"/><Relationship Id="rId161" Type="http://schemas.openxmlformats.org/officeDocument/2006/relationships/tags" Target="../tags/tag161.xml"/><Relationship Id="rId217" Type="http://schemas.openxmlformats.org/officeDocument/2006/relationships/tags" Target="../tags/tag217.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326" Type="http://schemas.openxmlformats.org/officeDocument/2006/relationships/tags" Target="../tags/tag326.xml"/><Relationship Id="rId65" Type="http://schemas.openxmlformats.org/officeDocument/2006/relationships/tags" Target="../tags/tag65.xml"/><Relationship Id="rId130" Type="http://schemas.openxmlformats.org/officeDocument/2006/relationships/tags" Target="../tags/tag130.xml"/><Relationship Id="rId368" Type="http://schemas.openxmlformats.org/officeDocument/2006/relationships/tags" Target="../tags/tag368.xml"/><Relationship Id="rId172" Type="http://schemas.openxmlformats.org/officeDocument/2006/relationships/tags" Target="../tags/tag172.xml"/><Relationship Id="rId228" Type="http://schemas.openxmlformats.org/officeDocument/2006/relationships/tags" Target="../tags/tag228.xml"/><Relationship Id="rId281" Type="http://schemas.openxmlformats.org/officeDocument/2006/relationships/tags" Target="../tags/tag281.xml"/><Relationship Id="rId337" Type="http://schemas.openxmlformats.org/officeDocument/2006/relationships/tags" Target="../tags/tag337.xml"/><Relationship Id="rId34" Type="http://schemas.openxmlformats.org/officeDocument/2006/relationships/tags" Target="../tags/tag34.xml"/><Relationship Id="rId76" Type="http://schemas.openxmlformats.org/officeDocument/2006/relationships/tags" Target="../tags/tag76.xml"/><Relationship Id="rId141" Type="http://schemas.openxmlformats.org/officeDocument/2006/relationships/tags" Target="../tags/tag141.xml"/><Relationship Id="rId379" Type="http://schemas.openxmlformats.org/officeDocument/2006/relationships/tags" Target="../tags/tag379.xml"/><Relationship Id="rId7" Type="http://schemas.openxmlformats.org/officeDocument/2006/relationships/tags" Target="../tags/tag7.xml"/><Relationship Id="rId183" Type="http://schemas.openxmlformats.org/officeDocument/2006/relationships/tags" Target="../tags/tag183.xml"/><Relationship Id="rId239" Type="http://schemas.openxmlformats.org/officeDocument/2006/relationships/tags" Target="../tags/tag239.xml"/><Relationship Id="rId250" Type="http://schemas.openxmlformats.org/officeDocument/2006/relationships/tags" Target="../tags/tag250.xml"/><Relationship Id="rId292" Type="http://schemas.openxmlformats.org/officeDocument/2006/relationships/tags" Target="../tags/tag292.xml"/><Relationship Id="rId306" Type="http://schemas.openxmlformats.org/officeDocument/2006/relationships/tags" Target="../tags/tag306.xml"/><Relationship Id="rId45" Type="http://schemas.openxmlformats.org/officeDocument/2006/relationships/tags" Target="../tags/tag45.xml"/><Relationship Id="rId87" Type="http://schemas.openxmlformats.org/officeDocument/2006/relationships/tags" Target="../tags/tag87.xml"/><Relationship Id="rId110" Type="http://schemas.openxmlformats.org/officeDocument/2006/relationships/tags" Target="../tags/tag110.xml"/><Relationship Id="rId348" Type="http://schemas.openxmlformats.org/officeDocument/2006/relationships/tags" Target="../tags/tag348.xml"/><Relationship Id="rId152" Type="http://schemas.openxmlformats.org/officeDocument/2006/relationships/tags" Target="../tags/tag152.xml"/><Relationship Id="rId194" Type="http://schemas.openxmlformats.org/officeDocument/2006/relationships/tags" Target="../tags/tag194.xml"/><Relationship Id="rId208" Type="http://schemas.openxmlformats.org/officeDocument/2006/relationships/tags" Target="../tags/tag208.xml"/><Relationship Id="rId261" Type="http://schemas.openxmlformats.org/officeDocument/2006/relationships/tags" Target="../tags/tag261.xml"/><Relationship Id="rId14" Type="http://schemas.openxmlformats.org/officeDocument/2006/relationships/tags" Target="../tags/tag14.xml"/><Relationship Id="rId56" Type="http://schemas.openxmlformats.org/officeDocument/2006/relationships/tags" Target="../tags/tag56.xml"/><Relationship Id="rId317" Type="http://schemas.openxmlformats.org/officeDocument/2006/relationships/tags" Target="../tags/tag317.xml"/><Relationship Id="rId359" Type="http://schemas.openxmlformats.org/officeDocument/2006/relationships/tags" Target="../tags/tag359.xml"/><Relationship Id="rId98" Type="http://schemas.openxmlformats.org/officeDocument/2006/relationships/tags" Target="../tags/tag98.xml"/><Relationship Id="rId121" Type="http://schemas.openxmlformats.org/officeDocument/2006/relationships/tags" Target="../tags/tag121.xml"/><Relationship Id="rId163" Type="http://schemas.openxmlformats.org/officeDocument/2006/relationships/tags" Target="../tags/tag163.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 Type="http://schemas.openxmlformats.org/officeDocument/2006/relationships/tags" Target="../tags/tag25.xml"/><Relationship Id="rId67" Type="http://schemas.openxmlformats.org/officeDocument/2006/relationships/tags" Target="../tags/tag67.xml"/><Relationship Id="rId272" Type="http://schemas.openxmlformats.org/officeDocument/2006/relationships/tags" Target="../tags/tag272.xml"/><Relationship Id="rId328" Type="http://schemas.openxmlformats.org/officeDocument/2006/relationships/tags" Target="../tags/tag328.xml"/><Relationship Id="rId132" Type="http://schemas.openxmlformats.org/officeDocument/2006/relationships/tags" Target="../tags/tag132.xml"/><Relationship Id="rId174" Type="http://schemas.openxmlformats.org/officeDocument/2006/relationships/tags" Target="../tags/tag174.xml"/><Relationship Id="rId381" Type="http://schemas.openxmlformats.org/officeDocument/2006/relationships/tags" Target="../tags/tag381.xml"/><Relationship Id="rId241" Type="http://schemas.openxmlformats.org/officeDocument/2006/relationships/tags" Target="../tags/tag241.xml"/><Relationship Id="rId36" Type="http://schemas.openxmlformats.org/officeDocument/2006/relationships/tags" Target="../tags/tag36.xml"/><Relationship Id="rId283" Type="http://schemas.openxmlformats.org/officeDocument/2006/relationships/tags" Target="../tags/tag283.xml"/><Relationship Id="rId339" Type="http://schemas.openxmlformats.org/officeDocument/2006/relationships/tags" Target="../tags/tag339.xml"/><Relationship Id="rId78" Type="http://schemas.openxmlformats.org/officeDocument/2006/relationships/tags" Target="../tags/tag78.xml"/><Relationship Id="rId101" Type="http://schemas.openxmlformats.org/officeDocument/2006/relationships/tags" Target="../tags/tag101.xml"/><Relationship Id="rId143" Type="http://schemas.openxmlformats.org/officeDocument/2006/relationships/tags" Target="../tags/tag143.xml"/><Relationship Id="rId185" Type="http://schemas.openxmlformats.org/officeDocument/2006/relationships/tags" Target="../tags/tag185.xml"/><Relationship Id="rId350" Type="http://schemas.openxmlformats.org/officeDocument/2006/relationships/tags" Target="../tags/tag350.xml"/><Relationship Id="rId9" Type="http://schemas.openxmlformats.org/officeDocument/2006/relationships/tags" Target="../tags/tag9.xml"/><Relationship Id="rId210" Type="http://schemas.openxmlformats.org/officeDocument/2006/relationships/tags" Target="../tags/tag210.xml"/><Relationship Id="rId252" Type="http://schemas.openxmlformats.org/officeDocument/2006/relationships/tags" Target="../tags/tag252.xml"/><Relationship Id="rId294" Type="http://schemas.openxmlformats.org/officeDocument/2006/relationships/tags" Target="../tags/tag294.xml"/><Relationship Id="rId308" Type="http://schemas.openxmlformats.org/officeDocument/2006/relationships/tags" Target="../tags/tag308.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382" Type="http://schemas.openxmlformats.org/officeDocument/2006/relationships/tags" Target="../tags/tag382.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383" Type="http://schemas.openxmlformats.org/officeDocument/2006/relationships/slideLayout" Target="../slideLayouts/slideLayout13.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384" Type="http://schemas.openxmlformats.org/officeDocument/2006/relationships/notesSlide" Target="../notesSlides/notesSlide4.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385" Type="http://schemas.openxmlformats.org/officeDocument/2006/relationships/customXml" Target="../ink/ink1.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386" Type="http://schemas.openxmlformats.org/officeDocument/2006/relationships/image" Target="NUL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 Id="rId303" Type="http://schemas.openxmlformats.org/officeDocument/2006/relationships/tags" Target="../tags/tag303.xml"/><Relationship Id="rId42" Type="http://schemas.openxmlformats.org/officeDocument/2006/relationships/tags" Target="../tags/tag42.xml"/><Relationship Id="rId84" Type="http://schemas.openxmlformats.org/officeDocument/2006/relationships/tags" Target="../tags/tag84.xml"/><Relationship Id="rId138" Type="http://schemas.openxmlformats.org/officeDocument/2006/relationships/tags" Target="../tags/tag138.xml"/><Relationship Id="rId345" Type="http://schemas.openxmlformats.org/officeDocument/2006/relationships/tags" Target="../tags/tag345.xml"/><Relationship Id="rId191" Type="http://schemas.openxmlformats.org/officeDocument/2006/relationships/tags" Target="../tags/tag191.xml"/><Relationship Id="rId205" Type="http://schemas.openxmlformats.org/officeDocument/2006/relationships/tags" Target="../tags/tag205.xml"/><Relationship Id="rId247" Type="http://schemas.openxmlformats.org/officeDocument/2006/relationships/tags" Target="../tags/tag247.xml"/><Relationship Id="rId107" Type="http://schemas.openxmlformats.org/officeDocument/2006/relationships/tags" Target="../tags/tag107.xml"/><Relationship Id="rId289" Type="http://schemas.openxmlformats.org/officeDocument/2006/relationships/tags" Target="../tags/tag289.xml"/><Relationship Id="rId11" Type="http://schemas.openxmlformats.org/officeDocument/2006/relationships/tags" Target="../tags/tag11.xml"/><Relationship Id="rId53" Type="http://schemas.openxmlformats.org/officeDocument/2006/relationships/tags" Target="../tags/tag53.xml"/><Relationship Id="rId149" Type="http://schemas.openxmlformats.org/officeDocument/2006/relationships/tags" Target="../tags/tag149.xml"/><Relationship Id="rId314" Type="http://schemas.openxmlformats.org/officeDocument/2006/relationships/tags" Target="../tags/tag314.xml"/><Relationship Id="rId356" Type="http://schemas.openxmlformats.org/officeDocument/2006/relationships/tags" Target="../tags/tag356.xml"/><Relationship Id="rId95" Type="http://schemas.openxmlformats.org/officeDocument/2006/relationships/tags" Target="../tags/tag95.xml"/><Relationship Id="rId160" Type="http://schemas.openxmlformats.org/officeDocument/2006/relationships/tags" Target="../tags/tag160.xml"/><Relationship Id="rId216" Type="http://schemas.openxmlformats.org/officeDocument/2006/relationships/tags" Target="../tags/tag216.xml"/><Relationship Id="rId258" Type="http://schemas.openxmlformats.org/officeDocument/2006/relationships/tags" Target="../tags/tag258.xml"/><Relationship Id="rId22" Type="http://schemas.openxmlformats.org/officeDocument/2006/relationships/tags" Target="../tags/tag22.xml"/><Relationship Id="rId64" Type="http://schemas.openxmlformats.org/officeDocument/2006/relationships/tags" Target="../tags/tag64.xml"/><Relationship Id="rId118" Type="http://schemas.openxmlformats.org/officeDocument/2006/relationships/tags" Target="../tags/tag118.xml"/><Relationship Id="rId325" Type="http://schemas.openxmlformats.org/officeDocument/2006/relationships/tags" Target="../tags/tag325.xml"/><Relationship Id="rId367" Type="http://schemas.openxmlformats.org/officeDocument/2006/relationships/tags" Target="../tags/tag367.xml"/><Relationship Id="rId171" Type="http://schemas.openxmlformats.org/officeDocument/2006/relationships/tags" Target="../tags/tag171.xml"/><Relationship Id="rId227" Type="http://schemas.openxmlformats.org/officeDocument/2006/relationships/tags" Target="../tags/tag227.xml"/><Relationship Id="rId269" Type="http://schemas.openxmlformats.org/officeDocument/2006/relationships/tags" Target="../tags/tag269.xml"/><Relationship Id="rId33" Type="http://schemas.openxmlformats.org/officeDocument/2006/relationships/tags" Target="../tags/tag33.xml"/><Relationship Id="rId129" Type="http://schemas.openxmlformats.org/officeDocument/2006/relationships/tags" Target="../tags/tag129.xml"/><Relationship Id="rId280" Type="http://schemas.openxmlformats.org/officeDocument/2006/relationships/tags" Target="../tags/tag280.xml"/><Relationship Id="rId336" Type="http://schemas.openxmlformats.org/officeDocument/2006/relationships/tags" Target="../tags/tag336.xml"/><Relationship Id="rId75" Type="http://schemas.openxmlformats.org/officeDocument/2006/relationships/tags" Target="../tags/tag75.xml"/><Relationship Id="rId140" Type="http://schemas.openxmlformats.org/officeDocument/2006/relationships/tags" Target="../tags/tag140.xml"/><Relationship Id="rId182" Type="http://schemas.openxmlformats.org/officeDocument/2006/relationships/tags" Target="../tags/tag182.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91" Type="http://schemas.openxmlformats.org/officeDocument/2006/relationships/tags" Target="../tags/tag291.xml"/><Relationship Id="rId305" Type="http://schemas.openxmlformats.org/officeDocument/2006/relationships/tags" Target="../tags/tag305.xml"/><Relationship Id="rId347" Type="http://schemas.openxmlformats.org/officeDocument/2006/relationships/tags" Target="../tags/tag347.xml"/><Relationship Id="rId44" Type="http://schemas.openxmlformats.org/officeDocument/2006/relationships/tags" Target="../tags/tag44.xml"/><Relationship Id="rId86" Type="http://schemas.openxmlformats.org/officeDocument/2006/relationships/tags" Target="../tags/tag86.xml"/><Relationship Id="rId151" Type="http://schemas.openxmlformats.org/officeDocument/2006/relationships/tags" Target="../tags/tag151.xml"/><Relationship Id="rId193" Type="http://schemas.openxmlformats.org/officeDocument/2006/relationships/tags" Target="../tags/tag193.xml"/><Relationship Id="rId207" Type="http://schemas.openxmlformats.org/officeDocument/2006/relationships/tags" Target="../tags/tag207.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316" Type="http://schemas.openxmlformats.org/officeDocument/2006/relationships/tags" Target="../tags/tag316.xml"/><Relationship Id="rId55" Type="http://schemas.openxmlformats.org/officeDocument/2006/relationships/tags" Target="../tags/tag55.xml"/><Relationship Id="rId97" Type="http://schemas.openxmlformats.org/officeDocument/2006/relationships/tags" Target="../tags/tag97.xml"/><Relationship Id="rId120" Type="http://schemas.openxmlformats.org/officeDocument/2006/relationships/tags" Target="../tags/tag120.xml"/><Relationship Id="rId358" Type="http://schemas.openxmlformats.org/officeDocument/2006/relationships/tags" Target="../tags/tag358.xml"/><Relationship Id="rId162" Type="http://schemas.openxmlformats.org/officeDocument/2006/relationships/tags" Target="../tags/tag162.xml"/><Relationship Id="rId218" Type="http://schemas.openxmlformats.org/officeDocument/2006/relationships/tags" Target="../tags/tag218.xml"/><Relationship Id="rId271" Type="http://schemas.openxmlformats.org/officeDocument/2006/relationships/tags" Target="../tags/tag271.xml"/><Relationship Id="rId24" Type="http://schemas.openxmlformats.org/officeDocument/2006/relationships/tags" Target="../tags/tag24.xml"/><Relationship Id="rId66" Type="http://schemas.openxmlformats.org/officeDocument/2006/relationships/tags" Target="../tags/tag66.xml"/><Relationship Id="rId131" Type="http://schemas.openxmlformats.org/officeDocument/2006/relationships/tags" Target="../tags/tag131.xml"/><Relationship Id="rId327" Type="http://schemas.openxmlformats.org/officeDocument/2006/relationships/tags" Target="../tags/tag327.xml"/><Relationship Id="rId369" Type="http://schemas.openxmlformats.org/officeDocument/2006/relationships/tags" Target="../tags/tag369.xml"/><Relationship Id="rId173" Type="http://schemas.openxmlformats.org/officeDocument/2006/relationships/tags" Target="../tags/tag173.xml"/><Relationship Id="rId229" Type="http://schemas.openxmlformats.org/officeDocument/2006/relationships/tags" Target="../tags/tag229.xml"/><Relationship Id="rId380" Type="http://schemas.openxmlformats.org/officeDocument/2006/relationships/tags" Target="../tags/tag380.xml"/><Relationship Id="rId240" Type="http://schemas.openxmlformats.org/officeDocument/2006/relationships/tags" Target="../tags/tag240.xml"/><Relationship Id="rId35" Type="http://schemas.openxmlformats.org/officeDocument/2006/relationships/tags" Target="../tags/tag35.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38" Type="http://schemas.openxmlformats.org/officeDocument/2006/relationships/tags" Target="../tags/tag338.xml"/><Relationship Id="rId8" Type="http://schemas.openxmlformats.org/officeDocument/2006/relationships/tags" Target="../tags/tag8.xml"/><Relationship Id="rId142" Type="http://schemas.openxmlformats.org/officeDocument/2006/relationships/tags" Target="../tags/tag142.xml"/><Relationship Id="rId184" Type="http://schemas.openxmlformats.org/officeDocument/2006/relationships/tags" Target="../tags/tag184.xml"/><Relationship Id="rId251" Type="http://schemas.openxmlformats.org/officeDocument/2006/relationships/tags" Target="../tags/tag251.xml"/><Relationship Id="rId46" Type="http://schemas.openxmlformats.org/officeDocument/2006/relationships/tags" Target="../tags/tag46.xml"/><Relationship Id="rId293" Type="http://schemas.openxmlformats.org/officeDocument/2006/relationships/tags" Target="../tags/tag293.xml"/><Relationship Id="rId307" Type="http://schemas.openxmlformats.org/officeDocument/2006/relationships/tags" Target="../tags/tag307.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53" Type="http://schemas.openxmlformats.org/officeDocument/2006/relationships/tags" Target="../tags/tag153.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220" Type="http://schemas.openxmlformats.org/officeDocument/2006/relationships/tags" Target="../tags/tag220.xml"/><Relationship Id="rId15" Type="http://schemas.openxmlformats.org/officeDocument/2006/relationships/tags" Target="../tags/tag15.xml"/><Relationship Id="rId57" Type="http://schemas.openxmlformats.org/officeDocument/2006/relationships/tags" Target="../tags/tag57.xml"/><Relationship Id="rId262" Type="http://schemas.openxmlformats.org/officeDocument/2006/relationships/tags" Target="../tags/tag262.xml"/><Relationship Id="rId318" Type="http://schemas.openxmlformats.org/officeDocument/2006/relationships/tags" Target="../tags/tag318.xml"/><Relationship Id="rId99" Type="http://schemas.openxmlformats.org/officeDocument/2006/relationships/tags" Target="../tags/tag99.xml"/><Relationship Id="rId122" Type="http://schemas.openxmlformats.org/officeDocument/2006/relationships/tags" Target="../tags/tag122.xml"/><Relationship Id="rId164" Type="http://schemas.openxmlformats.org/officeDocument/2006/relationships/tags" Target="../tags/tag164.xml"/><Relationship Id="rId371" Type="http://schemas.openxmlformats.org/officeDocument/2006/relationships/tags" Target="../tags/tag371.xml"/><Relationship Id="rId26" Type="http://schemas.openxmlformats.org/officeDocument/2006/relationships/tags" Target="../tags/tag26.xml"/><Relationship Id="rId231" Type="http://schemas.openxmlformats.org/officeDocument/2006/relationships/tags" Target="../tags/tag231.xml"/><Relationship Id="rId273" Type="http://schemas.openxmlformats.org/officeDocument/2006/relationships/tags" Target="../tags/tag273.xml"/><Relationship Id="rId329" Type="http://schemas.openxmlformats.org/officeDocument/2006/relationships/tags" Target="../tags/tag329.xml"/></Relationships>
</file>

<file path=ppt/slides/_rels/slide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E686C7E6-E5C0-0144-88BB-57266D6D9938}"/>
              </a:ext>
            </a:extLst>
          </p:cNvPr>
          <p:cNvSpPr txBox="1"/>
          <p:nvPr/>
        </p:nvSpPr>
        <p:spPr>
          <a:xfrm>
            <a:off x="0" y="5120592"/>
            <a:ext cx="12191999"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tab pos="2351088" algn="l"/>
              </a:tabLst>
              <a:defRPr/>
            </a:pPr>
            <a:r>
              <a:rPr kumimoji="0" lang="en-US" sz="24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Monday, 22 FEBRUARY 2021 </a:t>
            </a:r>
            <a:r>
              <a:rPr kumimoji="0" lang="en-US" sz="24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a:t>
            </a:r>
            <a:r>
              <a:rPr lang="en-GB" sz="2400" b="1" dirty="0">
                <a:solidFill>
                  <a:prstClr val="black"/>
                </a:solidFill>
                <a:latin typeface="Calibri" panose="020F0502020204030204" pitchFamily="34" charset="0"/>
                <a:ea typeface="+mn-ea"/>
                <a:cs typeface="Calibri" panose="020F0502020204030204" pitchFamily="34" charset="0"/>
              </a:rPr>
              <a:t>13:00 -14:15 GST </a:t>
            </a: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9" name="TextBox 18">
            <a:extLst>
              <a:ext uri="{FF2B5EF4-FFF2-40B4-BE49-F238E27FC236}">
                <a16:creationId xmlns:a16="http://schemas.microsoft.com/office/drawing/2014/main" id="{2E31E1B2-1DFE-EA43-BC47-C9EC340B59C7}"/>
              </a:ext>
            </a:extLst>
          </p:cNvPr>
          <p:cNvSpPr txBox="1"/>
          <p:nvPr/>
        </p:nvSpPr>
        <p:spPr>
          <a:xfrm>
            <a:off x="-11708" y="2233957"/>
            <a:ext cx="12191999" cy="10772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Renewables </a:t>
            </a:r>
            <a:r>
              <a:rPr kumimoji="0" lang="en-GB" sz="32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Readiness Assessmen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3200" b="1" dirty="0">
                <a:solidFill>
                  <a:prstClr val="black"/>
                </a:solidFill>
                <a:latin typeface="Calibri" panose="020F0502020204030204" pitchFamily="34" charset="0"/>
                <a:ea typeface="Verdana" panose="020B0604030504040204" pitchFamily="34" charset="0"/>
                <a:cs typeface="Calibri" panose="020F0502020204030204" pitchFamily="34" charset="0"/>
              </a:rPr>
              <a:t>    The Hashemite Kingdom of Jordan	</a:t>
            </a:r>
            <a:endParaRPr kumimoji="0" lang="en-GB" sz="32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cxnSp>
        <p:nvCxnSpPr>
          <p:cNvPr id="8" name="Straight Connector 7">
            <a:extLst>
              <a:ext uri="{FF2B5EF4-FFF2-40B4-BE49-F238E27FC236}">
                <a16:creationId xmlns:a16="http://schemas.microsoft.com/office/drawing/2014/main" id="{1BE38D30-7DF8-1846-A175-6B7E1643A966}"/>
              </a:ext>
            </a:extLst>
          </p:cNvPr>
          <p:cNvCxnSpPr>
            <a:cxnSpLocks/>
          </p:cNvCxnSpPr>
          <p:nvPr/>
        </p:nvCxnSpPr>
        <p:spPr>
          <a:xfrm>
            <a:off x="1065530" y="3804920"/>
            <a:ext cx="10060940" cy="0"/>
          </a:xfrm>
          <a:prstGeom prst="line">
            <a:avLst/>
          </a:prstGeom>
          <a:ln w="47625">
            <a:solidFill>
              <a:srgbClr val="006192"/>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F73678D0-8DC9-904B-913E-EB884253426D}"/>
              </a:ext>
            </a:extLst>
          </p:cNvPr>
          <p:cNvSpPr txBox="1"/>
          <p:nvPr/>
        </p:nvSpPr>
        <p:spPr>
          <a:xfrm>
            <a:off x="0" y="1591511"/>
            <a:ext cx="12191999"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Virtual Launch Event</a:t>
            </a:r>
          </a:p>
        </p:txBody>
      </p:sp>
    </p:spTree>
    <p:extLst>
      <p:ext uri="{BB962C8B-B14F-4D97-AF65-F5344CB8AC3E}">
        <p14:creationId xmlns:p14="http://schemas.microsoft.com/office/powerpoint/2010/main" val="8168731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FFD2503C-FCCD-4853-ABC9-E4A34FECF50C}"/>
              </a:ext>
            </a:extLst>
          </p:cNvPr>
          <p:cNvSpPr>
            <a:spLocks noGrp="1"/>
          </p:cNvSpPr>
          <p:nvPr>
            <p:ph type="body" idx="1"/>
          </p:nvPr>
        </p:nvSpPr>
        <p:spPr/>
        <p:txBody>
          <a:bodyPr/>
          <a:lstStyle/>
          <a:p>
            <a:pPr eaLnBrk="1" hangingPunct="1">
              <a:lnSpc>
                <a:spcPct val="90000"/>
              </a:lnSpc>
              <a:spcBef>
                <a:spcPct val="0"/>
              </a:spcBef>
            </a:pPr>
            <a:r>
              <a:rPr lang="en-US" sz="3200" b="1" dirty="0">
                <a:solidFill>
                  <a:srgbClr val="196790"/>
                </a:solidFill>
                <a:latin typeface="+mj-lt"/>
                <a:ea typeface="+mj-ea"/>
                <a:cs typeface="+mj-cs"/>
              </a:rPr>
              <a:t>Renewables Readiness Assessment</a:t>
            </a:r>
          </a:p>
        </p:txBody>
      </p:sp>
      <p:sp>
        <p:nvSpPr>
          <p:cNvPr id="4" name="Slide Number Placeholder 3">
            <a:extLst>
              <a:ext uri="{FF2B5EF4-FFF2-40B4-BE49-F238E27FC236}">
                <a16:creationId xmlns:a16="http://schemas.microsoft.com/office/drawing/2014/main" id="{1EDBEB15-DEBA-4429-B99F-E9FF6C591EFC}"/>
              </a:ext>
            </a:extLst>
          </p:cNvPr>
          <p:cNvSpPr>
            <a:spLocks noGrp="1"/>
          </p:cNvSpPr>
          <p:nvPr>
            <p:ph type="sldNum" sz="quarter" idx="12"/>
          </p:nvPr>
        </p:nvSpPr>
        <p:spPr/>
        <p:txBody>
          <a:bodyPr/>
          <a:lstStyle/>
          <a:p>
            <a:pPr>
              <a:defRPr/>
            </a:pPr>
            <a:fld id="{93973694-2C9A-448D-B3C7-A443C13B92D6}" type="slidenum">
              <a:rPr lang="de-DE" altLang="en-US" smtClean="0"/>
              <a:pPr>
                <a:defRPr/>
              </a:pPr>
              <a:t>10</a:t>
            </a:fld>
            <a:endParaRPr lang="de-DE" altLang="en-US"/>
          </a:p>
        </p:txBody>
      </p:sp>
      <p:sp>
        <p:nvSpPr>
          <p:cNvPr id="14" name="Text Placeholder 4">
            <a:extLst>
              <a:ext uri="{FF2B5EF4-FFF2-40B4-BE49-F238E27FC236}">
                <a16:creationId xmlns:a16="http://schemas.microsoft.com/office/drawing/2014/main" id="{22DA1D89-43AF-47DE-AE78-B0E344753B82}"/>
              </a:ext>
            </a:extLst>
          </p:cNvPr>
          <p:cNvSpPr txBox="1">
            <a:spLocks/>
          </p:cNvSpPr>
          <p:nvPr/>
        </p:nvSpPr>
        <p:spPr bwMode="auto">
          <a:xfrm>
            <a:off x="886884" y="3284984"/>
            <a:ext cx="10515600" cy="150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lvl1pPr marL="0" indent="0" algn="l" rtl="0" eaLnBrk="0" fontAlgn="base" hangingPunct="0">
              <a:spcBef>
                <a:spcPct val="20000"/>
              </a:spcBef>
              <a:spcAft>
                <a:spcPct val="0"/>
              </a:spcAft>
              <a:buFont typeface="Arial" panose="020B0604020202020204" pitchFamily="34" charset="0"/>
              <a:buNone/>
              <a:defRPr sz="2000" kern="1200">
                <a:solidFill>
                  <a:schemeClr val="tx1">
                    <a:tint val="75000"/>
                  </a:schemeClr>
                </a:solidFill>
                <a:latin typeface="+mn-lt"/>
                <a:ea typeface="+mn-ea"/>
                <a:cs typeface="+mn-cs"/>
              </a:defRPr>
            </a:lvl1pPr>
            <a:lvl2pPr marL="457200" indent="0" algn="l" rtl="0" eaLnBrk="0" fontAlgn="base" hangingPunct="0">
              <a:spcBef>
                <a:spcPct val="20000"/>
              </a:spcBef>
              <a:spcAft>
                <a:spcPct val="0"/>
              </a:spcAft>
              <a:buFont typeface="Arial" panose="020B0604020202020204" pitchFamily="34" charset="0"/>
              <a:buNone/>
              <a:defRPr sz="1800" kern="1200">
                <a:solidFill>
                  <a:schemeClr val="tx1">
                    <a:tint val="75000"/>
                  </a:schemeClr>
                </a:solidFill>
                <a:latin typeface="+mn-lt"/>
                <a:ea typeface="+mn-ea"/>
                <a:cs typeface="+mn-cs"/>
              </a:defRPr>
            </a:lvl2pPr>
            <a:lvl3pPr marL="914400" indent="0" algn="l" rtl="0" eaLnBrk="0" fontAlgn="base" hangingPunct="0">
              <a:spcBef>
                <a:spcPct val="20000"/>
              </a:spcBef>
              <a:spcAft>
                <a:spcPct val="0"/>
              </a:spcAft>
              <a:buFont typeface="Arial" panose="020B0604020202020204" pitchFamily="34" charset="0"/>
              <a:buNone/>
              <a:defRPr sz="1600" kern="1200">
                <a:solidFill>
                  <a:schemeClr val="tx1">
                    <a:tint val="75000"/>
                  </a:schemeClr>
                </a:solidFill>
                <a:latin typeface="+mn-lt"/>
                <a:ea typeface="+mn-ea"/>
                <a:cs typeface="+mn-cs"/>
              </a:defRPr>
            </a:lvl3pPr>
            <a:lvl4pPr marL="1371600" indent="0" algn="l" rtl="0" eaLnBrk="0" fontAlgn="base" hangingPunct="0">
              <a:spcBef>
                <a:spcPct val="20000"/>
              </a:spcBef>
              <a:spcAft>
                <a:spcPct val="0"/>
              </a:spcAft>
              <a:buFont typeface="Arial" panose="020B0604020202020204" pitchFamily="34" charset="0"/>
              <a:buNone/>
              <a:defRPr sz="1400" kern="1200">
                <a:solidFill>
                  <a:schemeClr val="tx1">
                    <a:tint val="75000"/>
                  </a:schemeClr>
                </a:solidFill>
                <a:latin typeface="+mn-lt"/>
                <a:ea typeface="+mn-ea"/>
                <a:cs typeface="+mn-cs"/>
              </a:defRPr>
            </a:lvl4pPr>
            <a:lvl5pPr marL="1828800" indent="0" algn="l" rtl="0" eaLnBrk="0" fontAlgn="base" hangingPunct="0">
              <a:spcBef>
                <a:spcPct val="20000"/>
              </a:spcBef>
              <a:spcAft>
                <a:spcPct val="0"/>
              </a:spcAft>
              <a:buFont typeface="Arial" panose="020B0604020202020204" pitchFamily="34" charset="0"/>
              <a:buNone/>
              <a:defRPr sz="1400" kern="1200">
                <a:solidFill>
                  <a:schemeClr val="tx1">
                    <a:tint val="75000"/>
                  </a:schemeClr>
                </a:solidFill>
                <a:latin typeface="+mn-lt"/>
                <a:ea typeface="+mn-ea"/>
                <a:cs typeface="+mn-cs"/>
              </a:defRPr>
            </a:lvl5pPr>
            <a:lvl6pPr marL="22860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6pPr>
            <a:lvl7pPr marL="27432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7pPr>
            <a:lvl8pPr marL="32004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8pPr>
            <a:lvl9pPr marL="36576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9pPr>
          </a:lstStyle>
          <a:p>
            <a:r>
              <a:rPr lang="en-US" dirty="0"/>
              <a:t>Key Findings and Recommendations</a:t>
            </a:r>
          </a:p>
        </p:txBody>
      </p:sp>
      <p:sp>
        <p:nvSpPr>
          <p:cNvPr id="2" name="Rectangle 1">
            <a:extLst>
              <a:ext uri="{FF2B5EF4-FFF2-40B4-BE49-F238E27FC236}">
                <a16:creationId xmlns:a16="http://schemas.microsoft.com/office/drawing/2014/main" id="{6B4A9965-24FA-4C00-9997-1EC3968B8894}"/>
              </a:ext>
            </a:extLst>
          </p:cNvPr>
          <p:cNvSpPr/>
          <p:nvPr/>
        </p:nvSpPr>
        <p:spPr>
          <a:xfrm>
            <a:off x="0" y="0"/>
            <a:ext cx="12192000" cy="17008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j-lt"/>
              <a:ea typeface="Tahoma" pitchFamily="34" charset="0"/>
              <a:cs typeface="Tahoma" pitchFamily="34" charset="0"/>
            </a:endParaRPr>
          </a:p>
        </p:txBody>
      </p:sp>
      <p:pic>
        <p:nvPicPr>
          <p:cNvPr id="6" name="Picture 5">
            <a:extLst>
              <a:ext uri="{FF2B5EF4-FFF2-40B4-BE49-F238E27FC236}">
                <a16:creationId xmlns:a16="http://schemas.microsoft.com/office/drawing/2014/main" id="{F718E5B8-B3F2-4944-816F-5052D88C2ED3}"/>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491728" y="347167"/>
            <a:ext cx="19875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061797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a:extLst>
              <a:ext uri="{FF2B5EF4-FFF2-40B4-BE49-F238E27FC236}">
                <a16:creationId xmlns:a16="http://schemas.microsoft.com/office/drawing/2014/main" id="{1ACAF34C-B500-44CE-8C24-36046EAAC1C9}"/>
              </a:ext>
            </a:extLst>
          </p:cNvPr>
          <p:cNvSpPr>
            <a:spLocks noGrp="1" noChangeArrowheads="1"/>
          </p:cNvSpPr>
          <p:nvPr>
            <p:ph type="title"/>
          </p:nvPr>
        </p:nvSpPr>
        <p:spPr>
          <a:xfrm>
            <a:off x="592262" y="316229"/>
            <a:ext cx="11229975" cy="484188"/>
          </a:xfrm>
        </p:spPr>
        <p:txBody>
          <a:bodyPr/>
          <a:lstStyle/>
          <a:p>
            <a:r>
              <a:rPr lang="en-US" altLang="en-US" dirty="0">
                <a:latin typeface="ITC Avant Garde Gothic" charset="0"/>
              </a:rPr>
              <a:t>RRA key findings and recommendations</a:t>
            </a:r>
          </a:p>
        </p:txBody>
      </p:sp>
      <p:sp>
        <p:nvSpPr>
          <p:cNvPr id="13315" name="Slide Number Placeholder 2">
            <a:extLst>
              <a:ext uri="{FF2B5EF4-FFF2-40B4-BE49-F238E27FC236}">
                <a16:creationId xmlns:a16="http://schemas.microsoft.com/office/drawing/2014/main" id="{1825075E-F59E-4EAD-8FD9-FB785800F259}"/>
              </a:ext>
            </a:extLst>
          </p:cNvPr>
          <p:cNvSpPr>
            <a:spLocks noGrp="1" noChangeArrowheads="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C856F700-088D-49C3-9843-80035723A616}" type="slidenum">
              <a:rPr lang="de-DE" altLang="en-US" smtClean="0"/>
              <a:pPr/>
              <a:t>11</a:t>
            </a:fld>
            <a:endParaRPr lang="de-DE" altLang="en-US"/>
          </a:p>
        </p:txBody>
      </p:sp>
      <p:sp>
        <p:nvSpPr>
          <p:cNvPr id="2" name="TextBox 1">
            <a:extLst>
              <a:ext uri="{FF2B5EF4-FFF2-40B4-BE49-F238E27FC236}">
                <a16:creationId xmlns:a16="http://schemas.microsoft.com/office/drawing/2014/main" id="{D8834D7B-0F19-41A4-B397-E089D5993FC3}"/>
              </a:ext>
            </a:extLst>
          </p:cNvPr>
          <p:cNvSpPr txBox="1"/>
          <p:nvPr/>
        </p:nvSpPr>
        <p:spPr>
          <a:xfrm>
            <a:off x="442407" y="1088856"/>
            <a:ext cx="11229975" cy="830997"/>
          </a:xfrm>
          <a:prstGeom prst="rect">
            <a:avLst/>
          </a:prstGeom>
          <a:noFill/>
        </p:spPr>
        <p:txBody>
          <a:bodyPr wrap="square" rtlCol="0">
            <a:spAutoFit/>
          </a:bodyPr>
          <a:lstStyle/>
          <a:p>
            <a:pPr algn="just"/>
            <a:r>
              <a:rPr lang="en-US" dirty="0"/>
              <a:t>Key recommendations are found in seven key thematic areas that address bottlenecks for renewables applications in the power sector, for heating/cooling in buildings and industry, and transport, renewable energy investments and local industry development. </a:t>
            </a:r>
          </a:p>
        </p:txBody>
      </p:sp>
      <p:sp>
        <p:nvSpPr>
          <p:cNvPr id="5" name="TextBox 4">
            <a:extLst>
              <a:ext uri="{FF2B5EF4-FFF2-40B4-BE49-F238E27FC236}">
                <a16:creationId xmlns:a16="http://schemas.microsoft.com/office/drawing/2014/main" id="{2479C175-B1AE-4C6F-85FA-C3D184CB3D30}"/>
              </a:ext>
            </a:extLst>
          </p:cNvPr>
          <p:cNvSpPr txBox="1"/>
          <p:nvPr/>
        </p:nvSpPr>
        <p:spPr>
          <a:xfrm>
            <a:off x="5623710" y="2447660"/>
            <a:ext cx="6048672" cy="3293209"/>
          </a:xfrm>
          <a:prstGeom prst="rect">
            <a:avLst/>
          </a:prstGeom>
          <a:noFill/>
        </p:spPr>
        <p:txBody>
          <a:bodyPr wrap="square" rtlCol="0">
            <a:spAutoFit/>
          </a:bodyPr>
          <a:lstStyle/>
          <a:p>
            <a:pPr marL="285750" indent="-285750" algn="just">
              <a:buSzPct val="80000"/>
              <a:buFont typeface="Wingdings" panose="05000000000000000000" pitchFamily="2" charset="2"/>
              <a:buChar char="§"/>
            </a:pPr>
            <a:r>
              <a:rPr lang="en-US" dirty="0"/>
              <a:t>Within the seven key thematic areas, 13 recommended actions were identified. </a:t>
            </a:r>
          </a:p>
          <a:p>
            <a:pPr marL="285750" indent="-285750" algn="just">
              <a:buSzPct val="80000"/>
              <a:buFont typeface="Wingdings" panose="05000000000000000000" pitchFamily="2" charset="2"/>
              <a:buChar char="§"/>
            </a:pPr>
            <a:endParaRPr lang="en-US" dirty="0"/>
          </a:p>
          <a:p>
            <a:pPr marL="285750" indent="-285750" algn="just">
              <a:buSzPct val="80000"/>
              <a:buFont typeface="Wingdings" panose="05000000000000000000" pitchFamily="2" charset="2"/>
              <a:buChar char="§"/>
            </a:pPr>
            <a:r>
              <a:rPr lang="en-US" dirty="0"/>
              <a:t>Collective outcome for renewables to reach a higher share of Jordan’s energy mix while improving energy security and reduce cost of supply.</a:t>
            </a:r>
          </a:p>
          <a:p>
            <a:pPr marL="285750" indent="-285750" algn="just">
              <a:buSzPct val="80000"/>
              <a:buFont typeface="Wingdings" panose="05000000000000000000" pitchFamily="2" charset="2"/>
              <a:buChar char="§"/>
            </a:pPr>
            <a:endParaRPr lang="en-US" dirty="0"/>
          </a:p>
          <a:p>
            <a:pPr marL="285750" indent="-285750" algn="just">
              <a:buSzPct val="80000"/>
              <a:buFont typeface="Wingdings" panose="05000000000000000000" pitchFamily="2" charset="2"/>
              <a:buChar char="§"/>
            </a:pPr>
            <a:r>
              <a:rPr lang="en-US" dirty="0"/>
              <a:t>Recommendations are in line with the outcomes of the National Energy Strategy 2020-2030.</a:t>
            </a:r>
          </a:p>
          <a:p>
            <a:pPr marL="285750" indent="-285750" algn="just">
              <a:buSzPct val="80000"/>
              <a:buFont typeface="Wingdings" panose="05000000000000000000" pitchFamily="2" charset="2"/>
              <a:buChar char="§"/>
            </a:pPr>
            <a:endParaRPr lang="en-US" dirty="0"/>
          </a:p>
          <a:p>
            <a:pPr marL="285750" indent="-285750" algn="just">
              <a:buSzPct val="80000"/>
              <a:buFont typeface="Wingdings" panose="05000000000000000000" pitchFamily="2" charset="2"/>
              <a:buChar char="§"/>
            </a:pPr>
            <a:r>
              <a:rPr lang="en-US" dirty="0"/>
              <a:t>Serve as input document in preparing the LTS and the NDC revision process. </a:t>
            </a:r>
          </a:p>
          <a:p>
            <a:endParaRPr lang="en-US" dirty="0"/>
          </a:p>
        </p:txBody>
      </p:sp>
      <p:pic>
        <p:nvPicPr>
          <p:cNvPr id="6" name="Picture 5">
            <a:extLst>
              <a:ext uri="{FF2B5EF4-FFF2-40B4-BE49-F238E27FC236}">
                <a16:creationId xmlns:a16="http://schemas.microsoft.com/office/drawing/2014/main" id="{3DD38443-8126-4370-B3F5-78D068FAA586}"/>
              </a:ext>
            </a:extLst>
          </p:cNvPr>
          <p:cNvPicPr>
            <a:picLocks noChangeAspect="1"/>
          </p:cNvPicPr>
          <p:nvPr/>
        </p:nvPicPr>
        <p:blipFill>
          <a:blip r:embed="rId3">
            <a:clrChange>
              <a:clrFrom>
                <a:srgbClr val="F1F0F1"/>
              </a:clrFrom>
              <a:clrTo>
                <a:srgbClr val="F1F0F1">
                  <a:alpha val="0"/>
                </a:srgbClr>
              </a:clrTo>
            </a:clrChange>
          </a:blip>
          <a:stretch>
            <a:fillRect/>
          </a:stretch>
        </p:blipFill>
        <p:spPr>
          <a:xfrm>
            <a:off x="-312712" y="2183916"/>
            <a:ext cx="6048672" cy="4095766"/>
          </a:xfrm>
          <a:prstGeom prst="rect">
            <a:avLst/>
          </a:prstGeom>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CC304D2C-32A4-4214-97AF-467F096E5D1C}"/>
              </a:ext>
            </a:extLst>
          </p:cNvPr>
          <p:cNvGrpSpPr/>
          <p:nvPr/>
        </p:nvGrpSpPr>
        <p:grpSpPr>
          <a:xfrm>
            <a:off x="841835" y="1268760"/>
            <a:ext cx="10582757" cy="594181"/>
            <a:chOff x="841835" y="1538675"/>
            <a:chExt cx="10582757" cy="594181"/>
          </a:xfrm>
        </p:grpSpPr>
        <p:sp>
          <p:nvSpPr>
            <p:cNvPr id="62" name="Flowchart: Connector 61">
              <a:extLst>
                <a:ext uri="{FF2B5EF4-FFF2-40B4-BE49-F238E27FC236}">
                  <a16:creationId xmlns:a16="http://schemas.microsoft.com/office/drawing/2014/main" id="{7E5799C0-3FA1-442D-ADFB-D00E040A8DB5}"/>
                </a:ext>
              </a:extLst>
            </p:cNvPr>
            <p:cNvSpPr/>
            <p:nvPr/>
          </p:nvSpPr>
          <p:spPr>
            <a:xfrm>
              <a:off x="10749251" y="1551720"/>
              <a:ext cx="675341" cy="578245"/>
            </a:xfrm>
            <a:prstGeom prst="flowChartConnector">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j-lt"/>
                <a:ea typeface="Tahoma" pitchFamily="34" charset="0"/>
                <a:cs typeface="Tahoma" pitchFamily="34" charset="0"/>
              </a:endParaRPr>
            </a:p>
          </p:txBody>
        </p:sp>
        <p:sp>
          <p:nvSpPr>
            <p:cNvPr id="61" name="Flowchart: Connector 60">
              <a:extLst>
                <a:ext uri="{FF2B5EF4-FFF2-40B4-BE49-F238E27FC236}">
                  <a16:creationId xmlns:a16="http://schemas.microsoft.com/office/drawing/2014/main" id="{7C73FCEE-386D-4242-9F86-BBDFCBBB7083}"/>
                </a:ext>
              </a:extLst>
            </p:cNvPr>
            <p:cNvSpPr/>
            <p:nvPr/>
          </p:nvSpPr>
          <p:spPr>
            <a:xfrm>
              <a:off x="9093067" y="1551720"/>
              <a:ext cx="675341" cy="578245"/>
            </a:xfrm>
            <a:prstGeom prst="flowChartConnector">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j-lt"/>
                <a:ea typeface="Tahoma" pitchFamily="34" charset="0"/>
                <a:cs typeface="Tahoma" pitchFamily="34" charset="0"/>
              </a:endParaRPr>
            </a:p>
          </p:txBody>
        </p:sp>
        <p:sp>
          <p:nvSpPr>
            <p:cNvPr id="59" name="Flowchart: Connector 58">
              <a:extLst>
                <a:ext uri="{FF2B5EF4-FFF2-40B4-BE49-F238E27FC236}">
                  <a16:creationId xmlns:a16="http://schemas.microsoft.com/office/drawing/2014/main" id="{E9CA1DEB-827C-4CF1-A9CB-D97D31A07E07}"/>
                </a:ext>
              </a:extLst>
            </p:cNvPr>
            <p:cNvSpPr/>
            <p:nvPr/>
          </p:nvSpPr>
          <p:spPr>
            <a:xfrm>
              <a:off x="7392144" y="1551720"/>
              <a:ext cx="675341" cy="578245"/>
            </a:xfrm>
            <a:prstGeom prst="flowChartConnector">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j-lt"/>
                <a:ea typeface="Tahoma" pitchFamily="34" charset="0"/>
                <a:cs typeface="Tahoma" pitchFamily="34" charset="0"/>
              </a:endParaRPr>
            </a:p>
          </p:txBody>
        </p:sp>
        <p:sp>
          <p:nvSpPr>
            <p:cNvPr id="54" name="Flowchart: Connector 53">
              <a:extLst>
                <a:ext uri="{FF2B5EF4-FFF2-40B4-BE49-F238E27FC236}">
                  <a16:creationId xmlns:a16="http://schemas.microsoft.com/office/drawing/2014/main" id="{73E76FA7-BEB5-430A-ACA4-AB407E0AB87D}"/>
                </a:ext>
              </a:extLst>
            </p:cNvPr>
            <p:cNvSpPr/>
            <p:nvPr/>
          </p:nvSpPr>
          <p:spPr>
            <a:xfrm>
              <a:off x="5924715" y="1551720"/>
              <a:ext cx="675341" cy="578245"/>
            </a:xfrm>
            <a:prstGeom prst="flowChartConnector">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j-lt"/>
                <a:ea typeface="Tahoma" pitchFamily="34" charset="0"/>
                <a:cs typeface="Tahoma" pitchFamily="34" charset="0"/>
              </a:endParaRPr>
            </a:p>
          </p:txBody>
        </p:sp>
        <p:sp>
          <p:nvSpPr>
            <p:cNvPr id="52" name="Flowchart: Connector 51">
              <a:extLst>
                <a:ext uri="{FF2B5EF4-FFF2-40B4-BE49-F238E27FC236}">
                  <a16:creationId xmlns:a16="http://schemas.microsoft.com/office/drawing/2014/main" id="{5E92CC7E-4D5F-441E-A1A5-3A822C055BAB}"/>
                </a:ext>
              </a:extLst>
            </p:cNvPr>
            <p:cNvSpPr/>
            <p:nvPr/>
          </p:nvSpPr>
          <p:spPr>
            <a:xfrm>
              <a:off x="4295800" y="1551720"/>
              <a:ext cx="675341" cy="578245"/>
            </a:xfrm>
            <a:prstGeom prst="flowChartConnector">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j-lt"/>
                <a:ea typeface="Tahoma" pitchFamily="34" charset="0"/>
                <a:cs typeface="Tahoma" pitchFamily="34" charset="0"/>
              </a:endParaRPr>
            </a:p>
          </p:txBody>
        </p:sp>
        <p:sp>
          <p:nvSpPr>
            <p:cNvPr id="50" name="Flowchart: Connector 49">
              <a:extLst>
                <a:ext uri="{FF2B5EF4-FFF2-40B4-BE49-F238E27FC236}">
                  <a16:creationId xmlns:a16="http://schemas.microsoft.com/office/drawing/2014/main" id="{EAD11264-C14A-470B-96CC-5CC2FC5D8500}"/>
                </a:ext>
              </a:extLst>
            </p:cNvPr>
            <p:cNvSpPr/>
            <p:nvPr/>
          </p:nvSpPr>
          <p:spPr>
            <a:xfrm>
              <a:off x="2468331" y="1554611"/>
              <a:ext cx="675341" cy="578245"/>
            </a:xfrm>
            <a:prstGeom prst="flowChartConnector">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j-lt"/>
                <a:ea typeface="Tahoma" pitchFamily="34" charset="0"/>
                <a:cs typeface="Tahoma" pitchFamily="34" charset="0"/>
              </a:endParaRPr>
            </a:p>
          </p:txBody>
        </p:sp>
        <p:sp>
          <p:nvSpPr>
            <p:cNvPr id="7" name="Flowchart: Connector 6">
              <a:extLst>
                <a:ext uri="{FF2B5EF4-FFF2-40B4-BE49-F238E27FC236}">
                  <a16:creationId xmlns:a16="http://schemas.microsoft.com/office/drawing/2014/main" id="{6618983B-2B1C-4986-9F18-E0B9B1171602}"/>
                </a:ext>
              </a:extLst>
            </p:cNvPr>
            <p:cNvSpPr/>
            <p:nvPr/>
          </p:nvSpPr>
          <p:spPr>
            <a:xfrm>
              <a:off x="841835" y="1538675"/>
              <a:ext cx="675341" cy="584027"/>
            </a:xfrm>
            <a:prstGeom prst="flowChartConnector">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j-lt"/>
                <a:ea typeface="Tahoma" pitchFamily="34" charset="0"/>
                <a:cs typeface="Tahoma" pitchFamily="34" charset="0"/>
              </a:endParaRPr>
            </a:p>
          </p:txBody>
        </p:sp>
      </p:grpSp>
      <p:sp>
        <p:nvSpPr>
          <p:cNvPr id="13314" name="Title 1">
            <a:extLst>
              <a:ext uri="{FF2B5EF4-FFF2-40B4-BE49-F238E27FC236}">
                <a16:creationId xmlns:a16="http://schemas.microsoft.com/office/drawing/2014/main" id="{1ACAF34C-B500-44CE-8C24-36046EAAC1C9}"/>
              </a:ext>
            </a:extLst>
          </p:cNvPr>
          <p:cNvSpPr>
            <a:spLocks noGrp="1" noChangeArrowheads="1"/>
          </p:cNvSpPr>
          <p:nvPr>
            <p:ph type="title"/>
          </p:nvPr>
        </p:nvSpPr>
        <p:spPr>
          <a:xfrm>
            <a:off x="592262" y="316229"/>
            <a:ext cx="11229975" cy="484188"/>
          </a:xfrm>
        </p:spPr>
        <p:txBody>
          <a:bodyPr/>
          <a:lstStyle/>
          <a:p>
            <a:r>
              <a:rPr lang="en-US" altLang="en-US" dirty="0">
                <a:latin typeface="ITC Avant Garde Gothic" charset="0"/>
              </a:rPr>
              <a:t>RRA key findings and recommendations</a:t>
            </a:r>
          </a:p>
        </p:txBody>
      </p:sp>
      <p:sp>
        <p:nvSpPr>
          <p:cNvPr id="13315" name="Slide Number Placeholder 2">
            <a:extLst>
              <a:ext uri="{FF2B5EF4-FFF2-40B4-BE49-F238E27FC236}">
                <a16:creationId xmlns:a16="http://schemas.microsoft.com/office/drawing/2014/main" id="{1825075E-F59E-4EAD-8FD9-FB785800F259}"/>
              </a:ext>
            </a:extLst>
          </p:cNvPr>
          <p:cNvSpPr>
            <a:spLocks noGrp="1" noChangeArrowheads="1"/>
          </p:cNvSpPr>
          <p:nvPr>
            <p:ph type="sldNum" sz="quarter" idx="10"/>
          </p:nvPr>
        </p:nvSpPr>
        <p:spPr>
          <a:xfrm>
            <a:off x="10704512" y="6217250"/>
            <a:ext cx="958850" cy="3063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C856F700-088D-49C3-9843-80035723A616}" type="slidenum">
              <a:rPr lang="de-DE" altLang="en-US" smtClean="0"/>
              <a:pPr/>
              <a:t>12</a:t>
            </a:fld>
            <a:endParaRPr lang="de-DE" altLang="en-US"/>
          </a:p>
        </p:txBody>
      </p:sp>
      <p:pic>
        <p:nvPicPr>
          <p:cNvPr id="5" name="Picture 4">
            <a:extLst>
              <a:ext uri="{FF2B5EF4-FFF2-40B4-BE49-F238E27FC236}">
                <a16:creationId xmlns:a16="http://schemas.microsoft.com/office/drawing/2014/main" id="{049AE1F3-A61B-463F-AEAC-48F9227F5D08}"/>
              </a:ext>
            </a:extLst>
          </p:cNvPr>
          <p:cNvPicPr>
            <a:picLocks noChangeAspect="1"/>
          </p:cNvPicPr>
          <p:nvPr/>
        </p:nvPicPr>
        <p:blipFill rotWithShape="1">
          <a:blip r:embed="rId3">
            <a:clrChange>
              <a:clrFrom>
                <a:srgbClr val="FFFFFF"/>
              </a:clrFrom>
              <a:clrTo>
                <a:srgbClr val="FFFFFF">
                  <a:alpha val="0"/>
                </a:srgbClr>
              </a:clrTo>
            </a:clrChange>
          </a:blip>
          <a:srcRect l="29238" t="12969" r="59366" b="75684"/>
          <a:stretch/>
        </p:blipFill>
        <p:spPr>
          <a:xfrm>
            <a:off x="4380379" y="1355012"/>
            <a:ext cx="515890" cy="417804"/>
          </a:xfrm>
          <a:prstGeom prst="rect">
            <a:avLst/>
          </a:prstGeom>
        </p:spPr>
      </p:pic>
      <p:pic>
        <p:nvPicPr>
          <p:cNvPr id="25" name="Picture 24">
            <a:extLst>
              <a:ext uri="{FF2B5EF4-FFF2-40B4-BE49-F238E27FC236}">
                <a16:creationId xmlns:a16="http://schemas.microsoft.com/office/drawing/2014/main" id="{31024B55-319C-44FF-8E84-D20F9AD9FE80}"/>
              </a:ext>
            </a:extLst>
          </p:cNvPr>
          <p:cNvPicPr>
            <a:picLocks noChangeAspect="1"/>
          </p:cNvPicPr>
          <p:nvPr/>
        </p:nvPicPr>
        <p:blipFill rotWithShape="1">
          <a:blip r:embed="rId3">
            <a:clrChange>
              <a:clrFrom>
                <a:srgbClr val="FFFFFF"/>
              </a:clrFrom>
              <a:clrTo>
                <a:srgbClr val="FFFFFF">
                  <a:alpha val="0"/>
                </a:srgbClr>
              </a:clrTo>
            </a:clrChange>
          </a:blip>
          <a:srcRect l="12276" t="44331" r="76328" b="46131"/>
          <a:stretch/>
        </p:blipFill>
        <p:spPr>
          <a:xfrm>
            <a:off x="2473161" y="1302269"/>
            <a:ext cx="612068" cy="456550"/>
          </a:xfrm>
          <a:prstGeom prst="rect">
            <a:avLst/>
          </a:prstGeom>
        </p:spPr>
      </p:pic>
      <p:pic>
        <p:nvPicPr>
          <p:cNvPr id="27" name="Picture 26">
            <a:extLst>
              <a:ext uri="{FF2B5EF4-FFF2-40B4-BE49-F238E27FC236}">
                <a16:creationId xmlns:a16="http://schemas.microsoft.com/office/drawing/2014/main" id="{7F80CD8B-8A2C-4AA5-935A-20A74232DC9A}"/>
              </a:ext>
            </a:extLst>
          </p:cNvPr>
          <p:cNvPicPr>
            <a:picLocks noChangeAspect="1"/>
          </p:cNvPicPr>
          <p:nvPr/>
        </p:nvPicPr>
        <p:blipFill rotWithShape="1">
          <a:blip r:embed="rId4">
            <a:clrChange>
              <a:clrFrom>
                <a:srgbClr val="FFFFFF"/>
              </a:clrFrom>
              <a:clrTo>
                <a:srgbClr val="FFFFFF">
                  <a:alpha val="0"/>
                </a:srgbClr>
              </a:clrTo>
            </a:clrChange>
          </a:blip>
          <a:srcRect l="46552" t="40296" r="45450" b="48674"/>
          <a:stretch/>
        </p:blipFill>
        <p:spPr>
          <a:xfrm>
            <a:off x="916118" y="1268760"/>
            <a:ext cx="526773" cy="491930"/>
          </a:xfrm>
          <a:prstGeom prst="rect">
            <a:avLst/>
          </a:prstGeom>
        </p:spPr>
      </p:pic>
      <p:pic>
        <p:nvPicPr>
          <p:cNvPr id="28" name="Picture 27">
            <a:extLst>
              <a:ext uri="{FF2B5EF4-FFF2-40B4-BE49-F238E27FC236}">
                <a16:creationId xmlns:a16="http://schemas.microsoft.com/office/drawing/2014/main" id="{B7DF9102-7991-426E-AFF1-067C066D1CA0}"/>
              </a:ext>
            </a:extLst>
          </p:cNvPr>
          <p:cNvPicPr>
            <a:picLocks noChangeAspect="1"/>
          </p:cNvPicPr>
          <p:nvPr/>
        </p:nvPicPr>
        <p:blipFill rotWithShape="1">
          <a:blip r:embed="rId4">
            <a:clrChange>
              <a:clrFrom>
                <a:srgbClr val="FFFFFF"/>
              </a:clrFrom>
              <a:clrTo>
                <a:srgbClr val="FFFFFF">
                  <a:alpha val="0"/>
                </a:srgbClr>
              </a:clrTo>
            </a:clrChange>
          </a:blip>
          <a:srcRect l="72114" t="41659" r="17562" b="47792"/>
          <a:stretch/>
        </p:blipFill>
        <p:spPr>
          <a:xfrm>
            <a:off x="7464152" y="1329603"/>
            <a:ext cx="583196" cy="403470"/>
          </a:xfrm>
          <a:prstGeom prst="rect">
            <a:avLst/>
          </a:prstGeom>
        </p:spPr>
      </p:pic>
      <p:pic>
        <p:nvPicPr>
          <p:cNvPr id="30" name="Picture 29">
            <a:extLst>
              <a:ext uri="{FF2B5EF4-FFF2-40B4-BE49-F238E27FC236}">
                <a16:creationId xmlns:a16="http://schemas.microsoft.com/office/drawing/2014/main" id="{3C41B0EC-A267-476A-9E86-CE10F1458F21}"/>
              </a:ext>
            </a:extLst>
          </p:cNvPr>
          <p:cNvPicPr>
            <a:picLocks noChangeAspect="1"/>
          </p:cNvPicPr>
          <p:nvPr/>
        </p:nvPicPr>
        <p:blipFill rotWithShape="1">
          <a:blip r:embed="rId4">
            <a:clrChange>
              <a:clrFrom>
                <a:srgbClr val="FFFFFF"/>
              </a:clrFrom>
              <a:clrTo>
                <a:srgbClr val="FFFFFF">
                  <a:alpha val="0"/>
                </a:srgbClr>
              </a:clrTo>
            </a:clrChange>
          </a:blip>
          <a:srcRect l="58723" t="71728" r="31544" b="17550"/>
          <a:stretch/>
        </p:blipFill>
        <p:spPr>
          <a:xfrm>
            <a:off x="10831236" y="1385177"/>
            <a:ext cx="504716" cy="376474"/>
          </a:xfrm>
          <a:prstGeom prst="rect">
            <a:avLst/>
          </a:prstGeom>
        </p:spPr>
      </p:pic>
      <p:sp>
        <p:nvSpPr>
          <p:cNvPr id="10" name="TextBox 9">
            <a:extLst>
              <a:ext uri="{FF2B5EF4-FFF2-40B4-BE49-F238E27FC236}">
                <a16:creationId xmlns:a16="http://schemas.microsoft.com/office/drawing/2014/main" id="{E916C0C8-3E12-4A4F-A3B8-1932C63267AF}"/>
              </a:ext>
            </a:extLst>
          </p:cNvPr>
          <p:cNvSpPr txBox="1"/>
          <p:nvPr/>
        </p:nvSpPr>
        <p:spPr>
          <a:xfrm>
            <a:off x="605083" y="1968676"/>
            <a:ext cx="1309370" cy="1169551"/>
          </a:xfrm>
          <a:prstGeom prst="rect">
            <a:avLst/>
          </a:prstGeom>
          <a:noFill/>
        </p:spPr>
        <p:txBody>
          <a:bodyPr wrap="square" rtlCol="0">
            <a:spAutoFit/>
          </a:bodyPr>
          <a:lstStyle/>
          <a:p>
            <a:pPr algn="ctr"/>
            <a:r>
              <a:rPr lang="en-US" sz="1400" dirty="0"/>
              <a:t>Provide conditions for renewables to grow in the power sector</a:t>
            </a:r>
          </a:p>
        </p:txBody>
      </p:sp>
      <p:sp>
        <p:nvSpPr>
          <p:cNvPr id="41" name="TextBox 40">
            <a:extLst>
              <a:ext uri="{FF2B5EF4-FFF2-40B4-BE49-F238E27FC236}">
                <a16:creationId xmlns:a16="http://schemas.microsoft.com/office/drawing/2014/main" id="{2AB05B6D-64BB-4DB9-887C-CB601EF78A6F}"/>
              </a:ext>
            </a:extLst>
          </p:cNvPr>
          <p:cNvSpPr txBox="1"/>
          <p:nvPr/>
        </p:nvSpPr>
        <p:spPr>
          <a:xfrm>
            <a:off x="2084857" y="2020821"/>
            <a:ext cx="1668113" cy="954107"/>
          </a:xfrm>
          <a:prstGeom prst="rect">
            <a:avLst/>
          </a:prstGeom>
          <a:noFill/>
        </p:spPr>
        <p:txBody>
          <a:bodyPr wrap="square" rtlCol="0">
            <a:spAutoFit/>
          </a:bodyPr>
          <a:lstStyle/>
          <a:p>
            <a:pPr algn="ctr"/>
            <a:r>
              <a:rPr lang="en-US" sz="1400" dirty="0"/>
              <a:t>Foster continued growth of renewable power generation</a:t>
            </a:r>
          </a:p>
        </p:txBody>
      </p:sp>
      <p:sp>
        <p:nvSpPr>
          <p:cNvPr id="42" name="TextBox 41">
            <a:extLst>
              <a:ext uri="{FF2B5EF4-FFF2-40B4-BE49-F238E27FC236}">
                <a16:creationId xmlns:a16="http://schemas.microsoft.com/office/drawing/2014/main" id="{A0D32D43-F804-4149-B13A-BA8FAC8DBD51}"/>
              </a:ext>
            </a:extLst>
          </p:cNvPr>
          <p:cNvSpPr txBox="1"/>
          <p:nvPr/>
        </p:nvSpPr>
        <p:spPr>
          <a:xfrm>
            <a:off x="3953915" y="1953066"/>
            <a:ext cx="1495163" cy="1169551"/>
          </a:xfrm>
          <a:prstGeom prst="rect">
            <a:avLst/>
          </a:prstGeom>
          <a:noFill/>
        </p:spPr>
        <p:txBody>
          <a:bodyPr wrap="square" rtlCol="0">
            <a:spAutoFit/>
          </a:bodyPr>
          <a:lstStyle/>
          <a:p>
            <a:pPr algn="ctr"/>
            <a:r>
              <a:rPr lang="en-US" sz="1400" dirty="0"/>
              <a:t>Plan for the integration of higher shares of renewables power</a:t>
            </a:r>
          </a:p>
        </p:txBody>
      </p:sp>
      <p:sp>
        <p:nvSpPr>
          <p:cNvPr id="44" name="TextBox 43">
            <a:extLst>
              <a:ext uri="{FF2B5EF4-FFF2-40B4-BE49-F238E27FC236}">
                <a16:creationId xmlns:a16="http://schemas.microsoft.com/office/drawing/2014/main" id="{48A4DBB2-40D4-4690-AAC9-C8A3FFB4A69D}"/>
              </a:ext>
            </a:extLst>
          </p:cNvPr>
          <p:cNvSpPr txBox="1"/>
          <p:nvPr/>
        </p:nvSpPr>
        <p:spPr>
          <a:xfrm>
            <a:off x="8853163" y="1700808"/>
            <a:ext cx="1085917" cy="1200329"/>
          </a:xfrm>
          <a:prstGeom prst="rect">
            <a:avLst/>
          </a:prstGeom>
          <a:noFill/>
        </p:spPr>
        <p:txBody>
          <a:bodyPr wrap="square" rtlCol="0">
            <a:spAutoFit/>
          </a:bodyPr>
          <a:lstStyle/>
          <a:p>
            <a:endParaRPr lang="en-US" dirty="0"/>
          </a:p>
          <a:p>
            <a:pPr algn="ctr"/>
            <a:r>
              <a:rPr lang="en-US" sz="1400" dirty="0"/>
              <a:t>Catalyze renewable energy investment </a:t>
            </a:r>
          </a:p>
        </p:txBody>
      </p:sp>
      <p:sp>
        <p:nvSpPr>
          <p:cNvPr id="45" name="TextBox 44">
            <a:extLst>
              <a:ext uri="{FF2B5EF4-FFF2-40B4-BE49-F238E27FC236}">
                <a16:creationId xmlns:a16="http://schemas.microsoft.com/office/drawing/2014/main" id="{75AA887D-606C-4F0C-8A21-8ED04BE07DCE}"/>
              </a:ext>
            </a:extLst>
          </p:cNvPr>
          <p:cNvSpPr txBox="1"/>
          <p:nvPr/>
        </p:nvSpPr>
        <p:spPr>
          <a:xfrm>
            <a:off x="7176910" y="1725196"/>
            <a:ext cx="1231296" cy="1415772"/>
          </a:xfrm>
          <a:prstGeom prst="rect">
            <a:avLst/>
          </a:prstGeom>
          <a:noFill/>
        </p:spPr>
        <p:txBody>
          <a:bodyPr wrap="square" rtlCol="0">
            <a:spAutoFit/>
          </a:bodyPr>
          <a:lstStyle/>
          <a:p>
            <a:endParaRPr lang="en-US" dirty="0"/>
          </a:p>
          <a:p>
            <a:pPr algn="ctr"/>
            <a:r>
              <a:rPr lang="en-US" sz="1400" dirty="0"/>
              <a:t>Support renewable options for transport and mobility </a:t>
            </a:r>
          </a:p>
        </p:txBody>
      </p:sp>
      <p:sp>
        <p:nvSpPr>
          <p:cNvPr id="46" name="TextBox 45">
            <a:extLst>
              <a:ext uri="{FF2B5EF4-FFF2-40B4-BE49-F238E27FC236}">
                <a16:creationId xmlns:a16="http://schemas.microsoft.com/office/drawing/2014/main" id="{21DA3032-A859-4099-A8AC-3C921F6065ED}"/>
              </a:ext>
            </a:extLst>
          </p:cNvPr>
          <p:cNvSpPr txBox="1"/>
          <p:nvPr/>
        </p:nvSpPr>
        <p:spPr>
          <a:xfrm>
            <a:off x="10428909" y="1755973"/>
            <a:ext cx="1309370" cy="1384995"/>
          </a:xfrm>
          <a:prstGeom prst="rect">
            <a:avLst/>
          </a:prstGeom>
          <a:noFill/>
        </p:spPr>
        <p:txBody>
          <a:bodyPr wrap="square" rtlCol="0">
            <a:spAutoFit/>
          </a:bodyPr>
          <a:lstStyle/>
          <a:p>
            <a:pPr algn="ctr"/>
            <a:endParaRPr lang="en-US" sz="1400" dirty="0"/>
          </a:p>
          <a:p>
            <a:pPr algn="ctr"/>
            <a:r>
              <a:rPr lang="en-US" sz="1400" dirty="0"/>
              <a:t>Strengthen local industries and create jobs in renewables </a:t>
            </a:r>
          </a:p>
        </p:txBody>
      </p:sp>
      <p:sp>
        <p:nvSpPr>
          <p:cNvPr id="48" name="TextBox 47">
            <a:extLst>
              <a:ext uri="{FF2B5EF4-FFF2-40B4-BE49-F238E27FC236}">
                <a16:creationId xmlns:a16="http://schemas.microsoft.com/office/drawing/2014/main" id="{2CA0BDE7-009E-4F6B-9237-CF0AFB44DFE1}"/>
              </a:ext>
            </a:extLst>
          </p:cNvPr>
          <p:cNvSpPr txBox="1"/>
          <p:nvPr/>
        </p:nvSpPr>
        <p:spPr>
          <a:xfrm>
            <a:off x="407368" y="3811325"/>
            <a:ext cx="1513953" cy="1015663"/>
          </a:xfrm>
          <a:prstGeom prst="rect">
            <a:avLst/>
          </a:prstGeom>
          <a:noFill/>
        </p:spPr>
        <p:txBody>
          <a:bodyPr wrap="square" rtlCol="0">
            <a:spAutoFit/>
          </a:bodyPr>
          <a:lstStyle/>
          <a:p>
            <a:pPr marL="119063" indent="-119063">
              <a:buFont typeface="Arial" panose="020B0604020202020204" pitchFamily="34" charset="0"/>
              <a:buChar char="•"/>
            </a:pPr>
            <a:r>
              <a:rPr lang="en-US" sz="1200" b="1" dirty="0"/>
              <a:t>Action 1: </a:t>
            </a:r>
            <a:r>
              <a:rPr lang="en-US" sz="1200" dirty="0"/>
              <a:t>Clarify the trajectory for renewables in Jordan’s energy mix </a:t>
            </a:r>
          </a:p>
        </p:txBody>
      </p:sp>
      <p:sp>
        <p:nvSpPr>
          <p:cNvPr id="53" name="TextBox 52">
            <a:extLst>
              <a:ext uri="{FF2B5EF4-FFF2-40B4-BE49-F238E27FC236}">
                <a16:creationId xmlns:a16="http://schemas.microsoft.com/office/drawing/2014/main" id="{93C80435-EC56-4781-A9AA-ABD8D88FDE01}"/>
              </a:ext>
            </a:extLst>
          </p:cNvPr>
          <p:cNvSpPr txBox="1"/>
          <p:nvPr/>
        </p:nvSpPr>
        <p:spPr>
          <a:xfrm>
            <a:off x="1997424" y="3784972"/>
            <a:ext cx="1794319" cy="2308324"/>
          </a:xfrm>
          <a:prstGeom prst="rect">
            <a:avLst/>
          </a:prstGeom>
          <a:noFill/>
        </p:spPr>
        <p:txBody>
          <a:bodyPr wrap="square" rtlCol="0">
            <a:spAutoFit/>
          </a:bodyPr>
          <a:lstStyle/>
          <a:p>
            <a:pPr marL="119063" indent="-119063">
              <a:buFont typeface="Arial" panose="020B0604020202020204" pitchFamily="34" charset="0"/>
              <a:buChar char="•"/>
            </a:pPr>
            <a:r>
              <a:rPr lang="en-US" sz="1200" b="1" dirty="0"/>
              <a:t>Action 2: </a:t>
            </a:r>
            <a:r>
              <a:rPr lang="en-US" sz="1200" dirty="0"/>
              <a:t>Expand the project pipeline through direct proposal, net metering and wheeling schemes</a:t>
            </a:r>
          </a:p>
          <a:p>
            <a:pPr marL="119063" indent="-119063">
              <a:buFont typeface="Arial" panose="020B0604020202020204" pitchFamily="34" charset="0"/>
              <a:buChar char="•"/>
            </a:pPr>
            <a:r>
              <a:rPr lang="en-US" sz="1200" b="1" dirty="0"/>
              <a:t>Action 3: </a:t>
            </a:r>
            <a:r>
              <a:rPr lang="en-US" sz="1200" dirty="0"/>
              <a:t>Address project development challenges</a:t>
            </a:r>
          </a:p>
          <a:p>
            <a:pPr marL="119063" indent="-119063">
              <a:buFont typeface="Arial" panose="020B0604020202020204" pitchFamily="34" charset="0"/>
              <a:buChar char="•"/>
            </a:pPr>
            <a:r>
              <a:rPr lang="en-US" sz="1200" b="1" dirty="0"/>
              <a:t>Action 4: </a:t>
            </a:r>
            <a:r>
              <a:rPr lang="en-US" sz="1200" dirty="0"/>
              <a:t>Strengthen linkages to energy efficiency</a:t>
            </a:r>
          </a:p>
        </p:txBody>
      </p:sp>
      <p:pic>
        <p:nvPicPr>
          <p:cNvPr id="56" name="Picture 55">
            <a:extLst>
              <a:ext uri="{FF2B5EF4-FFF2-40B4-BE49-F238E27FC236}">
                <a16:creationId xmlns:a16="http://schemas.microsoft.com/office/drawing/2014/main" id="{07B2D399-4815-4F95-AE1E-5F5483EEF763}"/>
              </a:ext>
            </a:extLst>
          </p:cNvPr>
          <p:cNvPicPr>
            <a:picLocks noChangeAspect="1"/>
          </p:cNvPicPr>
          <p:nvPr/>
        </p:nvPicPr>
        <p:blipFill rotWithShape="1">
          <a:blip r:embed="rId3">
            <a:clrChange>
              <a:clrFrom>
                <a:srgbClr val="FFFFFF"/>
              </a:clrFrom>
              <a:clrTo>
                <a:srgbClr val="FFFFFF">
                  <a:alpha val="0"/>
                </a:srgbClr>
              </a:clrTo>
            </a:clrChange>
          </a:blip>
          <a:srcRect l="62810" t="12315" r="29501" b="76596"/>
          <a:stretch/>
        </p:blipFill>
        <p:spPr>
          <a:xfrm>
            <a:off x="6061610" y="1320317"/>
            <a:ext cx="352055" cy="452499"/>
          </a:xfrm>
          <a:prstGeom prst="rect">
            <a:avLst/>
          </a:prstGeom>
        </p:spPr>
      </p:pic>
      <p:sp>
        <p:nvSpPr>
          <p:cNvPr id="57" name="TextBox 56">
            <a:extLst>
              <a:ext uri="{FF2B5EF4-FFF2-40B4-BE49-F238E27FC236}">
                <a16:creationId xmlns:a16="http://schemas.microsoft.com/office/drawing/2014/main" id="{C80D8C43-A983-4C6B-A4D8-96F82CF5BDE2}"/>
              </a:ext>
            </a:extLst>
          </p:cNvPr>
          <p:cNvSpPr txBox="1"/>
          <p:nvPr/>
        </p:nvSpPr>
        <p:spPr>
          <a:xfrm>
            <a:off x="5625360" y="1962000"/>
            <a:ext cx="1274492" cy="1169551"/>
          </a:xfrm>
          <a:prstGeom prst="rect">
            <a:avLst/>
          </a:prstGeom>
          <a:noFill/>
        </p:spPr>
        <p:txBody>
          <a:bodyPr wrap="square" rtlCol="0">
            <a:spAutoFit/>
          </a:bodyPr>
          <a:lstStyle/>
          <a:p>
            <a:pPr algn="ctr"/>
            <a:r>
              <a:rPr lang="en-US" sz="1400" dirty="0"/>
              <a:t>Incentivize the use of renewables for heating and cooling</a:t>
            </a:r>
          </a:p>
        </p:txBody>
      </p:sp>
      <p:sp>
        <p:nvSpPr>
          <p:cNvPr id="58" name="TextBox 57">
            <a:extLst>
              <a:ext uri="{FF2B5EF4-FFF2-40B4-BE49-F238E27FC236}">
                <a16:creationId xmlns:a16="http://schemas.microsoft.com/office/drawing/2014/main" id="{54454DAF-17A8-4626-8BD2-8E0CBB2D12C0}"/>
              </a:ext>
            </a:extLst>
          </p:cNvPr>
          <p:cNvSpPr txBox="1"/>
          <p:nvPr/>
        </p:nvSpPr>
        <p:spPr>
          <a:xfrm>
            <a:off x="3733975" y="3757204"/>
            <a:ext cx="1794319" cy="2123658"/>
          </a:xfrm>
          <a:prstGeom prst="rect">
            <a:avLst/>
          </a:prstGeom>
          <a:noFill/>
        </p:spPr>
        <p:txBody>
          <a:bodyPr wrap="square" rtlCol="0">
            <a:spAutoFit/>
          </a:bodyPr>
          <a:lstStyle/>
          <a:p>
            <a:pPr marL="119063" indent="-119063">
              <a:buFont typeface="Arial" panose="020B0604020202020204" pitchFamily="34" charset="0"/>
              <a:buChar char="•"/>
            </a:pPr>
            <a:r>
              <a:rPr lang="en-US" sz="1200" b="1" dirty="0"/>
              <a:t>Action 5</a:t>
            </a:r>
            <a:r>
              <a:rPr lang="en-US" sz="1200" dirty="0"/>
              <a:t>: Strengthen national transmission and distribution infrastructure</a:t>
            </a:r>
          </a:p>
          <a:p>
            <a:pPr marL="119063" indent="-119063">
              <a:buFont typeface="Arial" panose="020B0604020202020204" pitchFamily="34" charset="0"/>
              <a:buChar char="•"/>
            </a:pPr>
            <a:r>
              <a:rPr lang="en-US" sz="1200" b="1" dirty="0"/>
              <a:t>Action 6: </a:t>
            </a:r>
            <a:r>
              <a:rPr lang="en-US" sz="1200" dirty="0"/>
              <a:t>Introduce storage code for grid management</a:t>
            </a:r>
          </a:p>
          <a:p>
            <a:pPr marL="119063" indent="-119063">
              <a:buFont typeface="Arial" panose="020B0604020202020204" pitchFamily="34" charset="0"/>
              <a:buChar char="•"/>
            </a:pPr>
            <a:r>
              <a:rPr lang="en-US" sz="1200" b="1" dirty="0"/>
              <a:t>Action 7</a:t>
            </a:r>
            <a:r>
              <a:rPr lang="en-US" sz="1200" dirty="0"/>
              <a:t>: Improve load management through demand-side solutions</a:t>
            </a:r>
          </a:p>
        </p:txBody>
      </p:sp>
      <p:sp>
        <p:nvSpPr>
          <p:cNvPr id="49" name="Rectangle 48">
            <a:extLst>
              <a:ext uri="{FF2B5EF4-FFF2-40B4-BE49-F238E27FC236}">
                <a16:creationId xmlns:a16="http://schemas.microsoft.com/office/drawing/2014/main" id="{0639007F-034D-49EB-8A53-E7BDFD67A7D1}"/>
              </a:ext>
            </a:extLst>
          </p:cNvPr>
          <p:cNvSpPr/>
          <p:nvPr/>
        </p:nvSpPr>
        <p:spPr>
          <a:xfrm>
            <a:off x="5639960" y="3757204"/>
            <a:ext cx="1406498" cy="1384995"/>
          </a:xfrm>
          <a:prstGeom prst="rect">
            <a:avLst/>
          </a:prstGeom>
        </p:spPr>
        <p:txBody>
          <a:bodyPr wrap="square">
            <a:spAutoFit/>
          </a:bodyPr>
          <a:lstStyle/>
          <a:p>
            <a:pPr marL="119063" indent="-119063">
              <a:buFont typeface="Arial" panose="020B0604020202020204" pitchFamily="34" charset="0"/>
              <a:buChar char="•"/>
            </a:pPr>
            <a:r>
              <a:rPr lang="en-US" sz="1200" b="1" dirty="0"/>
              <a:t>Action 8: </a:t>
            </a:r>
            <a:r>
              <a:rPr lang="en-US" sz="1200" dirty="0"/>
              <a:t>Support greater adoption of renewable solutions in industry and buildings</a:t>
            </a:r>
          </a:p>
        </p:txBody>
      </p:sp>
      <p:sp>
        <p:nvSpPr>
          <p:cNvPr id="63" name="Rectangle 62">
            <a:extLst>
              <a:ext uri="{FF2B5EF4-FFF2-40B4-BE49-F238E27FC236}">
                <a16:creationId xmlns:a16="http://schemas.microsoft.com/office/drawing/2014/main" id="{62569FC0-408F-4DF6-A05A-4563837CB003}"/>
              </a:ext>
            </a:extLst>
          </p:cNvPr>
          <p:cNvSpPr/>
          <p:nvPr/>
        </p:nvSpPr>
        <p:spPr>
          <a:xfrm>
            <a:off x="7046458" y="3747724"/>
            <a:ext cx="1406498" cy="830997"/>
          </a:xfrm>
          <a:prstGeom prst="rect">
            <a:avLst/>
          </a:prstGeom>
        </p:spPr>
        <p:txBody>
          <a:bodyPr wrap="square">
            <a:spAutoFit/>
          </a:bodyPr>
          <a:lstStyle/>
          <a:p>
            <a:pPr marL="119063" indent="-119063">
              <a:buFont typeface="Arial" panose="020B0604020202020204" pitchFamily="34" charset="0"/>
              <a:buChar char="•"/>
            </a:pPr>
            <a:r>
              <a:rPr lang="en-US" sz="1200" b="1" dirty="0"/>
              <a:t>Action 9:</a:t>
            </a:r>
            <a:r>
              <a:rPr lang="en-US" sz="1200" dirty="0"/>
              <a:t> Diversify energy in the transport sector</a:t>
            </a:r>
          </a:p>
        </p:txBody>
      </p:sp>
      <p:sp>
        <p:nvSpPr>
          <p:cNvPr id="67" name="Rectangle 66">
            <a:extLst>
              <a:ext uri="{FF2B5EF4-FFF2-40B4-BE49-F238E27FC236}">
                <a16:creationId xmlns:a16="http://schemas.microsoft.com/office/drawing/2014/main" id="{768A2168-4A2D-49DB-94FA-41E6768D97EA}"/>
              </a:ext>
            </a:extLst>
          </p:cNvPr>
          <p:cNvSpPr/>
          <p:nvPr/>
        </p:nvSpPr>
        <p:spPr>
          <a:xfrm>
            <a:off x="8549309" y="3727263"/>
            <a:ext cx="1645267" cy="1754326"/>
          </a:xfrm>
          <a:prstGeom prst="rect">
            <a:avLst/>
          </a:prstGeom>
        </p:spPr>
        <p:txBody>
          <a:bodyPr wrap="square">
            <a:spAutoFit/>
          </a:bodyPr>
          <a:lstStyle/>
          <a:p>
            <a:pPr marL="119063" indent="-119063" algn="just">
              <a:buFont typeface="Arial" panose="020B0604020202020204" pitchFamily="34" charset="0"/>
              <a:buChar char="•"/>
            </a:pPr>
            <a:r>
              <a:rPr lang="en-US" sz="1200" b="1" dirty="0"/>
              <a:t>Action 10</a:t>
            </a:r>
            <a:r>
              <a:rPr lang="en-US" sz="1200" dirty="0"/>
              <a:t>: Build the capacity of local financing institutions and project developers</a:t>
            </a:r>
          </a:p>
          <a:p>
            <a:pPr marL="119063" indent="-119063">
              <a:buFont typeface="Arial" panose="020B0604020202020204" pitchFamily="34" charset="0"/>
              <a:buChar char="•"/>
            </a:pPr>
            <a:r>
              <a:rPr lang="en-US" sz="1200" b="1" dirty="0"/>
              <a:t>Action 11: </a:t>
            </a:r>
            <a:r>
              <a:rPr lang="en-US" sz="1200" dirty="0"/>
              <a:t>Improve access to public financing </a:t>
            </a:r>
            <a:r>
              <a:rPr lang="en-US" sz="1200" dirty="0" err="1"/>
              <a:t>programmes</a:t>
            </a:r>
            <a:endParaRPr lang="en-US" sz="1200" dirty="0"/>
          </a:p>
        </p:txBody>
      </p:sp>
      <p:sp>
        <p:nvSpPr>
          <p:cNvPr id="70" name="Rectangle 69">
            <a:extLst>
              <a:ext uri="{FF2B5EF4-FFF2-40B4-BE49-F238E27FC236}">
                <a16:creationId xmlns:a16="http://schemas.microsoft.com/office/drawing/2014/main" id="{045EB73C-2958-4FD4-BF65-BBD66E3F539F}"/>
              </a:ext>
            </a:extLst>
          </p:cNvPr>
          <p:cNvSpPr/>
          <p:nvPr/>
        </p:nvSpPr>
        <p:spPr>
          <a:xfrm>
            <a:off x="10245070" y="3747724"/>
            <a:ext cx="1794318" cy="1938992"/>
          </a:xfrm>
          <a:prstGeom prst="rect">
            <a:avLst/>
          </a:prstGeom>
        </p:spPr>
        <p:txBody>
          <a:bodyPr wrap="square">
            <a:spAutoFit/>
          </a:bodyPr>
          <a:lstStyle/>
          <a:p>
            <a:pPr marL="119063" indent="-119063">
              <a:buFont typeface="Arial" panose="020B0604020202020204" pitchFamily="34" charset="0"/>
              <a:buChar char="•"/>
            </a:pPr>
            <a:r>
              <a:rPr lang="en-US" sz="1200" b="1" dirty="0"/>
              <a:t>Action 12: </a:t>
            </a:r>
            <a:r>
              <a:rPr lang="en-US" sz="1200" dirty="0"/>
              <a:t>Leverage capacity from other sectors and maximize renewable energy job creation</a:t>
            </a:r>
          </a:p>
          <a:p>
            <a:pPr marL="119063" indent="-119063">
              <a:buFont typeface="Arial" panose="020B0604020202020204" pitchFamily="34" charset="0"/>
              <a:buChar char="•"/>
            </a:pPr>
            <a:r>
              <a:rPr lang="en-US" sz="1200" b="1" dirty="0"/>
              <a:t>Action 13: </a:t>
            </a:r>
            <a:r>
              <a:rPr lang="en-US" sz="1200" dirty="0"/>
              <a:t>Raise awareness and strengthen the information base on renewable energy</a:t>
            </a:r>
          </a:p>
        </p:txBody>
      </p:sp>
      <p:cxnSp>
        <p:nvCxnSpPr>
          <p:cNvPr id="71" name="Straight Connector 70">
            <a:extLst>
              <a:ext uri="{FF2B5EF4-FFF2-40B4-BE49-F238E27FC236}">
                <a16:creationId xmlns:a16="http://schemas.microsoft.com/office/drawing/2014/main" id="{F085D2B0-E688-486D-8655-AA24B767FE5C}"/>
              </a:ext>
            </a:extLst>
          </p:cNvPr>
          <p:cNvCxnSpPr/>
          <p:nvPr/>
        </p:nvCxnSpPr>
        <p:spPr>
          <a:xfrm>
            <a:off x="407368" y="3334493"/>
            <a:ext cx="11414869" cy="0"/>
          </a:xfrm>
          <a:prstGeom prst="line">
            <a:avLst/>
          </a:prstGeom>
          <a:ln w="38100">
            <a:solidFill>
              <a:srgbClr val="0073A9"/>
            </a:solidFill>
          </a:ln>
        </p:spPr>
        <p:style>
          <a:lnRef idx="1">
            <a:schemeClr val="accent1"/>
          </a:lnRef>
          <a:fillRef idx="0">
            <a:schemeClr val="accent1"/>
          </a:fillRef>
          <a:effectRef idx="0">
            <a:schemeClr val="accent1"/>
          </a:effectRef>
          <a:fontRef idx="minor">
            <a:schemeClr val="tx1"/>
          </a:fontRef>
        </p:style>
      </p:cxnSp>
      <p:sp>
        <p:nvSpPr>
          <p:cNvPr id="72" name="Arrow: Down 71">
            <a:extLst>
              <a:ext uri="{FF2B5EF4-FFF2-40B4-BE49-F238E27FC236}">
                <a16:creationId xmlns:a16="http://schemas.microsoft.com/office/drawing/2014/main" id="{069C012F-8323-447C-B186-471F3173F09A}"/>
              </a:ext>
            </a:extLst>
          </p:cNvPr>
          <p:cNvSpPr/>
          <p:nvPr/>
        </p:nvSpPr>
        <p:spPr>
          <a:xfrm>
            <a:off x="1235864" y="3341832"/>
            <a:ext cx="159582" cy="288032"/>
          </a:xfrm>
          <a:prstGeom prst="downArrow">
            <a:avLst/>
          </a:prstGeom>
          <a:solidFill>
            <a:srgbClr val="0073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j-lt"/>
              <a:ea typeface="Tahoma" pitchFamily="34" charset="0"/>
              <a:cs typeface="Tahoma" pitchFamily="34" charset="0"/>
            </a:endParaRPr>
          </a:p>
        </p:txBody>
      </p:sp>
      <p:sp>
        <p:nvSpPr>
          <p:cNvPr id="76" name="Arrow: Down 75">
            <a:extLst>
              <a:ext uri="{FF2B5EF4-FFF2-40B4-BE49-F238E27FC236}">
                <a16:creationId xmlns:a16="http://schemas.microsoft.com/office/drawing/2014/main" id="{C1F3DCEC-7196-48A0-9199-AC0C758EC7DF}"/>
              </a:ext>
            </a:extLst>
          </p:cNvPr>
          <p:cNvSpPr/>
          <p:nvPr/>
        </p:nvSpPr>
        <p:spPr>
          <a:xfrm>
            <a:off x="2811708" y="3349679"/>
            <a:ext cx="159582" cy="288032"/>
          </a:xfrm>
          <a:prstGeom prst="downArrow">
            <a:avLst/>
          </a:prstGeom>
          <a:solidFill>
            <a:srgbClr val="0073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j-lt"/>
              <a:ea typeface="Tahoma" pitchFamily="34" charset="0"/>
              <a:cs typeface="Tahoma" pitchFamily="34" charset="0"/>
            </a:endParaRPr>
          </a:p>
        </p:txBody>
      </p:sp>
      <p:sp>
        <p:nvSpPr>
          <p:cNvPr id="77" name="Arrow: Down 76">
            <a:extLst>
              <a:ext uri="{FF2B5EF4-FFF2-40B4-BE49-F238E27FC236}">
                <a16:creationId xmlns:a16="http://schemas.microsoft.com/office/drawing/2014/main" id="{6A763064-214F-4B83-B248-6E60291767CE}"/>
              </a:ext>
            </a:extLst>
          </p:cNvPr>
          <p:cNvSpPr/>
          <p:nvPr/>
        </p:nvSpPr>
        <p:spPr>
          <a:xfrm>
            <a:off x="4597549" y="3325020"/>
            <a:ext cx="159582" cy="288032"/>
          </a:xfrm>
          <a:prstGeom prst="downArrow">
            <a:avLst/>
          </a:prstGeom>
          <a:solidFill>
            <a:srgbClr val="0073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j-lt"/>
              <a:ea typeface="Tahoma" pitchFamily="34" charset="0"/>
              <a:cs typeface="Tahoma" pitchFamily="34" charset="0"/>
            </a:endParaRPr>
          </a:p>
        </p:txBody>
      </p:sp>
      <p:sp>
        <p:nvSpPr>
          <p:cNvPr id="78" name="Arrow: Down 77">
            <a:extLst>
              <a:ext uri="{FF2B5EF4-FFF2-40B4-BE49-F238E27FC236}">
                <a16:creationId xmlns:a16="http://schemas.microsoft.com/office/drawing/2014/main" id="{53D0293B-AAF9-4484-ADCE-4551F55BF81D}"/>
              </a:ext>
            </a:extLst>
          </p:cNvPr>
          <p:cNvSpPr/>
          <p:nvPr/>
        </p:nvSpPr>
        <p:spPr>
          <a:xfrm>
            <a:off x="6173393" y="3325486"/>
            <a:ext cx="159582" cy="288032"/>
          </a:xfrm>
          <a:prstGeom prst="downArrow">
            <a:avLst/>
          </a:prstGeom>
          <a:solidFill>
            <a:srgbClr val="0073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j-lt"/>
              <a:ea typeface="Tahoma" pitchFamily="34" charset="0"/>
              <a:cs typeface="Tahoma" pitchFamily="34" charset="0"/>
            </a:endParaRPr>
          </a:p>
        </p:txBody>
      </p:sp>
      <p:sp>
        <p:nvSpPr>
          <p:cNvPr id="79" name="Arrow: Down 78">
            <a:extLst>
              <a:ext uri="{FF2B5EF4-FFF2-40B4-BE49-F238E27FC236}">
                <a16:creationId xmlns:a16="http://schemas.microsoft.com/office/drawing/2014/main" id="{7ABACFDC-D009-4419-8BD4-0D4469D19C56}"/>
              </a:ext>
            </a:extLst>
          </p:cNvPr>
          <p:cNvSpPr/>
          <p:nvPr/>
        </p:nvSpPr>
        <p:spPr>
          <a:xfrm>
            <a:off x="7689734" y="3334493"/>
            <a:ext cx="159582" cy="288032"/>
          </a:xfrm>
          <a:prstGeom prst="downArrow">
            <a:avLst/>
          </a:prstGeom>
          <a:solidFill>
            <a:srgbClr val="0073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j-lt"/>
              <a:ea typeface="Tahoma" pitchFamily="34" charset="0"/>
              <a:cs typeface="Tahoma" pitchFamily="34" charset="0"/>
            </a:endParaRPr>
          </a:p>
        </p:txBody>
      </p:sp>
      <p:sp>
        <p:nvSpPr>
          <p:cNvPr id="80" name="Arrow: Down 79">
            <a:extLst>
              <a:ext uri="{FF2B5EF4-FFF2-40B4-BE49-F238E27FC236}">
                <a16:creationId xmlns:a16="http://schemas.microsoft.com/office/drawing/2014/main" id="{2617EEE4-2413-40DD-BFC0-53F44AA9E440}"/>
              </a:ext>
            </a:extLst>
          </p:cNvPr>
          <p:cNvSpPr/>
          <p:nvPr/>
        </p:nvSpPr>
        <p:spPr>
          <a:xfrm>
            <a:off x="9319220" y="3323343"/>
            <a:ext cx="159582" cy="288032"/>
          </a:xfrm>
          <a:prstGeom prst="downArrow">
            <a:avLst/>
          </a:prstGeom>
          <a:solidFill>
            <a:srgbClr val="0073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j-lt"/>
              <a:ea typeface="Tahoma" pitchFamily="34" charset="0"/>
              <a:cs typeface="Tahoma" pitchFamily="34" charset="0"/>
            </a:endParaRPr>
          </a:p>
        </p:txBody>
      </p:sp>
      <p:sp>
        <p:nvSpPr>
          <p:cNvPr id="81" name="Arrow: Down 80">
            <a:extLst>
              <a:ext uri="{FF2B5EF4-FFF2-40B4-BE49-F238E27FC236}">
                <a16:creationId xmlns:a16="http://schemas.microsoft.com/office/drawing/2014/main" id="{536CC908-3FA8-41DB-9C9F-30FFD467FE05}"/>
              </a:ext>
            </a:extLst>
          </p:cNvPr>
          <p:cNvSpPr/>
          <p:nvPr/>
        </p:nvSpPr>
        <p:spPr>
          <a:xfrm>
            <a:off x="11009371" y="3344603"/>
            <a:ext cx="159582" cy="288032"/>
          </a:xfrm>
          <a:prstGeom prst="downArrow">
            <a:avLst/>
          </a:prstGeom>
          <a:solidFill>
            <a:srgbClr val="0073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j-lt"/>
              <a:ea typeface="Tahoma" pitchFamily="34" charset="0"/>
              <a:cs typeface="Tahoma" pitchFamily="34" charset="0"/>
            </a:endParaRPr>
          </a:p>
        </p:txBody>
      </p:sp>
      <p:pic>
        <p:nvPicPr>
          <p:cNvPr id="47" name="Picture 46">
            <a:extLst>
              <a:ext uri="{FF2B5EF4-FFF2-40B4-BE49-F238E27FC236}">
                <a16:creationId xmlns:a16="http://schemas.microsoft.com/office/drawing/2014/main" id="{C1DA9743-43E1-4836-95B3-37FC92934F07}"/>
              </a:ext>
            </a:extLst>
          </p:cNvPr>
          <p:cNvPicPr>
            <a:picLocks noChangeAspect="1"/>
          </p:cNvPicPr>
          <p:nvPr/>
        </p:nvPicPr>
        <p:blipFill rotWithShape="1">
          <a:blip r:embed="rId4">
            <a:clrChange>
              <a:clrFrom>
                <a:srgbClr val="FFFFFF"/>
              </a:clrFrom>
              <a:clrTo>
                <a:srgbClr val="FFFFFF">
                  <a:alpha val="0"/>
                </a:srgbClr>
              </a:clrTo>
            </a:clrChange>
          </a:blip>
          <a:srcRect l="34664" t="72761" r="56627" b="16690"/>
          <a:stretch/>
        </p:blipFill>
        <p:spPr>
          <a:xfrm>
            <a:off x="9240239" y="1352640"/>
            <a:ext cx="467903" cy="383764"/>
          </a:xfrm>
          <a:prstGeom prst="rect">
            <a:avLst/>
          </a:prstGeom>
        </p:spPr>
      </p:pic>
    </p:spTree>
    <p:extLst>
      <p:ext uri="{BB962C8B-B14F-4D97-AF65-F5344CB8AC3E}">
        <p14:creationId xmlns:p14="http://schemas.microsoft.com/office/powerpoint/2010/main" val="23439799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6B37198-6AE6-46FB-BA3D-F8F228717A19}"/>
              </a:ext>
            </a:extLst>
          </p:cNvPr>
          <p:cNvSpPr>
            <a:spLocks noGrp="1"/>
          </p:cNvSpPr>
          <p:nvPr>
            <p:ph type="body" idx="1"/>
          </p:nvPr>
        </p:nvSpPr>
        <p:spPr>
          <a:xfrm>
            <a:off x="407368" y="3501008"/>
            <a:ext cx="10363200" cy="1500187"/>
          </a:xfrm>
        </p:spPr>
        <p:txBody>
          <a:bodyPr/>
          <a:lstStyle/>
          <a:p>
            <a:r>
              <a:rPr lang="en-US" sz="3200" b="1" dirty="0">
                <a:solidFill>
                  <a:srgbClr val="196790"/>
                </a:solidFill>
                <a:latin typeface="Arial" panose="020B0604020202020204" pitchFamily="34" charset="0"/>
                <a:cs typeface="Arial" panose="020B0604020202020204" pitchFamily="34" charset="0"/>
              </a:rPr>
              <a:t>Renewables Readiness Assessment</a:t>
            </a:r>
          </a:p>
          <a:p>
            <a:r>
              <a:rPr lang="en-US" dirty="0"/>
              <a:t>Post RRA process</a:t>
            </a:r>
          </a:p>
        </p:txBody>
      </p:sp>
    </p:spTree>
    <p:extLst>
      <p:ext uri="{BB962C8B-B14F-4D97-AF65-F5344CB8AC3E}">
        <p14:creationId xmlns:p14="http://schemas.microsoft.com/office/powerpoint/2010/main" val="42008995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825110-EB77-409F-8A6B-166E5D0AA886}"/>
              </a:ext>
            </a:extLst>
          </p:cNvPr>
          <p:cNvSpPr>
            <a:spLocks noGrp="1"/>
          </p:cNvSpPr>
          <p:nvPr>
            <p:ph type="title"/>
          </p:nvPr>
        </p:nvSpPr>
        <p:spPr>
          <a:xfrm>
            <a:off x="481012" y="252974"/>
            <a:ext cx="11229975" cy="484187"/>
          </a:xfrm>
        </p:spPr>
        <p:txBody>
          <a:bodyPr>
            <a:normAutofit/>
          </a:bodyPr>
          <a:lstStyle/>
          <a:p>
            <a:r>
              <a:rPr lang="en-US" dirty="0"/>
              <a:t>Post-RRA Process</a:t>
            </a:r>
          </a:p>
        </p:txBody>
      </p:sp>
      <p:sp>
        <p:nvSpPr>
          <p:cNvPr id="18" name="TextBox 17">
            <a:extLst>
              <a:ext uri="{FF2B5EF4-FFF2-40B4-BE49-F238E27FC236}">
                <a16:creationId xmlns:a16="http://schemas.microsoft.com/office/drawing/2014/main" id="{306CCF96-03E1-4088-9737-FC75A2F21077}"/>
              </a:ext>
            </a:extLst>
          </p:cNvPr>
          <p:cNvSpPr txBox="1"/>
          <p:nvPr/>
        </p:nvSpPr>
        <p:spPr>
          <a:xfrm>
            <a:off x="363781" y="856357"/>
            <a:ext cx="5300172" cy="2800767"/>
          </a:xfrm>
          <a:prstGeom prst="rect">
            <a:avLst/>
          </a:prstGeom>
          <a:noFill/>
        </p:spPr>
        <p:txBody>
          <a:bodyPr wrap="square" rtlCol="0">
            <a:spAutoFit/>
          </a:bodyPr>
          <a:lstStyle/>
          <a:p>
            <a:pPr algn="just"/>
            <a:endParaRPr lang="en-US" dirty="0"/>
          </a:p>
          <a:p>
            <a:pPr marL="285750" indent="-285750" algn="just">
              <a:buFont typeface="Wingdings" panose="05000000000000000000" pitchFamily="2" charset="2"/>
              <a:buChar char="§"/>
            </a:pPr>
            <a:endParaRPr lang="en-GB" dirty="0"/>
          </a:p>
          <a:p>
            <a:pPr marL="285750" indent="-285750" algn="just">
              <a:buFont typeface="Wingdings" panose="05000000000000000000" pitchFamily="2" charset="2"/>
              <a:buChar char="§"/>
            </a:pPr>
            <a:endParaRPr lang="en-GB" dirty="0"/>
          </a:p>
          <a:p>
            <a:pPr marL="285750" indent="-285750" algn="just">
              <a:buFont typeface="Wingdings" panose="05000000000000000000" pitchFamily="2" charset="2"/>
              <a:buChar char="§"/>
            </a:pPr>
            <a:endParaRPr lang="en-US" dirty="0"/>
          </a:p>
          <a:p>
            <a:pPr marL="285750" indent="-285750" algn="just">
              <a:buFont typeface="Wingdings" panose="05000000000000000000" pitchFamily="2" charset="2"/>
              <a:buChar char="§"/>
            </a:pPr>
            <a:endParaRPr lang="en-US" dirty="0"/>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endParaRPr lang="en-US" dirty="0"/>
          </a:p>
          <a:p>
            <a:endParaRPr lang="en-US" dirty="0"/>
          </a:p>
          <a:p>
            <a:r>
              <a:rPr lang="en-US" dirty="0"/>
              <a:t>​</a:t>
            </a:r>
          </a:p>
          <a:p>
            <a:r>
              <a:rPr lang="en-US" dirty="0"/>
              <a:t>​</a:t>
            </a:r>
          </a:p>
          <a:p>
            <a:pPr marL="285750" indent="-285750">
              <a:buFont typeface="Wingdings" panose="05000000000000000000" pitchFamily="2" charset="2"/>
              <a:buChar char="§"/>
            </a:pPr>
            <a:endParaRPr lang="en-US" dirty="0"/>
          </a:p>
        </p:txBody>
      </p:sp>
      <p:sp>
        <p:nvSpPr>
          <p:cNvPr id="30" name="Rectangle 29">
            <a:extLst>
              <a:ext uri="{FF2B5EF4-FFF2-40B4-BE49-F238E27FC236}">
                <a16:creationId xmlns:a16="http://schemas.microsoft.com/office/drawing/2014/main" id="{CCA717F0-ACF2-49EE-AE91-D8A769F5F571}"/>
              </a:ext>
            </a:extLst>
          </p:cNvPr>
          <p:cNvSpPr/>
          <p:nvPr/>
        </p:nvSpPr>
        <p:spPr>
          <a:xfrm>
            <a:off x="2475106" y="5721501"/>
            <a:ext cx="3935234" cy="670092"/>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42" name="Rectangle 41">
            <a:extLst>
              <a:ext uri="{FF2B5EF4-FFF2-40B4-BE49-F238E27FC236}">
                <a16:creationId xmlns:a16="http://schemas.microsoft.com/office/drawing/2014/main" id="{EA92966F-755E-432A-ADAE-BAD8137A661F}"/>
              </a:ext>
            </a:extLst>
          </p:cNvPr>
          <p:cNvSpPr/>
          <p:nvPr/>
        </p:nvSpPr>
        <p:spPr>
          <a:xfrm>
            <a:off x="2554626" y="5924873"/>
            <a:ext cx="3935234" cy="670092"/>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pic>
        <p:nvPicPr>
          <p:cNvPr id="3" name="Picture 2">
            <a:extLst>
              <a:ext uri="{FF2B5EF4-FFF2-40B4-BE49-F238E27FC236}">
                <a16:creationId xmlns:a16="http://schemas.microsoft.com/office/drawing/2014/main" id="{FA9A4FDE-2AD8-4716-8FA5-9FC8816B73C0}"/>
              </a:ext>
            </a:extLst>
          </p:cNvPr>
          <p:cNvPicPr>
            <a:picLocks noChangeAspect="1"/>
          </p:cNvPicPr>
          <p:nvPr/>
        </p:nvPicPr>
        <p:blipFill>
          <a:blip r:embed="rId3"/>
          <a:stretch>
            <a:fillRect/>
          </a:stretch>
        </p:blipFill>
        <p:spPr>
          <a:xfrm>
            <a:off x="6384032" y="1287350"/>
            <a:ext cx="5226492" cy="3840801"/>
          </a:xfrm>
          <a:prstGeom prst="rect">
            <a:avLst/>
          </a:prstGeom>
          <a:ln>
            <a:noFill/>
          </a:ln>
          <a:effectLst>
            <a:outerShdw blurRad="190500" algn="tl" rotWithShape="0">
              <a:srgbClr val="000000">
                <a:alpha val="70000"/>
              </a:srgbClr>
            </a:outerShdw>
          </a:effectLst>
        </p:spPr>
      </p:pic>
      <p:sp>
        <p:nvSpPr>
          <p:cNvPr id="4" name="TextBox 3">
            <a:extLst>
              <a:ext uri="{FF2B5EF4-FFF2-40B4-BE49-F238E27FC236}">
                <a16:creationId xmlns:a16="http://schemas.microsoft.com/office/drawing/2014/main" id="{1DB6DE5A-1900-4A57-8B86-E32FEEF0D3BD}"/>
              </a:ext>
            </a:extLst>
          </p:cNvPr>
          <p:cNvSpPr txBox="1"/>
          <p:nvPr/>
        </p:nvSpPr>
        <p:spPr>
          <a:xfrm>
            <a:off x="623392" y="1287350"/>
            <a:ext cx="4896544" cy="4401205"/>
          </a:xfrm>
          <a:prstGeom prst="rect">
            <a:avLst/>
          </a:prstGeom>
          <a:noFill/>
        </p:spPr>
        <p:txBody>
          <a:bodyPr wrap="square" rtlCol="0">
            <a:spAutoFit/>
          </a:bodyPr>
          <a:lstStyle/>
          <a:p>
            <a:pPr marL="285750" indent="-285750">
              <a:buFont typeface="Arial" panose="020B0604020202020204" pitchFamily="34" charset="0"/>
              <a:buChar char="•"/>
            </a:pPr>
            <a:r>
              <a:rPr lang="en-US" sz="2000" dirty="0">
                <a:latin typeface="+mj-lt"/>
              </a:rPr>
              <a:t>Implementation of identified actions in the short and medium-term.</a:t>
            </a:r>
          </a:p>
          <a:p>
            <a:pPr marL="285750" indent="-285750">
              <a:buFont typeface="Arial" panose="020B0604020202020204" pitchFamily="34" charset="0"/>
              <a:buChar char="•"/>
            </a:pPr>
            <a:endParaRPr lang="en-US" sz="2000" dirty="0">
              <a:latin typeface="+mj-lt"/>
            </a:endParaRPr>
          </a:p>
          <a:p>
            <a:pPr marL="285750" indent="-285750">
              <a:buFont typeface="Arial" panose="020B0604020202020204" pitchFamily="34" charset="0"/>
              <a:buChar char="•"/>
            </a:pPr>
            <a:r>
              <a:rPr lang="en-US" sz="2000" dirty="0">
                <a:latin typeface="+mj-lt"/>
              </a:rPr>
              <a:t>IRENA will accompany Jordan during the post </a:t>
            </a:r>
            <a:r>
              <a:rPr lang="en-US" sz="2000">
                <a:latin typeface="+mj-lt"/>
              </a:rPr>
              <a:t>RRA process.</a:t>
            </a:r>
            <a:endParaRPr lang="en-US" sz="2000" dirty="0">
              <a:latin typeface="+mj-lt"/>
            </a:endParaRPr>
          </a:p>
          <a:p>
            <a:pPr marL="285750" indent="-285750">
              <a:buFont typeface="Arial" panose="020B0604020202020204" pitchFamily="34" charset="0"/>
              <a:buChar char="•"/>
            </a:pPr>
            <a:endParaRPr lang="en-US" sz="2000" dirty="0">
              <a:latin typeface="+mj-lt"/>
            </a:endParaRPr>
          </a:p>
          <a:p>
            <a:pPr marL="285750" indent="-285750">
              <a:buFont typeface="Arial" panose="020B0604020202020204" pitchFamily="34" charset="0"/>
              <a:buChar char="•"/>
            </a:pPr>
            <a:r>
              <a:rPr lang="en-US" sz="2000" dirty="0">
                <a:latin typeface="+mj-lt"/>
              </a:rPr>
              <a:t>Post-RRA process will require co-ordination and engagement of national public and private institutions as well as regional and international partners.</a:t>
            </a:r>
          </a:p>
          <a:p>
            <a:pPr marL="285750" indent="-285750">
              <a:buFont typeface="Arial" panose="020B0604020202020204" pitchFamily="34" charset="0"/>
              <a:buChar char="•"/>
            </a:pPr>
            <a:endParaRPr lang="en-US" sz="2000" dirty="0">
              <a:latin typeface="+mj-lt"/>
            </a:endParaRPr>
          </a:p>
          <a:p>
            <a:pPr marL="285750" indent="-285750">
              <a:buFont typeface="Arial" panose="020B0604020202020204" pitchFamily="34" charset="0"/>
              <a:buChar char="•"/>
            </a:pPr>
            <a:r>
              <a:rPr lang="en-US" sz="2000" dirty="0">
                <a:latin typeface="+mj-lt"/>
              </a:rPr>
              <a:t>RRA highlights are being used in IRENA’s support to the NDC revision process and LTS in the country.</a:t>
            </a:r>
          </a:p>
        </p:txBody>
      </p:sp>
    </p:spTree>
    <p:extLst>
      <p:ext uri="{BB962C8B-B14F-4D97-AF65-F5344CB8AC3E}">
        <p14:creationId xmlns:p14="http://schemas.microsoft.com/office/powerpoint/2010/main" val="1568201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081DF22-38CD-A441-B026-2E7E62CF2390}"/>
              </a:ext>
            </a:extLst>
          </p:cNvPr>
          <p:cNvSpPr txBox="1"/>
          <p:nvPr/>
        </p:nvSpPr>
        <p:spPr>
          <a:xfrm>
            <a:off x="699349" y="2402582"/>
            <a:ext cx="4885432" cy="1200329"/>
          </a:xfrm>
          <a:prstGeom prst="rect">
            <a:avLst/>
          </a:prstGeom>
          <a:noFill/>
        </p:spPr>
        <p:txBody>
          <a:bodyPr wrap="square" rtlCol="0">
            <a:spAutoFit/>
          </a:bodyPr>
          <a:lstStyle/>
          <a:p>
            <a:pPr lvl="0" eaLnBrk="1" fontAlgn="auto" hangingPunct="1">
              <a:spcBef>
                <a:spcPts val="0"/>
              </a:spcBef>
              <a:spcAft>
                <a:spcPts val="0"/>
              </a:spcAft>
              <a:defRPr/>
            </a:pPr>
            <a:r>
              <a:rPr lang="en-US" sz="2400" dirty="0"/>
              <a:t>Post Renewables Readiness Assessment action plan and way forward</a:t>
            </a:r>
            <a:endParaRPr kumimoji="0" lang="en-US" sz="2400" b="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sp>
        <p:nvSpPr>
          <p:cNvPr id="14" name="TextBox 13">
            <a:extLst>
              <a:ext uri="{FF2B5EF4-FFF2-40B4-BE49-F238E27FC236}">
                <a16:creationId xmlns:a16="http://schemas.microsoft.com/office/drawing/2014/main" id="{18B11296-6088-344A-A8D3-8FF6EB19D5A1}"/>
              </a:ext>
            </a:extLst>
          </p:cNvPr>
          <p:cNvSpPr txBox="1"/>
          <p:nvPr/>
        </p:nvSpPr>
        <p:spPr>
          <a:xfrm>
            <a:off x="6312024" y="151179"/>
            <a:ext cx="5514907" cy="6370975"/>
          </a:xfrm>
          <a:prstGeom prst="rect">
            <a:avLst/>
          </a:prstGeom>
          <a:noFill/>
        </p:spPr>
        <p:txBody>
          <a:bodyPr wrap="square" rtlCol="0">
            <a:spAutoFit/>
          </a:bodyPr>
          <a:lstStyle/>
          <a:p>
            <a:pPr marL="514350" marR="0" lvl="0" indent="-5143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dirty="0">
                <a:solidFill>
                  <a:prstClr val="white"/>
                </a:solidFill>
                <a:latin typeface="Calibri" panose="020F0502020204030204"/>
              </a:rPr>
              <a:t>Marianne Klarsfeld, Principal Banker Sustainable Infrastructure Group, EBRD</a:t>
            </a:r>
          </a:p>
          <a:p>
            <a:pPr marR="0" lvl="0" algn="l" defTabSz="914400" rtl="0" eaLnBrk="1" fontAlgn="auto" latinLnBrk="0" hangingPunct="1">
              <a:lnSpc>
                <a:spcPct val="100000"/>
              </a:lnSpc>
              <a:spcBef>
                <a:spcPts val="0"/>
              </a:spcBef>
              <a:spcAft>
                <a:spcPts val="0"/>
              </a:spcAft>
              <a:buClrTx/>
              <a:buSzTx/>
              <a:tabLst/>
              <a:defRPr/>
            </a:pPr>
            <a:endParaRPr lang="en-US" sz="2400" dirty="0">
              <a:solidFill>
                <a:prstClr val="white"/>
              </a:solidFill>
              <a:latin typeface="Calibri" panose="020F0502020204030204"/>
            </a:endParaRPr>
          </a:p>
          <a:p>
            <a:pPr marL="514350" marR="0" lvl="0" indent="-5143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dirty="0">
                <a:solidFill>
                  <a:prstClr val="white"/>
                </a:solidFill>
                <a:latin typeface="Calibri" panose="020F0502020204030204"/>
              </a:rPr>
              <a:t>Rasmi </a:t>
            </a:r>
            <a:r>
              <a:rPr lang="en-US" sz="2400" dirty="0" err="1">
                <a:solidFill>
                  <a:prstClr val="white"/>
                </a:solidFill>
                <a:latin typeface="Calibri" panose="020F0502020204030204"/>
              </a:rPr>
              <a:t>Hamzeh</a:t>
            </a:r>
            <a:r>
              <a:rPr lang="en-US" sz="2400" dirty="0">
                <a:solidFill>
                  <a:prstClr val="white"/>
                </a:solidFill>
                <a:latin typeface="Calibri" panose="020F0502020204030204"/>
              </a:rPr>
              <a:t>, Director, Jordan Renewable Energy and Energy Efficiency Fund (JREEEF)</a:t>
            </a:r>
          </a:p>
          <a:p>
            <a:pPr marR="0" lvl="0" algn="l" defTabSz="914400" rtl="0" eaLnBrk="1" fontAlgn="auto" latinLnBrk="0" hangingPunct="1">
              <a:lnSpc>
                <a:spcPct val="100000"/>
              </a:lnSpc>
              <a:spcBef>
                <a:spcPts val="0"/>
              </a:spcBef>
              <a:spcAft>
                <a:spcPts val="0"/>
              </a:spcAft>
              <a:buClrTx/>
              <a:buSzTx/>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S PGothic" panose="020B0600070205080204" pitchFamily="34" charset="-128"/>
              <a:cs typeface="+mn-cs"/>
            </a:endParaRPr>
          </a:p>
          <a:p>
            <a:pPr marL="514350" marR="0" lvl="0" indent="-5143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S PGothic" panose="020B0600070205080204" pitchFamily="34" charset="-128"/>
                <a:cs typeface="+mn-cs"/>
              </a:rPr>
              <a:t>Yacoub Marar, Director Renewable Energy and Energy Efficiency, MEMR</a:t>
            </a:r>
          </a:p>
          <a:p>
            <a:pPr marR="0" lvl="0" algn="l" defTabSz="914400" rtl="0" eaLnBrk="1" fontAlgn="auto" latinLnBrk="0" hangingPunct="1">
              <a:lnSpc>
                <a:spcPct val="100000"/>
              </a:lnSpc>
              <a:spcBef>
                <a:spcPts val="0"/>
              </a:spcBef>
              <a:spcAft>
                <a:spcPts val="0"/>
              </a:spcAft>
              <a:buClrTx/>
              <a:buSzTx/>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S PGothic" panose="020B0600070205080204" pitchFamily="34" charset="-128"/>
              <a:cs typeface="+mn-cs"/>
            </a:endParaRPr>
          </a:p>
          <a:p>
            <a:pPr marL="514350" marR="0" lvl="0" indent="-5143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dirty="0" err="1">
                <a:solidFill>
                  <a:prstClr val="white"/>
                </a:solidFill>
                <a:latin typeface="Calibri" panose="020F0502020204030204"/>
              </a:rPr>
              <a:t>Belal</a:t>
            </a:r>
            <a:r>
              <a:rPr lang="en-US" sz="2400" dirty="0">
                <a:solidFill>
                  <a:prstClr val="white"/>
                </a:solidFill>
                <a:latin typeface="Calibri" panose="020F0502020204030204"/>
              </a:rPr>
              <a:t> </a:t>
            </a:r>
            <a:r>
              <a:rPr lang="en-US" sz="2400" dirty="0" err="1">
                <a:solidFill>
                  <a:prstClr val="white"/>
                </a:solidFill>
                <a:latin typeface="Calibri" panose="020F0502020204030204"/>
              </a:rPr>
              <a:t>Shqarin</a:t>
            </a:r>
            <a:r>
              <a:rPr lang="en-US" sz="2400" dirty="0">
                <a:solidFill>
                  <a:prstClr val="white"/>
                </a:solidFill>
                <a:latin typeface="Calibri" panose="020F0502020204030204"/>
              </a:rPr>
              <a:t>, Director Climate Change, Ministry of Environment</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dirty="0">
              <a:solidFill>
                <a:prstClr val="white"/>
              </a:solidFill>
              <a:latin typeface="Calibri" panose="020F0502020204030204"/>
            </a:endParaRPr>
          </a:p>
          <a:p>
            <a:pPr marL="514350" marR="0" lvl="0" indent="-5143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dirty="0">
                <a:solidFill>
                  <a:prstClr val="white"/>
                </a:solidFill>
                <a:latin typeface="Calibri" panose="020F0502020204030204"/>
              </a:rPr>
              <a:t>Kishan Khoday, Regional Team Leader, Nature, Climate and Energy, UNDP Regional Hub for Arab States</a:t>
            </a:r>
            <a:endParaRPr kumimoji="0" lang="en-US" sz="2400" b="0" i="0" u="none" strike="noStrike" kern="1200" cap="none" spc="0" normalizeH="0" baseline="0" noProof="0" dirty="0">
              <a:ln>
                <a:noFill/>
              </a:ln>
              <a:solidFill>
                <a:prstClr val="white"/>
              </a:solidFill>
              <a:effectLst/>
              <a:uLnTx/>
              <a:uFillTx/>
              <a:latin typeface="Calibri" panose="020F0502020204030204"/>
              <a:ea typeface="MS PGothic" panose="020B0600070205080204" pitchFamily="34" charset="-128"/>
              <a:cs typeface="+mn-cs"/>
            </a:endParaRPr>
          </a:p>
        </p:txBody>
      </p:sp>
      <p:sp>
        <p:nvSpPr>
          <p:cNvPr id="17" name="TextBox 16">
            <a:extLst>
              <a:ext uri="{FF2B5EF4-FFF2-40B4-BE49-F238E27FC236}">
                <a16:creationId xmlns:a16="http://schemas.microsoft.com/office/drawing/2014/main" id="{BA3BA7A3-5964-DA44-8C06-53D98A45AF1B}"/>
              </a:ext>
            </a:extLst>
          </p:cNvPr>
          <p:cNvSpPr txBox="1"/>
          <p:nvPr/>
        </p:nvSpPr>
        <p:spPr>
          <a:xfrm>
            <a:off x="691709" y="1793122"/>
            <a:ext cx="4627777"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srgbClr val="006192"/>
                </a:solidFill>
                <a:effectLst/>
                <a:uLnTx/>
                <a:uFillTx/>
                <a:latin typeface="Calibri" panose="020F0502020204030204"/>
                <a:ea typeface="MS PGothic" panose="020B0600070205080204" pitchFamily="34" charset="-128"/>
                <a:cs typeface="+mn-cs"/>
              </a:rPr>
              <a:t>Panel Discussion</a:t>
            </a:r>
            <a:endParaRPr kumimoji="0" lang="en-US" sz="4000" b="0" i="0" u="none" strike="noStrike" kern="1200" cap="none" spc="0" normalizeH="0" baseline="0" noProof="0" dirty="0">
              <a:ln>
                <a:noFill/>
              </a:ln>
              <a:solidFill>
                <a:srgbClr val="006192"/>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spTree>
    <p:extLst>
      <p:ext uri="{BB962C8B-B14F-4D97-AF65-F5344CB8AC3E}">
        <p14:creationId xmlns:p14="http://schemas.microsoft.com/office/powerpoint/2010/main" val="10592355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ECEE98B7-C6D1-5F44-9B4F-9B8FE5183CA6}"/>
              </a:ext>
            </a:extLst>
          </p:cNvPr>
          <p:cNvSpPr txBox="1"/>
          <p:nvPr/>
        </p:nvSpPr>
        <p:spPr>
          <a:xfrm>
            <a:off x="-1896888" y="3140968"/>
            <a:ext cx="12192000" cy="1169551"/>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3000" b="1" i="0" u="none" strike="noStrike" kern="1200" cap="none" spc="0" normalizeH="0" baseline="0" noProof="0" dirty="0">
                <a:ln>
                  <a:noFill/>
                </a:ln>
                <a:solidFill>
                  <a:srgbClr val="0073A9"/>
                </a:solidFill>
                <a:effectLst/>
                <a:uLnTx/>
                <a:uFillTx/>
                <a:latin typeface="Arial" panose="020B0604020202020204" pitchFamily="34" charset="0"/>
                <a:ea typeface="MS PGothic" panose="020B0600070205080204" pitchFamily="34" charset="-128"/>
                <a:cs typeface="+mn-cs"/>
              </a:rPr>
              <a:t>Closing Remarks</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40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sp>
        <p:nvSpPr>
          <p:cNvPr id="3" name="Rectangle 2">
            <a:extLst>
              <a:ext uri="{FF2B5EF4-FFF2-40B4-BE49-F238E27FC236}">
                <a16:creationId xmlns:a16="http://schemas.microsoft.com/office/drawing/2014/main" id="{094D7A90-ECCD-4D2A-9EAC-0A6251DECB61}"/>
              </a:ext>
            </a:extLst>
          </p:cNvPr>
          <p:cNvSpPr/>
          <p:nvPr/>
        </p:nvSpPr>
        <p:spPr>
          <a:xfrm>
            <a:off x="2423592" y="2235200"/>
            <a:ext cx="137963" cy="4622800"/>
          </a:xfrm>
          <a:prstGeom prst="rect">
            <a:avLst/>
          </a:prstGeom>
          <a:solidFill>
            <a:srgbClr val="0061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p>
        </p:txBody>
      </p:sp>
    </p:spTree>
    <p:extLst>
      <p:ext uri="{BB962C8B-B14F-4D97-AF65-F5344CB8AC3E}">
        <p14:creationId xmlns:p14="http://schemas.microsoft.com/office/powerpoint/2010/main" val="31215041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10F7042-31EB-40E3-8263-B14E25E3AE53}"/>
              </a:ext>
            </a:extLst>
          </p:cNvPr>
          <p:cNvSpPr txBox="1"/>
          <p:nvPr/>
        </p:nvSpPr>
        <p:spPr>
          <a:xfrm>
            <a:off x="0" y="2459504"/>
            <a:ext cx="12192000" cy="707886"/>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4000" b="1"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Thank you!</a:t>
            </a:r>
          </a:p>
        </p:txBody>
      </p:sp>
    </p:spTree>
    <p:extLst>
      <p:ext uri="{BB962C8B-B14F-4D97-AF65-F5344CB8AC3E}">
        <p14:creationId xmlns:p14="http://schemas.microsoft.com/office/powerpoint/2010/main" val="10729818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05263E03-54B1-F64A-9A7B-CEA10CE4DF88}"/>
              </a:ext>
            </a:extLst>
          </p:cNvPr>
          <p:cNvSpPr txBox="1"/>
          <p:nvPr/>
        </p:nvSpPr>
        <p:spPr>
          <a:xfrm>
            <a:off x="1385253" y="3098141"/>
            <a:ext cx="2827189" cy="1323439"/>
          </a:xfrm>
          <a:prstGeom prst="rect">
            <a:avLst/>
          </a:prstGeom>
          <a:noFill/>
        </p:spPr>
        <p:txBody>
          <a:bodyPr wrap="square" rtlCol="0">
            <a:spAutoFit/>
          </a:bodyPr>
          <a:lstStyle/>
          <a:p>
            <a:pPr algn="ctr"/>
            <a:r>
              <a:rPr lang="en-US" sz="2000" dirty="0"/>
              <a:t>Please make sure to </a:t>
            </a:r>
            <a:r>
              <a:rPr lang="en-US" sz="2000" b="1" dirty="0"/>
              <a:t>mute</a:t>
            </a:r>
            <a:r>
              <a:rPr lang="en-US" sz="2000" dirty="0"/>
              <a:t> yourself during the session to avoid background noise</a:t>
            </a:r>
            <a:endParaRPr lang="en-GB" sz="2000" dirty="0"/>
          </a:p>
        </p:txBody>
      </p:sp>
      <p:sp>
        <p:nvSpPr>
          <p:cNvPr id="12" name="TextBox 11">
            <a:extLst>
              <a:ext uri="{FF2B5EF4-FFF2-40B4-BE49-F238E27FC236}">
                <a16:creationId xmlns:a16="http://schemas.microsoft.com/office/drawing/2014/main" id="{0F3C02E9-71DA-7245-8477-1BEBB7FD3BD4}"/>
              </a:ext>
            </a:extLst>
          </p:cNvPr>
          <p:cNvSpPr txBox="1"/>
          <p:nvPr/>
        </p:nvSpPr>
        <p:spPr>
          <a:xfrm>
            <a:off x="7979560" y="3098140"/>
            <a:ext cx="2962178" cy="1323439"/>
          </a:xfrm>
          <a:prstGeom prst="rect">
            <a:avLst/>
          </a:prstGeom>
          <a:noFill/>
        </p:spPr>
        <p:txBody>
          <a:bodyPr wrap="square" rtlCol="0">
            <a:spAutoFit/>
          </a:bodyPr>
          <a:lstStyle/>
          <a:p>
            <a:pPr algn="ctr"/>
            <a:r>
              <a:rPr lang="en-US" sz="2000" dirty="0"/>
              <a:t>If you encounter any technical issues, please write your issue in the </a:t>
            </a:r>
            <a:r>
              <a:rPr lang="en-US" sz="2000" b="1" dirty="0"/>
              <a:t>chat box</a:t>
            </a:r>
            <a:endParaRPr lang="en-GB" sz="2000" b="1" dirty="0"/>
          </a:p>
        </p:txBody>
      </p:sp>
      <p:pic>
        <p:nvPicPr>
          <p:cNvPr id="14" name="Picture 13">
            <a:extLst>
              <a:ext uri="{FF2B5EF4-FFF2-40B4-BE49-F238E27FC236}">
                <a16:creationId xmlns:a16="http://schemas.microsoft.com/office/drawing/2014/main" id="{BC5E87D5-05EA-4240-8F90-1E2DA1C541D7}"/>
              </a:ext>
            </a:extLst>
          </p:cNvPr>
          <p:cNvPicPr>
            <a:picLocks noChangeAspect="1"/>
          </p:cNvPicPr>
          <p:nvPr/>
        </p:nvPicPr>
        <p:blipFill>
          <a:blip r:embed="rId2"/>
          <a:stretch>
            <a:fillRect/>
          </a:stretch>
        </p:blipFill>
        <p:spPr>
          <a:xfrm>
            <a:off x="1923817" y="2107838"/>
            <a:ext cx="875031" cy="1065632"/>
          </a:xfrm>
          <a:prstGeom prst="rect">
            <a:avLst/>
          </a:prstGeom>
        </p:spPr>
      </p:pic>
      <p:pic>
        <p:nvPicPr>
          <p:cNvPr id="15" name="Picture 14">
            <a:extLst>
              <a:ext uri="{FF2B5EF4-FFF2-40B4-BE49-F238E27FC236}">
                <a16:creationId xmlns:a16="http://schemas.microsoft.com/office/drawing/2014/main" id="{D1892F58-87F0-AE4C-A9D1-1EF1A3D04A8C}"/>
              </a:ext>
            </a:extLst>
          </p:cNvPr>
          <p:cNvPicPr>
            <a:picLocks noChangeAspect="1"/>
          </p:cNvPicPr>
          <p:nvPr/>
        </p:nvPicPr>
        <p:blipFill>
          <a:blip r:embed="rId3"/>
          <a:stretch>
            <a:fillRect/>
          </a:stretch>
        </p:blipFill>
        <p:spPr>
          <a:xfrm>
            <a:off x="5561778" y="2029322"/>
            <a:ext cx="917827" cy="1222665"/>
          </a:xfrm>
          <a:prstGeom prst="rect">
            <a:avLst/>
          </a:prstGeom>
        </p:spPr>
      </p:pic>
      <p:pic>
        <p:nvPicPr>
          <p:cNvPr id="16" name="Picture 15">
            <a:extLst>
              <a:ext uri="{FF2B5EF4-FFF2-40B4-BE49-F238E27FC236}">
                <a16:creationId xmlns:a16="http://schemas.microsoft.com/office/drawing/2014/main" id="{B58F76D4-D080-0C41-982C-F65CAFAED443}"/>
              </a:ext>
            </a:extLst>
          </p:cNvPr>
          <p:cNvPicPr>
            <a:picLocks noChangeAspect="1"/>
          </p:cNvPicPr>
          <p:nvPr/>
        </p:nvPicPr>
        <p:blipFill>
          <a:blip r:embed="rId4"/>
          <a:stretch>
            <a:fillRect/>
          </a:stretch>
        </p:blipFill>
        <p:spPr>
          <a:xfrm>
            <a:off x="9324071" y="2083912"/>
            <a:ext cx="1188720" cy="1113485"/>
          </a:xfrm>
          <a:prstGeom prst="rect">
            <a:avLst/>
          </a:prstGeom>
        </p:spPr>
      </p:pic>
      <p:pic>
        <p:nvPicPr>
          <p:cNvPr id="2" name="Picture 1">
            <a:extLst>
              <a:ext uri="{FF2B5EF4-FFF2-40B4-BE49-F238E27FC236}">
                <a16:creationId xmlns:a16="http://schemas.microsoft.com/office/drawing/2014/main" id="{A2A490F4-086A-EA44-859E-DE6E6DC68D9B}"/>
              </a:ext>
            </a:extLst>
          </p:cNvPr>
          <p:cNvPicPr>
            <a:picLocks noChangeAspect="1"/>
          </p:cNvPicPr>
          <p:nvPr/>
        </p:nvPicPr>
        <p:blipFill>
          <a:blip r:embed="rId5"/>
          <a:stretch>
            <a:fillRect/>
          </a:stretch>
        </p:blipFill>
        <p:spPr>
          <a:xfrm>
            <a:off x="2177252" y="1995757"/>
            <a:ext cx="967361" cy="1178074"/>
          </a:xfrm>
          <a:prstGeom prst="rect">
            <a:avLst/>
          </a:prstGeom>
        </p:spPr>
      </p:pic>
      <p:pic>
        <p:nvPicPr>
          <p:cNvPr id="17" name="Picture 16">
            <a:extLst>
              <a:ext uri="{FF2B5EF4-FFF2-40B4-BE49-F238E27FC236}">
                <a16:creationId xmlns:a16="http://schemas.microsoft.com/office/drawing/2014/main" id="{207C7B7D-EA6C-4B41-AF0F-52DDECB2AAC7}"/>
              </a:ext>
            </a:extLst>
          </p:cNvPr>
          <p:cNvPicPr>
            <a:picLocks noChangeAspect="1"/>
          </p:cNvPicPr>
          <p:nvPr/>
        </p:nvPicPr>
        <p:blipFill>
          <a:blip r:embed="rId6"/>
          <a:stretch>
            <a:fillRect/>
          </a:stretch>
        </p:blipFill>
        <p:spPr>
          <a:xfrm>
            <a:off x="8720184" y="1992678"/>
            <a:ext cx="1264248" cy="1184233"/>
          </a:xfrm>
          <a:prstGeom prst="rect">
            <a:avLst/>
          </a:prstGeom>
        </p:spPr>
      </p:pic>
    </p:spTree>
    <p:extLst>
      <p:ext uri="{BB962C8B-B14F-4D97-AF65-F5344CB8AC3E}">
        <p14:creationId xmlns:p14="http://schemas.microsoft.com/office/powerpoint/2010/main" val="18509198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081DF22-38CD-A441-B026-2E7E62CF2390}"/>
              </a:ext>
            </a:extLst>
          </p:cNvPr>
          <p:cNvSpPr txBox="1"/>
          <p:nvPr/>
        </p:nvSpPr>
        <p:spPr>
          <a:xfrm>
            <a:off x="699349" y="2402582"/>
            <a:ext cx="4885432"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Renewables </a:t>
            </a:r>
            <a:r>
              <a:rPr kumimoji="0" lang="en-GB" sz="32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Readiness Assessment for Jordan</a:t>
            </a:r>
            <a:endParaRPr kumimoji="0" lang="en-US" sz="32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sp>
        <p:nvSpPr>
          <p:cNvPr id="14" name="TextBox 13">
            <a:extLst>
              <a:ext uri="{FF2B5EF4-FFF2-40B4-BE49-F238E27FC236}">
                <a16:creationId xmlns:a16="http://schemas.microsoft.com/office/drawing/2014/main" id="{18B11296-6088-344A-A8D3-8FF6EB19D5A1}"/>
              </a:ext>
            </a:extLst>
          </p:cNvPr>
          <p:cNvSpPr txBox="1"/>
          <p:nvPr/>
        </p:nvSpPr>
        <p:spPr>
          <a:xfrm>
            <a:off x="6677093" y="1495655"/>
            <a:ext cx="5514907" cy="1815882"/>
          </a:xfrm>
          <a:prstGeom prst="rect">
            <a:avLst/>
          </a:prstGeom>
          <a:noFill/>
        </p:spPr>
        <p:txBody>
          <a:bodyPr wrap="square" rtlCol="0">
            <a:spAutoFit/>
          </a:bodyPr>
          <a:lstStyle/>
          <a:p>
            <a:pPr marL="514350" marR="0" lvl="0" indent="-514350" algn="l" defTabSz="914400" rtl="0" eaLnBrk="1" fontAlgn="auto" latinLnBrk="0" hangingPunct="1">
              <a:lnSpc>
                <a:spcPct val="100000"/>
              </a:lnSpc>
              <a:spcBef>
                <a:spcPts val="0"/>
              </a:spcBef>
              <a:spcAft>
                <a:spcPts val="0"/>
              </a:spcAft>
              <a:buClrTx/>
              <a:buSzTx/>
              <a:buAutoNum type="arabicPeriod"/>
              <a:tabLst/>
              <a:defRPr/>
            </a:pPr>
            <a:r>
              <a:rPr lang="en-US" sz="2800" dirty="0">
                <a:solidFill>
                  <a:prstClr val="white"/>
                </a:solidFill>
                <a:latin typeface="Calibri" panose="020F0502020204030204"/>
                <a:ea typeface="+mn-ea"/>
              </a:rPr>
              <a:t>Opening Remarks</a:t>
            </a:r>
          </a:p>
          <a:p>
            <a:pPr marL="514350" marR="0" lvl="0" indent="-5143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800" b="0" u="none" strike="noStrike" kern="1200" cap="none" spc="0" normalizeH="0" baseline="0" noProof="0" dirty="0">
                <a:ln>
                  <a:noFill/>
                </a:ln>
                <a:solidFill>
                  <a:prstClr val="white"/>
                </a:solidFill>
                <a:effectLst/>
                <a:uLnTx/>
                <a:uFillTx/>
                <a:latin typeface="Calibri" panose="020F0502020204030204"/>
                <a:ea typeface="+mn-ea"/>
                <a:cs typeface="+mn-cs"/>
              </a:rPr>
              <a:t>Presentation Key Findings and Recommendations </a:t>
            </a:r>
          </a:p>
          <a:p>
            <a:pPr marL="514350" marR="0" lvl="0" indent="-51435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2800" b="0" u="none" strike="noStrike" kern="1200" cap="none" spc="0" normalizeH="0" baseline="0" noProof="0" dirty="0">
                <a:ln>
                  <a:noFill/>
                </a:ln>
                <a:solidFill>
                  <a:prstClr val="white"/>
                </a:solidFill>
                <a:effectLst/>
                <a:uLnTx/>
                <a:uFillTx/>
                <a:latin typeface="Calibri" panose="020F0502020204030204"/>
                <a:ea typeface="+mn-ea"/>
                <a:cs typeface="+mn-cs"/>
              </a:rPr>
              <a:t>Pan</a:t>
            </a:r>
            <a:r>
              <a:rPr lang="en-US" sz="2800" dirty="0">
                <a:solidFill>
                  <a:prstClr val="white"/>
                </a:solidFill>
                <a:latin typeface="Calibri" panose="020F0502020204030204"/>
                <a:ea typeface="+mn-ea"/>
              </a:rPr>
              <a:t>el Discussion</a:t>
            </a:r>
          </a:p>
        </p:txBody>
      </p:sp>
      <p:sp>
        <p:nvSpPr>
          <p:cNvPr id="17" name="TextBox 16">
            <a:extLst>
              <a:ext uri="{FF2B5EF4-FFF2-40B4-BE49-F238E27FC236}">
                <a16:creationId xmlns:a16="http://schemas.microsoft.com/office/drawing/2014/main" id="{BA3BA7A3-5964-DA44-8C06-53D98A45AF1B}"/>
              </a:ext>
            </a:extLst>
          </p:cNvPr>
          <p:cNvSpPr txBox="1"/>
          <p:nvPr/>
        </p:nvSpPr>
        <p:spPr>
          <a:xfrm>
            <a:off x="691709" y="1793122"/>
            <a:ext cx="4627777"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srgbClr val="006192"/>
                </a:solidFill>
                <a:effectLst/>
                <a:uLnTx/>
                <a:uFillTx/>
                <a:latin typeface="Calibri" panose="020F0502020204030204"/>
                <a:ea typeface="+mn-ea"/>
                <a:cs typeface="+mn-cs"/>
              </a:rPr>
              <a:t>AGENDA</a:t>
            </a:r>
            <a:endParaRPr kumimoji="0" lang="en-US" sz="4000" b="0" i="0" u="none" strike="noStrike" kern="1200" cap="none" spc="0" normalizeH="0" baseline="0" noProof="0" dirty="0">
              <a:ln>
                <a:noFill/>
              </a:ln>
              <a:solidFill>
                <a:srgbClr val="006192"/>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spTree>
    <p:extLst>
      <p:ext uri="{BB962C8B-B14F-4D97-AF65-F5344CB8AC3E}">
        <p14:creationId xmlns:p14="http://schemas.microsoft.com/office/powerpoint/2010/main" val="34199749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ECEE98B7-C6D1-5F44-9B4F-9B8FE5183CA6}"/>
              </a:ext>
            </a:extLst>
          </p:cNvPr>
          <p:cNvSpPr txBox="1"/>
          <p:nvPr/>
        </p:nvSpPr>
        <p:spPr>
          <a:xfrm>
            <a:off x="2648055" y="2459504"/>
            <a:ext cx="12192000" cy="1292662"/>
          </a:xfrm>
          <a:prstGeom prst="rect">
            <a:avLst/>
          </a:prstGeom>
          <a:noFill/>
        </p:spPr>
        <p:txBody>
          <a:bodyPr wrap="square" rtlCol="0">
            <a:spAutoFit/>
          </a:bodyPr>
          <a:lstStyle/>
          <a:p>
            <a:pPr>
              <a:defRPr/>
            </a:pPr>
            <a:r>
              <a:rPr lang="en-GB" sz="3000" b="1" dirty="0">
                <a:solidFill>
                  <a:srgbClr val="0073A9"/>
                </a:solidFill>
              </a:rPr>
              <a:t>OPENING REMARKS</a:t>
            </a:r>
            <a:endParaRPr lang="en-GB" sz="3000" b="1" dirty="0">
              <a:solidFill>
                <a:srgbClr val="0073A9"/>
              </a:solidFill>
              <a:latin typeface="Calibri" panose="020F0502020204030204" pitchFamily="34" charset="0"/>
              <a:ea typeface="Verdana" panose="020B0604030504040204" pitchFamily="34" charset="0"/>
              <a:cs typeface="Calibri" panose="020F0502020204030204" pitchFamily="34" charset="0"/>
            </a:endParaRPr>
          </a:p>
          <a:p>
            <a:pPr>
              <a:defRPr/>
            </a:pPr>
            <a:r>
              <a:rPr lang="en-GB" sz="2400" b="1" dirty="0">
                <a:latin typeface="Calibri" panose="020F0502020204030204" pitchFamily="34" charset="0"/>
                <a:ea typeface="Verdana" panose="020B0604030504040204" pitchFamily="34" charset="0"/>
                <a:cs typeface="Calibri" panose="020F0502020204030204" pitchFamily="34" charset="0"/>
              </a:rPr>
              <a:t>H.E. Hala </a:t>
            </a:r>
            <a:r>
              <a:rPr lang="en-GB" sz="2400" b="1" dirty="0" err="1">
                <a:latin typeface="Calibri" panose="020F0502020204030204" pitchFamily="34" charset="0"/>
                <a:ea typeface="Verdana" panose="020B0604030504040204" pitchFamily="34" charset="0"/>
                <a:cs typeface="Calibri" panose="020F0502020204030204" pitchFamily="34" charset="0"/>
              </a:rPr>
              <a:t>Zawati</a:t>
            </a:r>
            <a:endParaRPr lang="en-GB" sz="2400" b="1" dirty="0">
              <a:latin typeface="Calibri" panose="020F0502020204030204" pitchFamily="34" charset="0"/>
              <a:ea typeface="Verdana" panose="020B0604030504040204" pitchFamily="34" charset="0"/>
              <a:cs typeface="Calibri" panose="020F0502020204030204" pitchFamily="34" charset="0"/>
            </a:endParaRPr>
          </a:p>
          <a:p>
            <a:pPr>
              <a:defRPr/>
            </a:pPr>
            <a:r>
              <a:rPr lang="en-GB" sz="2400" b="1" dirty="0">
                <a:latin typeface="Calibri" panose="020F0502020204030204" pitchFamily="34" charset="0"/>
                <a:ea typeface="Verdana" panose="020B0604030504040204" pitchFamily="34" charset="0"/>
                <a:cs typeface="Calibri" panose="020F0502020204030204" pitchFamily="34" charset="0"/>
              </a:rPr>
              <a:t>Mr. Francesco La Camera</a:t>
            </a:r>
          </a:p>
        </p:txBody>
      </p:sp>
      <p:sp>
        <p:nvSpPr>
          <p:cNvPr id="3" name="Rectangle 2">
            <a:extLst>
              <a:ext uri="{FF2B5EF4-FFF2-40B4-BE49-F238E27FC236}">
                <a16:creationId xmlns:a16="http://schemas.microsoft.com/office/drawing/2014/main" id="{14C7B87D-7295-4A9E-90E4-76BEA4CE8FDE}"/>
              </a:ext>
            </a:extLst>
          </p:cNvPr>
          <p:cNvSpPr/>
          <p:nvPr/>
        </p:nvSpPr>
        <p:spPr>
          <a:xfrm>
            <a:off x="2423592" y="2235200"/>
            <a:ext cx="137963" cy="4622800"/>
          </a:xfrm>
          <a:prstGeom prst="rect">
            <a:avLst/>
          </a:prstGeom>
          <a:solidFill>
            <a:srgbClr val="0061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p>
        </p:txBody>
      </p:sp>
    </p:spTree>
    <p:extLst>
      <p:ext uri="{BB962C8B-B14F-4D97-AF65-F5344CB8AC3E}">
        <p14:creationId xmlns:p14="http://schemas.microsoft.com/office/powerpoint/2010/main" val="17296481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9E63688-D8BB-4644-B3E9-6E82B3EADBFB}"/>
              </a:ext>
            </a:extLst>
          </p:cNvPr>
          <p:cNvPicPr>
            <a:picLocks noChangeAspect="1"/>
          </p:cNvPicPr>
          <p:nvPr/>
        </p:nvPicPr>
        <p:blipFill>
          <a:blip r:embed="rId3"/>
          <a:stretch>
            <a:fillRect/>
          </a:stretch>
        </p:blipFill>
        <p:spPr>
          <a:xfrm>
            <a:off x="5667" y="4764450"/>
            <a:ext cx="5946318" cy="2093550"/>
          </a:xfrm>
          <a:prstGeom prst="rect">
            <a:avLst/>
          </a:prstGeom>
        </p:spPr>
      </p:pic>
      <p:sp>
        <p:nvSpPr>
          <p:cNvPr id="15" name="TextBox 14">
            <a:extLst>
              <a:ext uri="{FF2B5EF4-FFF2-40B4-BE49-F238E27FC236}">
                <a16:creationId xmlns:a16="http://schemas.microsoft.com/office/drawing/2014/main" id="{5144307E-CCB7-41BA-B875-6D67298C508A}"/>
              </a:ext>
            </a:extLst>
          </p:cNvPr>
          <p:cNvSpPr txBox="1"/>
          <p:nvPr/>
        </p:nvSpPr>
        <p:spPr>
          <a:xfrm>
            <a:off x="0" y="0"/>
            <a:ext cx="2999656" cy="7017306"/>
          </a:xfrm>
          <a:prstGeom prst="rect">
            <a:avLst/>
          </a:prstGeom>
          <a:solidFill>
            <a:srgbClr val="0073A9"/>
          </a:solidFill>
        </p:spPr>
        <p:txBody>
          <a:bodyPr wrap="square" rtlCol="0">
            <a:spAutoFit/>
          </a:bodyPr>
          <a:lstStyle/>
          <a:p>
            <a:pPr marL="0" marR="0" lvl="0" indent="0" algn="ctr" defTabSz="914400" rtl="0" eaLnBrk="0" fontAlgn="base" latinLnBrk="0" hangingPunct="0">
              <a:lnSpc>
                <a:spcPct val="150000"/>
              </a:lnSpc>
              <a:spcBef>
                <a:spcPct val="0"/>
              </a:spcBef>
              <a:spcAft>
                <a:spcPct val="0"/>
              </a:spcAft>
              <a:buClrTx/>
              <a:buSzTx/>
              <a:buFontTx/>
              <a:buNone/>
              <a:tabLst/>
              <a:defRPr/>
            </a:pPr>
            <a:endParaRPr kumimoji="0" lang="en-US" sz="2800" b="1"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pitchFamily="34" charset="0"/>
              <a:ea typeface="MS PGothic" panose="020B0600070205080204" pitchFamily="34" charset="-128"/>
              <a:cs typeface="Calibri" panose="020F050202020403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lang="en-US" sz="2800" b="1" dirty="0">
              <a:solidFill>
                <a:prstClr val="white"/>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lang="en-US" sz="2800" b="1" dirty="0">
              <a:solidFill>
                <a:prstClr val="white"/>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lang="en-US" sz="2800" b="1" dirty="0">
              <a:solidFill>
                <a:prstClr val="white"/>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lang="en-US" sz="2800" b="1" dirty="0">
              <a:solidFill>
                <a:prstClr val="white"/>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lang="en-US" sz="2800" b="1" dirty="0">
              <a:solidFill>
                <a:prstClr val="white"/>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lang="en-US" sz="2800" b="1" dirty="0">
              <a:solidFill>
                <a:prstClr val="white"/>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lang="en-US" sz="2800" b="1" dirty="0">
              <a:solidFill>
                <a:prstClr val="white"/>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lang="en-US" sz="2800" b="1" dirty="0">
              <a:solidFill>
                <a:prstClr val="white"/>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lang="en-US" sz="2800" b="1" dirty="0">
              <a:solidFill>
                <a:prstClr val="white"/>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lang="en-US" sz="2800" b="1" dirty="0">
              <a:solidFill>
                <a:prstClr val="white"/>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lang="en-US" sz="2800" b="1" dirty="0">
              <a:solidFill>
                <a:prstClr val="white"/>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lang="en-US" sz="2800" b="1" dirty="0">
              <a:solidFill>
                <a:prstClr val="white"/>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lang="en-US" sz="2800" b="1" dirty="0">
              <a:solidFill>
                <a:prstClr val="white"/>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lang="en-US" sz="2800" b="1" dirty="0">
              <a:solidFill>
                <a:prstClr val="white"/>
              </a:solidFill>
              <a:effectLst>
                <a:outerShdw blurRad="38100" dist="38100" dir="2700000" algn="tl">
                  <a:srgbClr val="000000">
                    <a:alpha val="43137"/>
                  </a:srgbClr>
                </a:outerShdw>
              </a:effectLst>
              <a:latin typeface="Calibri" panose="020F0502020204030204" pitchFamily="34" charset="0"/>
              <a:cs typeface="Calibri" panose="020F050202020403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lang="en-US" dirty="0">
              <a:solidFill>
                <a:prstClr val="white"/>
              </a:solidFill>
              <a:latin typeface="Calibri" panose="020F0502020204030204" pitchFamily="34" charset="0"/>
              <a:cs typeface="Calibri" panose="020F0502020204030204" pitchFamily="34" charset="0"/>
            </a:endParaRPr>
          </a:p>
        </p:txBody>
      </p:sp>
      <p:pic>
        <p:nvPicPr>
          <p:cNvPr id="8" name="Picture 7">
            <a:extLst>
              <a:ext uri="{FF2B5EF4-FFF2-40B4-BE49-F238E27FC236}">
                <a16:creationId xmlns:a16="http://schemas.microsoft.com/office/drawing/2014/main" id="{317CED9B-E023-4DFF-99F7-A4EDC912773F}"/>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375920" y="548680"/>
            <a:ext cx="4265967" cy="1080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a:extLst>
              <a:ext uri="{FF2B5EF4-FFF2-40B4-BE49-F238E27FC236}">
                <a16:creationId xmlns:a16="http://schemas.microsoft.com/office/drawing/2014/main" id="{7787327B-5D70-4890-84A3-639F56478AAD}"/>
              </a:ext>
            </a:extLst>
          </p:cNvPr>
          <p:cNvPicPr>
            <a:picLocks noChangeAspect="1"/>
          </p:cNvPicPr>
          <p:nvPr/>
        </p:nvPicPr>
        <p:blipFill>
          <a:blip r:embed="rId3"/>
          <a:stretch>
            <a:fillRect/>
          </a:stretch>
        </p:blipFill>
        <p:spPr>
          <a:xfrm>
            <a:off x="6061340" y="4764450"/>
            <a:ext cx="5946318" cy="2093550"/>
          </a:xfrm>
          <a:prstGeom prst="rect">
            <a:avLst/>
          </a:prstGeom>
        </p:spPr>
      </p:pic>
      <p:sp>
        <p:nvSpPr>
          <p:cNvPr id="16" name="TextBox 15">
            <a:extLst>
              <a:ext uri="{FF2B5EF4-FFF2-40B4-BE49-F238E27FC236}">
                <a16:creationId xmlns:a16="http://schemas.microsoft.com/office/drawing/2014/main" id="{4AD8BB66-7AD2-485C-AB44-8DFBE9A6F7A2}"/>
              </a:ext>
            </a:extLst>
          </p:cNvPr>
          <p:cNvSpPr txBox="1"/>
          <p:nvPr/>
        </p:nvSpPr>
        <p:spPr>
          <a:xfrm>
            <a:off x="3215680" y="2204864"/>
            <a:ext cx="8712967" cy="1015663"/>
          </a:xfrm>
          <a:prstGeom prst="rect">
            <a:avLst/>
          </a:prstGeom>
          <a:noFill/>
        </p:spPr>
        <p:txBody>
          <a:bodyPr wrap="square" rtlCol="0">
            <a:spAutoFit/>
          </a:bodyPr>
          <a:lstStyle/>
          <a:p>
            <a:pPr algn="ctr"/>
            <a:r>
              <a:rPr lang="en-US" sz="3000" b="1" dirty="0"/>
              <a:t>Renewables Readiness Assessment (RRA)</a:t>
            </a:r>
          </a:p>
          <a:p>
            <a:pPr algn="ctr"/>
            <a:r>
              <a:rPr lang="en-US" sz="3000" b="1" dirty="0"/>
              <a:t>Jordan</a:t>
            </a:r>
          </a:p>
        </p:txBody>
      </p:sp>
      <p:sp>
        <p:nvSpPr>
          <p:cNvPr id="7" name="TextBox 6">
            <a:extLst>
              <a:ext uri="{FF2B5EF4-FFF2-40B4-BE49-F238E27FC236}">
                <a16:creationId xmlns:a16="http://schemas.microsoft.com/office/drawing/2014/main" id="{658DD79D-532D-44B3-AF6B-123C29AF1F42}"/>
              </a:ext>
            </a:extLst>
          </p:cNvPr>
          <p:cNvSpPr txBox="1"/>
          <p:nvPr/>
        </p:nvSpPr>
        <p:spPr>
          <a:xfrm>
            <a:off x="3215681" y="3638545"/>
            <a:ext cx="8822190" cy="646331"/>
          </a:xfrm>
          <a:prstGeom prst="rect">
            <a:avLst/>
          </a:prstGeom>
          <a:noFill/>
        </p:spPr>
        <p:txBody>
          <a:bodyPr wrap="square" rtlCol="0">
            <a:spAutoFit/>
          </a:bodyPr>
          <a:lstStyle/>
          <a:p>
            <a:pPr algn="ctr"/>
            <a:r>
              <a:rPr lang="en-US" sz="1800" dirty="0"/>
              <a:t>Launch event, Key findings and recommendations</a:t>
            </a:r>
          </a:p>
          <a:p>
            <a:pPr algn="ctr"/>
            <a:r>
              <a:rPr lang="en-US" sz="1800" dirty="0"/>
              <a:t>22 February, 2021</a:t>
            </a:r>
          </a:p>
        </p:txBody>
      </p:sp>
    </p:spTree>
    <p:extLst>
      <p:ext uri="{BB962C8B-B14F-4D97-AF65-F5344CB8AC3E}">
        <p14:creationId xmlns:p14="http://schemas.microsoft.com/office/powerpoint/2010/main" val="42566152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21A0A2D-2955-4978-8061-E2A0B734B8A9}"/>
              </a:ext>
            </a:extLst>
          </p:cNvPr>
          <p:cNvSpPr>
            <a:spLocks noGrp="1"/>
          </p:cNvSpPr>
          <p:nvPr>
            <p:ph type="title"/>
          </p:nvPr>
        </p:nvSpPr>
        <p:spPr>
          <a:xfrm>
            <a:off x="471487" y="268159"/>
            <a:ext cx="11229975" cy="484187"/>
          </a:xfrm>
        </p:spPr>
        <p:txBody>
          <a:bodyPr>
            <a:noAutofit/>
          </a:bodyPr>
          <a:lstStyle/>
          <a:p>
            <a:r>
              <a:rPr lang="en-US" dirty="0"/>
              <a:t>Renewables Readiness Assessment Jordan </a:t>
            </a:r>
          </a:p>
        </p:txBody>
      </p:sp>
      <p:sp>
        <p:nvSpPr>
          <p:cNvPr id="6" name="Slide Number Placeholder 5"/>
          <p:cNvSpPr>
            <a:spLocks noGrp="1"/>
          </p:cNvSpPr>
          <p:nvPr>
            <p:ph type="sldNum" sz="quarter" idx="10"/>
          </p:nvPr>
        </p:nvSpPr>
        <p:spPr/>
        <p:txBody>
          <a:bodyPr/>
          <a:lstStyle/>
          <a:p>
            <a:pPr algn="ctr" fontAlgn="auto">
              <a:spcBef>
                <a:spcPts val="0"/>
              </a:spcBef>
              <a:spcAft>
                <a:spcPts val="0"/>
              </a:spcAft>
              <a:defRPr/>
            </a:pPr>
            <a:fld id="{6A06B1E7-21B8-4C37-8EB9-3B9E4E23EB19}" type="slidenum">
              <a:rPr lang="en-US" sz="1000" kern="0">
                <a:solidFill>
                  <a:sysClr val="windowText" lastClr="000000"/>
                </a:solidFill>
              </a:rPr>
              <a:pPr algn="ctr" fontAlgn="auto">
                <a:spcBef>
                  <a:spcPts val="0"/>
                </a:spcBef>
                <a:spcAft>
                  <a:spcPts val="0"/>
                </a:spcAft>
                <a:defRPr/>
              </a:pPr>
              <a:t>6</a:t>
            </a:fld>
            <a:endParaRPr lang="en-US" sz="1000" kern="0" dirty="0">
              <a:solidFill>
                <a:sysClr val="windowText" lastClr="000000"/>
              </a:solidFill>
            </a:endParaRPr>
          </a:p>
        </p:txBody>
      </p:sp>
      <p:sp>
        <p:nvSpPr>
          <p:cNvPr id="3" name="Rectangle 2"/>
          <p:cNvSpPr/>
          <p:nvPr/>
        </p:nvSpPr>
        <p:spPr>
          <a:xfrm>
            <a:off x="1600200" y="6492876"/>
            <a:ext cx="9144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73" name="Content Placeholder 5">
            <a:extLst>
              <a:ext uri="{FF2B5EF4-FFF2-40B4-BE49-F238E27FC236}">
                <a16:creationId xmlns:a16="http://schemas.microsoft.com/office/drawing/2014/main" id="{B22BCF1A-84BC-4F19-8855-FD8DD93528BF}"/>
              </a:ext>
            </a:extLst>
          </p:cNvPr>
          <p:cNvSpPr txBox="1">
            <a:spLocks/>
          </p:cNvSpPr>
          <p:nvPr/>
        </p:nvSpPr>
        <p:spPr>
          <a:xfrm>
            <a:off x="4034358" y="675847"/>
            <a:ext cx="7030194" cy="6105954"/>
          </a:xfrm>
          <a:prstGeom prst="rect">
            <a:avLst/>
          </a:prstGeom>
        </p:spPr>
        <p:txBody>
          <a:bodyPr anchor="ctr"/>
          <a:lstStyle>
            <a:lvl1pPr marL="382588" indent="-382588" algn="l" rtl="0" eaLnBrk="0" fontAlgn="base" hangingPunct="0">
              <a:lnSpc>
                <a:spcPct val="130000"/>
              </a:lnSpc>
              <a:spcBef>
                <a:spcPct val="0"/>
              </a:spcBef>
              <a:spcAft>
                <a:spcPct val="0"/>
              </a:spcAft>
              <a:buChar char="•"/>
              <a:defRPr sz="1600">
                <a:solidFill>
                  <a:schemeClr val="tx1"/>
                </a:solidFill>
                <a:latin typeface="+mn-lt"/>
                <a:ea typeface="MS PGothic" panose="020B0600070205080204" pitchFamily="34" charset="-128"/>
                <a:cs typeface="+mn-cs"/>
              </a:defRPr>
            </a:lvl1pPr>
            <a:lvl2pPr marL="830263" indent="-319088" algn="l" rtl="0" eaLnBrk="0" fontAlgn="base" hangingPunct="0">
              <a:lnSpc>
                <a:spcPct val="130000"/>
              </a:lnSpc>
              <a:spcBef>
                <a:spcPct val="0"/>
              </a:spcBef>
              <a:spcAft>
                <a:spcPct val="0"/>
              </a:spcAft>
              <a:buFont typeface="Wingdings" panose="05000000000000000000" pitchFamily="2" charset="2"/>
              <a:buChar char="§"/>
              <a:defRPr sz="1600">
                <a:solidFill>
                  <a:schemeClr val="tx1"/>
                </a:solidFill>
                <a:latin typeface="+mn-lt"/>
                <a:ea typeface="MS PGothic" panose="020B0600070205080204" pitchFamily="34" charset="-128"/>
                <a:cs typeface="+mn-cs"/>
              </a:defRPr>
            </a:lvl2pPr>
            <a:lvl3pPr marL="1277938" indent="-255588" algn="l" rtl="0" eaLnBrk="0" fontAlgn="base" hangingPunct="0">
              <a:lnSpc>
                <a:spcPct val="150000"/>
              </a:lnSpc>
              <a:spcBef>
                <a:spcPct val="0"/>
              </a:spcBef>
              <a:spcAft>
                <a:spcPct val="0"/>
              </a:spcAft>
              <a:buChar char="•"/>
              <a:defRPr sz="2700">
                <a:solidFill>
                  <a:schemeClr val="tx1"/>
                </a:solidFill>
                <a:latin typeface="+mn-lt"/>
                <a:ea typeface="MS PGothic" panose="020B0600070205080204" pitchFamily="34" charset="-128"/>
                <a:cs typeface="+mn-cs"/>
              </a:defRPr>
            </a:lvl3pPr>
            <a:lvl4pPr marL="1790700" indent="-255588" algn="l" rtl="0" eaLnBrk="0" fontAlgn="base" hangingPunct="0">
              <a:lnSpc>
                <a:spcPct val="150000"/>
              </a:lnSpc>
              <a:spcBef>
                <a:spcPct val="0"/>
              </a:spcBef>
              <a:spcAft>
                <a:spcPct val="0"/>
              </a:spcAft>
              <a:buChar char="–"/>
              <a:defRPr sz="2200">
                <a:solidFill>
                  <a:schemeClr val="tx1"/>
                </a:solidFill>
                <a:latin typeface="+mn-lt"/>
                <a:ea typeface="MS PGothic" panose="020B0600070205080204" pitchFamily="34" charset="-128"/>
                <a:cs typeface="+mn-cs"/>
              </a:defRPr>
            </a:lvl4pPr>
            <a:lvl5pPr marL="2301875" indent="-255588" algn="l" rtl="0" eaLnBrk="0" fontAlgn="base" hangingPunct="0">
              <a:lnSpc>
                <a:spcPct val="150000"/>
              </a:lnSpc>
              <a:spcBef>
                <a:spcPct val="0"/>
              </a:spcBef>
              <a:spcAft>
                <a:spcPct val="0"/>
              </a:spcAft>
              <a:buChar char="»"/>
              <a:defRPr sz="2200">
                <a:solidFill>
                  <a:schemeClr val="tx1"/>
                </a:solidFill>
                <a:latin typeface="+mn-lt"/>
                <a:ea typeface="MS PGothic" panose="020B0600070205080204" pitchFamily="34" charset="-128"/>
                <a:cs typeface="+mn-cs"/>
              </a:defRPr>
            </a:lvl5pPr>
            <a:lvl6pPr marL="2814688" indent="-255881" algn="l" rtl="0" fontAlgn="base">
              <a:lnSpc>
                <a:spcPct val="150000"/>
              </a:lnSpc>
              <a:spcBef>
                <a:spcPct val="0"/>
              </a:spcBef>
              <a:spcAft>
                <a:spcPct val="0"/>
              </a:spcAft>
              <a:buChar char="»"/>
              <a:defRPr>
                <a:solidFill>
                  <a:schemeClr val="tx1"/>
                </a:solidFill>
                <a:latin typeface="+mn-lt"/>
                <a:cs typeface="+mn-cs"/>
              </a:defRPr>
            </a:lvl6pPr>
            <a:lvl7pPr marL="3326450" indent="-255881" algn="l" rtl="0" fontAlgn="base">
              <a:lnSpc>
                <a:spcPct val="150000"/>
              </a:lnSpc>
              <a:spcBef>
                <a:spcPct val="0"/>
              </a:spcBef>
              <a:spcAft>
                <a:spcPct val="0"/>
              </a:spcAft>
              <a:buChar char="»"/>
              <a:defRPr>
                <a:solidFill>
                  <a:schemeClr val="tx1"/>
                </a:solidFill>
                <a:latin typeface="+mn-lt"/>
                <a:cs typeface="+mn-cs"/>
              </a:defRPr>
            </a:lvl7pPr>
            <a:lvl8pPr marL="3838210" indent="-255881" algn="l" rtl="0" fontAlgn="base">
              <a:lnSpc>
                <a:spcPct val="150000"/>
              </a:lnSpc>
              <a:spcBef>
                <a:spcPct val="0"/>
              </a:spcBef>
              <a:spcAft>
                <a:spcPct val="0"/>
              </a:spcAft>
              <a:buChar char="»"/>
              <a:defRPr>
                <a:solidFill>
                  <a:schemeClr val="tx1"/>
                </a:solidFill>
                <a:latin typeface="+mn-lt"/>
                <a:cs typeface="+mn-cs"/>
              </a:defRPr>
            </a:lvl8pPr>
            <a:lvl9pPr marL="4349972" indent="-255881" algn="l" rtl="0" fontAlgn="base">
              <a:lnSpc>
                <a:spcPct val="150000"/>
              </a:lnSpc>
              <a:spcBef>
                <a:spcPct val="0"/>
              </a:spcBef>
              <a:spcAft>
                <a:spcPct val="0"/>
              </a:spcAft>
              <a:buChar char="»"/>
              <a:defRPr>
                <a:solidFill>
                  <a:schemeClr val="tx1"/>
                </a:solidFill>
                <a:latin typeface="+mn-lt"/>
                <a:cs typeface="+mn-cs"/>
              </a:defRPr>
            </a:lvl9pPr>
          </a:lstStyle>
          <a:p>
            <a:pPr marL="644525" indent="-285750" algn="just">
              <a:lnSpc>
                <a:spcPts val="2400"/>
              </a:lnSpc>
              <a:spcAft>
                <a:spcPts val="600"/>
              </a:spcAft>
              <a:buFont typeface="Wingdings" panose="05000000000000000000" pitchFamily="2" charset="2"/>
              <a:buChar char="§"/>
            </a:pPr>
            <a:r>
              <a:rPr lang="en-US" altLang="en-US" dirty="0"/>
              <a:t>    Comprehensive assessment of the key conditions for RE     deployment</a:t>
            </a:r>
          </a:p>
          <a:p>
            <a:pPr marL="1087438" lvl="1" algn="just">
              <a:lnSpc>
                <a:spcPts val="2400"/>
              </a:lnSpc>
              <a:spcAft>
                <a:spcPts val="600"/>
              </a:spcAft>
              <a:buFont typeface="Wingdings" panose="05000000000000000000" pitchFamily="2" charset="2"/>
              <a:buChar char="ü"/>
            </a:pPr>
            <a:r>
              <a:rPr lang="en-US" altLang="en-US" dirty="0"/>
              <a:t>Identification of obstacles of policy, regulatory or institutional nature hindering accelerated deployment of renewables</a:t>
            </a:r>
          </a:p>
          <a:p>
            <a:pPr marL="1087438" lvl="1" algn="just">
              <a:lnSpc>
                <a:spcPts val="2400"/>
              </a:lnSpc>
              <a:spcAft>
                <a:spcPts val="1200"/>
              </a:spcAft>
              <a:buFont typeface="Wingdings" panose="05000000000000000000" pitchFamily="2" charset="2"/>
              <a:buChar char="ü"/>
            </a:pPr>
            <a:r>
              <a:rPr lang="en-US" altLang="en-US" dirty="0"/>
              <a:t>Recommendations include short / medium-term actions needed to develop enabling frameworks conducive to renewable energy investments</a:t>
            </a:r>
          </a:p>
          <a:p>
            <a:pPr marL="741363" algn="just">
              <a:lnSpc>
                <a:spcPts val="2400"/>
              </a:lnSpc>
              <a:spcAft>
                <a:spcPts val="600"/>
              </a:spcAft>
              <a:buFont typeface="Wingdings" panose="05000000000000000000" pitchFamily="2" charset="2"/>
              <a:buChar char="§"/>
            </a:pPr>
            <a:endParaRPr lang="en-US" altLang="en-US" dirty="0"/>
          </a:p>
          <a:p>
            <a:pPr marL="741363" algn="just">
              <a:lnSpc>
                <a:spcPts val="2400"/>
              </a:lnSpc>
              <a:spcAft>
                <a:spcPts val="600"/>
              </a:spcAft>
              <a:buFont typeface="Wingdings" panose="05000000000000000000" pitchFamily="2" charset="2"/>
              <a:buChar char="§"/>
            </a:pPr>
            <a:r>
              <a:rPr lang="en-US" altLang="en-US" dirty="0"/>
              <a:t>Country-initiated, country-led process, where IRENA serves as facilitator</a:t>
            </a:r>
          </a:p>
          <a:p>
            <a:pPr marL="741363" algn="just">
              <a:lnSpc>
                <a:spcPts val="2400"/>
              </a:lnSpc>
              <a:spcAft>
                <a:spcPts val="600"/>
              </a:spcAft>
              <a:buFont typeface="Wingdings" panose="05000000000000000000" pitchFamily="2" charset="2"/>
              <a:buChar char="§"/>
            </a:pPr>
            <a:r>
              <a:rPr lang="en-US" altLang="en-US" dirty="0"/>
              <a:t>Inclusive and multi-stakeholder process promoting consensus </a:t>
            </a:r>
            <a:endParaRPr lang="en-US" dirty="0"/>
          </a:p>
          <a:p>
            <a:pPr marL="741363" lvl="1" indent="-382588" algn="just">
              <a:lnSpc>
                <a:spcPts val="2400"/>
              </a:lnSpc>
              <a:spcAft>
                <a:spcPts val="600"/>
              </a:spcAft>
              <a:buSzPct val="80000"/>
              <a:defRPr/>
            </a:pPr>
            <a:r>
              <a:rPr lang="en-US" dirty="0"/>
              <a:t>Joint analysis by the Ministry of Energy and Mineral Resources (MEMR) and the International Renewable Energy Agency (IRENA)</a:t>
            </a:r>
          </a:p>
        </p:txBody>
      </p:sp>
      <p:pic>
        <p:nvPicPr>
          <p:cNvPr id="574" name="Picture 573">
            <a:extLst>
              <a:ext uri="{FF2B5EF4-FFF2-40B4-BE49-F238E27FC236}">
                <a16:creationId xmlns:a16="http://schemas.microsoft.com/office/drawing/2014/main" id="{7AAA1881-4514-4D1B-A52D-BEC7A90FFF8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1486" y="1484783"/>
            <a:ext cx="2960217" cy="4183900"/>
          </a:xfrm>
          <a:prstGeom prst="rect">
            <a:avLst/>
          </a:prstGeom>
          <a:effectLst>
            <a:outerShdw blurRad="50800" dist="38100" dir="2700000" algn="tl" rotWithShape="0">
              <a:prstClr val="black">
                <a:alpha val="40000"/>
              </a:prstClr>
            </a:outerShdw>
          </a:effectLst>
        </p:spPr>
      </p:pic>
      <p:sp>
        <p:nvSpPr>
          <p:cNvPr id="2" name="Rectangle: Rounded Corners 1">
            <a:extLst>
              <a:ext uri="{FF2B5EF4-FFF2-40B4-BE49-F238E27FC236}">
                <a16:creationId xmlns:a16="http://schemas.microsoft.com/office/drawing/2014/main" id="{874C0B02-2C05-4871-AB72-333CBACAC034}"/>
              </a:ext>
            </a:extLst>
          </p:cNvPr>
          <p:cNvSpPr/>
          <p:nvPr/>
        </p:nvSpPr>
        <p:spPr>
          <a:xfrm>
            <a:off x="4295798" y="1169890"/>
            <a:ext cx="6768753" cy="288033"/>
          </a:xfrm>
          <a:prstGeom prst="roundRect">
            <a:avLst/>
          </a:prstGeom>
          <a:solidFill>
            <a:srgbClr val="228F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chemeClr val="bg1"/>
                </a:solidFill>
                <a:latin typeface="+mj-lt"/>
                <a:ea typeface="Tahoma" pitchFamily="34" charset="0"/>
                <a:cs typeface="Tahoma" pitchFamily="34" charset="0"/>
              </a:rPr>
              <a:t>Objectives</a:t>
            </a:r>
          </a:p>
        </p:txBody>
      </p:sp>
      <p:sp>
        <p:nvSpPr>
          <p:cNvPr id="9" name="Rectangle: Rounded Corners 8">
            <a:extLst>
              <a:ext uri="{FF2B5EF4-FFF2-40B4-BE49-F238E27FC236}">
                <a16:creationId xmlns:a16="http://schemas.microsoft.com/office/drawing/2014/main" id="{923FA8FA-918B-490B-A297-1C8D5FBA749A}"/>
              </a:ext>
            </a:extLst>
          </p:cNvPr>
          <p:cNvSpPr/>
          <p:nvPr/>
        </p:nvSpPr>
        <p:spPr>
          <a:xfrm>
            <a:off x="4295798" y="3917266"/>
            <a:ext cx="6768753" cy="288033"/>
          </a:xfrm>
          <a:prstGeom prst="roundRect">
            <a:avLst/>
          </a:prstGeom>
          <a:solidFill>
            <a:srgbClr val="228F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chemeClr val="bg1"/>
                </a:solidFill>
                <a:latin typeface="+mj-lt"/>
                <a:ea typeface="Tahoma" pitchFamily="34" charset="0"/>
                <a:cs typeface="Tahoma" pitchFamily="34" charset="0"/>
              </a:rPr>
              <a:t>Modality</a:t>
            </a:r>
          </a:p>
        </p:txBody>
      </p:sp>
    </p:spTree>
    <p:extLst>
      <p:ext uri="{BB962C8B-B14F-4D97-AF65-F5344CB8AC3E}">
        <p14:creationId xmlns:p14="http://schemas.microsoft.com/office/powerpoint/2010/main" val="41265662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2" name="Freeform 4">
            <a:extLst>
              <a:ext uri="{FF2B5EF4-FFF2-40B4-BE49-F238E27FC236}">
                <a16:creationId xmlns:a16="http://schemas.microsoft.com/office/drawing/2014/main" id="{E974446D-B85F-4FC5-9819-273A4630F95B}"/>
              </a:ext>
            </a:extLst>
          </p:cNvPr>
          <p:cNvSpPr>
            <a:spLocks/>
          </p:cNvSpPr>
          <p:nvPr>
            <p:custDataLst>
              <p:tags r:id="rId1"/>
            </p:custDataLst>
          </p:nvPr>
        </p:nvSpPr>
        <p:spPr bwMode="auto">
          <a:xfrm>
            <a:off x="3325111" y="6522906"/>
            <a:ext cx="45956" cy="75213"/>
          </a:xfrm>
          <a:custGeom>
            <a:avLst/>
            <a:gdLst>
              <a:gd name="T0" fmla="*/ 0 w 73"/>
              <a:gd name="T1" fmla="*/ 0 h 20"/>
              <a:gd name="T2" fmla="*/ 208699 w 73"/>
              <a:gd name="T3" fmla="*/ 40827960 h 20"/>
              <a:gd name="T4" fmla="*/ 834338 w 73"/>
              <a:gd name="T5" fmla="*/ 81653063 h 20"/>
              <a:gd name="T6" fmla="*/ 1668220 w 73"/>
              <a:gd name="T7" fmla="*/ 114314288 h 20"/>
              <a:gd name="T8" fmla="*/ 2711257 w 73"/>
              <a:gd name="T9" fmla="*/ 163306125 h 20"/>
              <a:gd name="T10" fmla="*/ 3336897 w 73"/>
              <a:gd name="T11" fmla="*/ 138811635 h 20"/>
              <a:gd name="T12" fmla="*/ 3962536 w 73"/>
              <a:gd name="T13" fmla="*/ 106150410 h 20"/>
              <a:gd name="T14" fmla="*/ 4796418 w 73"/>
              <a:gd name="T15" fmla="*/ 89819798 h 20"/>
              <a:gd name="T16" fmla="*/ 5630756 w 73"/>
              <a:gd name="T17" fmla="*/ 81653063 h 20"/>
              <a:gd name="T18" fmla="*/ 7507675 w 73"/>
              <a:gd name="T19" fmla="*/ 65322450 h 20"/>
              <a:gd name="T20" fmla="*/ 9593293 w 73"/>
              <a:gd name="T21" fmla="*/ 57158573 h 20"/>
              <a:gd name="T22" fmla="*/ 11261513 w 73"/>
              <a:gd name="T23" fmla="*/ 57158573 h 20"/>
              <a:gd name="T24" fmla="*/ 13138431 w 73"/>
              <a:gd name="T25" fmla="*/ 48991838 h 20"/>
              <a:gd name="T26" fmla="*/ 13764071 w 73"/>
              <a:gd name="T27" fmla="*/ 40827960 h 20"/>
              <a:gd name="T28" fmla="*/ 14389711 w 73"/>
              <a:gd name="T29" fmla="*/ 32661225 h 20"/>
              <a:gd name="T30" fmla="*/ 14807108 w 73"/>
              <a:gd name="T31" fmla="*/ 16330613 h 20"/>
              <a:gd name="T32" fmla="*/ 15224049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573" name="Freeform 5">
            <a:extLst>
              <a:ext uri="{FF2B5EF4-FFF2-40B4-BE49-F238E27FC236}">
                <a16:creationId xmlns:a16="http://schemas.microsoft.com/office/drawing/2014/main" id="{76781DA2-70AE-4E21-8784-C130F63DD642}"/>
              </a:ext>
            </a:extLst>
          </p:cNvPr>
          <p:cNvSpPr>
            <a:spLocks/>
          </p:cNvSpPr>
          <p:nvPr>
            <p:custDataLst>
              <p:tags r:id="rId2"/>
            </p:custDataLst>
          </p:nvPr>
        </p:nvSpPr>
        <p:spPr bwMode="auto">
          <a:xfrm>
            <a:off x="762000" y="1455069"/>
            <a:ext cx="1090419" cy="579356"/>
          </a:xfrm>
          <a:custGeom>
            <a:avLst/>
            <a:gdLst>
              <a:gd name="T0" fmla="*/ 262457292 w 1808"/>
              <a:gd name="T1" fmla="*/ 222267807 h 850"/>
              <a:gd name="T2" fmla="*/ 262269043 w 1808"/>
              <a:gd name="T3" fmla="*/ 207394708 h 850"/>
              <a:gd name="T4" fmla="*/ 258318423 w 1808"/>
              <a:gd name="T5" fmla="*/ 178475086 h 850"/>
              <a:gd name="T6" fmla="*/ 248911193 w 1808"/>
              <a:gd name="T7" fmla="*/ 176547461 h 850"/>
              <a:gd name="T8" fmla="*/ 237810592 w 1808"/>
              <a:gd name="T9" fmla="*/ 175996411 h 850"/>
              <a:gd name="T10" fmla="*/ 213352575 w 1808"/>
              <a:gd name="T11" fmla="*/ 160297262 h 850"/>
              <a:gd name="T12" fmla="*/ 183061451 w 1808"/>
              <a:gd name="T13" fmla="*/ 147903363 h 850"/>
              <a:gd name="T14" fmla="*/ 177417460 w 1808"/>
              <a:gd name="T15" fmla="*/ 138814189 h 850"/>
              <a:gd name="T16" fmla="*/ 169515352 w 1808"/>
              <a:gd name="T17" fmla="*/ 142119438 h 850"/>
              <a:gd name="T18" fmla="*/ 159732058 w 1808"/>
              <a:gd name="T19" fmla="*/ 156992012 h 850"/>
              <a:gd name="T20" fmla="*/ 126995436 w 1808"/>
              <a:gd name="T21" fmla="*/ 170488011 h 850"/>
              <a:gd name="T22" fmla="*/ 127559748 w 1808"/>
              <a:gd name="T23" fmla="*/ 159195687 h 850"/>
              <a:gd name="T24" fmla="*/ 135650105 w 1808"/>
              <a:gd name="T25" fmla="*/ 150933088 h 850"/>
              <a:gd name="T26" fmla="*/ 147879330 w 1808"/>
              <a:gd name="T27" fmla="*/ 150106513 h 850"/>
              <a:gd name="T28" fmla="*/ 136214417 w 1808"/>
              <a:gd name="T29" fmla="*/ 145424163 h 850"/>
              <a:gd name="T30" fmla="*/ 108745722 w 1808"/>
              <a:gd name="T31" fmla="*/ 162225412 h 850"/>
              <a:gd name="T32" fmla="*/ 102913482 w 1808"/>
              <a:gd name="T33" fmla="*/ 172140636 h 850"/>
              <a:gd name="T34" fmla="*/ 98962428 w 1808"/>
              <a:gd name="T35" fmla="*/ 179026135 h 850"/>
              <a:gd name="T36" fmla="*/ 85039832 w 1808"/>
              <a:gd name="T37" fmla="*/ 180127710 h 850"/>
              <a:gd name="T38" fmla="*/ 72058046 w 1808"/>
              <a:gd name="T39" fmla="*/ 193348184 h 850"/>
              <a:gd name="T40" fmla="*/ 47411780 w 1808"/>
              <a:gd name="T41" fmla="*/ 206568658 h 850"/>
              <a:gd name="T42" fmla="*/ 19754836 w 1808"/>
              <a:gd name="T43" fmla="*/ 222267807 h 850"/>
              <a:gd name="T44" fmla="*/ 752561 w 1808"/>
              <a:gd name="T45" fmla="*/ 223920432 h 850"/>
              <a:gd name="T46" fmla="*/ 2634181 w 1808"/>
              <a:gd name="T47" fmla="*/ 217310457 h 850"/>
              <a:gd name="T48" fmla="*/ 23894139 w 1808"/>
              <a:gd name="T49" fmla="*/ 209598383 h 850"/>
              <a:gd name="T50" fmla="*/ 49857278 w 1808"/>
              <a:gd name="T51" fmla="*/ 191695559 h 850"/>
              <a:gd name="T52" fmla="*/ 56442512 w 1808"/>
              <a:gd name="T53" fmla="*/ 172416161 h 850"/>
              <a:gd name="T54" fmla="*/ 47599595 w 1808"/>
              <a:gd name="T55" fmla="*/ 180954285 h 850"/>
              <a:gd name="T56" fmla="*/ 28221256 w 1808"/>
              <a:gd name="T57" fmla="*/ 177097986 h 850"/>
              <a:gd name="T58" fmla="*/ 32360125 w 1808"/>
              <a:gd name="T59" fmla="*/ 168009336 h 850"/>
              <a:gd name="T60" fmla="*/ 45154097 w 1808"/>
              <a:gd name="T61" fmla="*/ 150657563 h 850"/>
              <a:gd name="T62" fmla="*/ 28597320 w 1808"/>
              <a:gd name="T63" fmla="*/ 158369112 h 850"/>
              <a:gd name="T64" fmla="*/ 26904383 w 1808"/>
              <a:gd name="T65" fmla="*/ 147627838 h 850"/>
              <a:gd name="T66" fmla="*/ 65096748 w 1808"/>
              <a:gd name="T67" fmla="*/ 104661691 h 850"/>
              <a:gd name="T68" fmla="*/ 83534710 w 1808"/>
              <a:gd name="T69" fmla="*/ 105212216 h 850"/>
              <a:gd name="T70" fmla="*/ 107052351 w 1808"/>
              <a:gd name="T71" fmla="*/ 96123042 h 850"/>
              <a:gd name="T72" fmla="*/ 111379903 w 1808"/>
              <a:gd name="T73" fmla="*/ 84280193 h 850"/>
              <a:gd name="T74" fmla="*/ 95199623 w 1808"/>
              <a:gd name="T75" fmla="*/ 91165693 h 850"/>
              <a:gd name="T76" fmla="*/ 82406085 w 1808"/>
              <a:gd name="T77" fmla="*/ 87584918 h 850"/>
              <a:gd name="T78" fmla="*/ 88802637 w 1808"/>
              <a:gd name="T79" fmla="*/ 79046794 h 850"/>
              <a:gd name="T80" fmla="*/ 133768485 w 1808"/>
              <a:gd name="T81" fmla="*/ 65551320 h 850"/>
              <a:gd name="T82" fmla="*/ 140918032 w 1808"/>
              <a:gd name="T83" fmla="*/ 57839245 h 850"/>
              <a:gd name="T84" fmla="*/ 128688807 w 1808"/>
              <a:gd name="T85" fmla="*/ 48474546 h 850"/>
              <a:gd name="T86" fmla="*/ 139036413 w 1808"/>
              <a:gd name="T87" fmla="*/ 30021198 h 850"/>
              <a:gd name="T88" fmla="*/ 185883880 w 1808"/>
              <a:gd name="T89" fmla="*/ 7436549 h 850"/>
              <a:gd name="T90" fmla="*/ 217679693 w 1808"/>
              <a:gd name="T91" fmla="*/ 2478675 h 850"/>
              <a:gd name="T92" fmla="*/ 240256524 w 1808"/>
              <a:gd name="T93" fmla="*/ 551050 h 850"/>
              <a:gd name="T94" fmla="*/ 254743433 w 1808"/>
              <a:gd name="T95" fmla="*/ 2754200 h 850"/>
              <a:gd name="T96" fmla="*/ 285222372 w 1808"/>
              <a:gd name="T97" fmla="*/ 9364699 h 850"/>
              <a:gd name="T98" fmla="*/ 331317279 w 1808"/>
              <a:gd name="T99" fmla="*/ 11292324 h 850"/>
              <a:gd name="T100" fmla="*/ 242138144 w 1808"/>
              <a:gd name="T101" fmla="*/ 148729413 h 850"/>
              <a:gd name="T102" fmla="*/ 248534696 w 1808"/>
              <a:gd name="T103" fmla="*/ 157267537 h 850"/>
              <a:gd name="T104" fmla="*/ 249663754 w 1808"/>
              <a:gd name="T105" fmla="*/ 165530137 h 850"/>
              <a:gd name="T106" fmla="*/ 260011360 w 1808"/>
              <a:gd name="T107" fmla="*/ 164979611 h 850"/>
              <a:gd name="T108" fmla="*/ 268854278 w 1808"/>
              <a:gd name="T109" fmla="*/ 158920162 h 850"/>
              <a:gd name="T110" fmla="*/ 277508513 w 1808"/>
              <a:gd name="T111" fmla="*/ 183708485 h 850"/>
              <a:gd name="T112" fmla="*/ 275063015 w 1808"/>
              <a:gd name="T113" fmla="*/ 194449759 h 850"/>
              <a:gd name="T114" fmla="*/ 272617083 w 1808"/>
              <a:gd name="T115" fmla="*/ 204365508 h 850"/>
              <a:gd name="T116" fmla="*/ 277885010 w 1808"/>
              <a:gd name="T117" fmla="*/ 215657832 h 850"/>
              <a:gd name="T118" fmla="*/ 277885010 w 1808"/>
              <a:gd name="T119" fmla="*/ 223369382 h 850"/>
              <a:gd name="T120" fmla="*/ 268289532 w 1808"/>
              <a:gd name="T121" fmla="*/ 233560131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574" name="Freeform 6">
            <a:extLst>
              <a:ext uri="{FF2B5EF4-FFF2-40B4-BE49-F238E27FC236}">
                <a16:creationId xmlns:a16="http://schemas.microsoft.com/office/drawing/2014/main" id="{DB4D26A8-12F6-456D-9FAD-C647C6CFBEE1}"/>
              </a:ext>
            </a:extLst>
          </p:cNvPr>
          <p:cNvSpPr>
            <a:spLocks/>
          </p:cNvSpPr>
          <p:nvPr>
            <p:custDataLst>
              <p:tags r:id="rId3"/>
            </p:custDataLst>
          </p:nvPr>
        </p:nvSpPr>
        <p:spPr bwMode="auto">
          <a:xfrm>
            <a:off x="1403300" y="2256002"/>
            <a:ext cx="1921811" cy="1000151"/>
          </a:xfrm>
          <a:custGeom>
            <a:avLst/>
            <a:gdLst>
              <a:gd name="T0" fmla="*/ 554050800 w 3175"/>
              <a:gd name="T1" fmla="*/ 96576483 h 1472"/>
              <a:gd name="T2" fmla="*/ 547995600 w 3175"/>
              <a:gd name="T3" fmla="*/ 120378656 h 1472"/>
              <a:gd name="T4" fmla="*/ 537966675 w 3175"/>
              <a:gd name="T5" fmla="*/ 126397458 h 1472"/>
              <a:gd name="T6" fmla="*/ 504663075 w 3175"/>
              <a:gd name="T7" fmla="*/ 154850642 h 1472"/>
              <a:gd name="T8" fmla="*/ 491038875 w 3175"/>
              <a:gd name="T9" fmla="*/ 160048770 h 1472"/>
              <a:gd name="T10" fmla="*/ 486308250 w 3175"/>
              <a:gd name="T11" fmla="*/ 185218733 h 1472"/>
              <a:gd name="T12" fmla="*/ 475711650 w 3175"/>
              <a:gd name="T13" fmla="*/ 169897908 h 1472"/>
              <a:gd name="T14" fmla="*/ 472873275 w 3175"/>
              <a:gd name="T15" fmla="*/ 188774989 h 1472"/>
              <a:gd name="T16" fmla="*/ 466439625 w 3175"/>
              <a:gd name="T17" fmla="*/ 203548697 h 1472"/>
              <a:gd name="T18" fmla="*/ 467574975 w 3175"/>
              <a:gd name="T19" fmla="*/ 225162405 h 1472"/>
              <a:gd name="T20" fmla="*/ 441272700 w 3175"/>
              <a:gd name="T21" fmla="*/ 253889148 h 1472"/>
              <a:gd name="T22" fmla="*/ 409672125 w 3175"/>
              <a:gd name="T23" fmla="*/ 285898588 h 1472"/>
              <a:gd name="T24" fmla="*/ 399643200 w 3175"/>
              <a:gd name="T25" fmla="*/ 326937015 h 1472"/>
              <a:gd name="T26" fmla="*/ 397940175 w 3175"/>
              <a:gd name="T27" fmla="*/ 398616569 h 1472"/>
              <a:gd name="T28" fmla="*/ 383369850 w 3175"/>
              <a:gd name="T29" fmla="*/ 386852524 h 1472"/>
              <a:gd name="T30" fmla="*/ 377125425 w 3175"/>
              <a:gd name="T31" fmla="*/ 362776792 h 1472"/>
              <a:gd name="T32" fmla="*/ 370691775 w 3175"/>
              <a:gd name="T33" fmla="*/ 323927353 h 1472"/>
              <a:gd name="T34" fmla="*/ 346660200 w 3175"/>
              <a:gd name="T35" fmla="*/ 319549900 h 1472"/>
              <a:gd name="T36" fmla="*/ 312788925 w 3175"/>
              <a:gd name="T37" fmla="*/ 312710423 h 1472"/>
              <a:gd name="T38" fmla="*/ 305787600 w 3175"/>
              <a:gd name="T39" fmla="*/ 324474469 h 1472"/>
              <a:gd name="T40" fmla="*/ 292920300 w 3175"/>
              <a:gd name="T41" fmla="*/ 338701061 h 1472"/>
              <a:gd name="T42" fmla="*/ 271727100 w 3175"/>
              <a:gd name="T43" fmla="*/ 326115818 h 1472"/>
              <a:gd name="T44" fmla="*/ 232935975 w 3175"/>
              <a:gd name="T45" fmla="*/ 348003084 h 1472"/>
              <a:gd name="T46" fmla="*/ 219501000 w 3175"/>
              <a:gd name="T47" fmla="*/ 380833722 h 1472"/>
              <a:gd name="T48" fmla="*/ 204363000 w 3175"/>
              <a:gd name="T49" fmla="*/ 378097617 h 1472"/>
              <a:gd name="T50" fmla="*/ 196226325 w 3175"/>
              <a:gd name="T51" fmla="*/ 335691399 h 1472"/>
              <a:gd name="T52" fmla="*/ 177871500 w 3175"/>
              <a:gd name="T53" fmla="*/ 325568702 h 1472"/>
              <a:gd name="T54" fmla="*/ 164058075 w 3175"/>
              <a:gd name="T55" fmla="*/ 333502934 h 1472"/>
              <a:gd name="T56" fmla="*/ 147973950 w 3175"/>
              <a:gd name="T57" fmla="*/ 297389599 h 1472"/>
              <a:gd name="T58" fmla="*/ 126780750 w 3175"/>
              <a:gd name="T59" fmla="*/ 291370274 h 1472"/>
              <a:gd name="T60" fmla="*/ 87421950 w 3175"/>
              <a:gd name="T61" fmla="*/ 291370274 h 1472"/>
              <a:gd name="T62" fmla="*/ 41629500 w 3175"/>
              <a:gd name="T63" fmla="*/ 277964879 h 1472"/>
              <a:gd name="T64" fmla="*/ 16651800 w 3175"/>
              <a:gd name="T65" fmla="*/ 251700160 h 1472"/>
              <a:gd name="T66" fmla="*/ 7379775 w 3175"/>
              <a:gd name="T67" fmla="*/ 232001882 h 1472"/>
              <a:gd name="T68" fmla="*/ 5487525 w 3175"/>
              <a:gd name="T69" fmla="*/ 181114838 h 1472"/>
              <a:gd name="T70" fmla="*/ 0 w 3175"/>
              <a:gd name="T71" fmla="*/ 165246897 h 1472"/>
              <a:gd name="T72" fmla="*/ 26680725 w 3175"/>
              <a:gd name="T73" fmla="*/ 91925471 h 1472"/>
              <a:gd name="T74" fmla="*/ 46738575 w 3175"/>
              <a:gd name="T75" fmla="*/ 48151462 h 1472"/>
              <a:gd name="T76" fmla="*/ 67174875 w 3175"/>
              <a:gd name="T77" fmla="*/ 27906068 h 1472"/>
              <a:gd name="T78" fmla="*/ 71148600 w 3175"/>
              <a:gd name="T79" fmla="*/ 32830638 h 1472"/>
              <a:gd name="T80" fmla="*/ 345714075 w 3175"/>
              <a:gd name="T81" fmla="*/ 0 h 1472"/>
              <a:gd name="T82" fmla="*/ 364447350 w 3175"/>
              <a:gd name="T83" fmla="*/ 15047267 h 1472"/>
              <a:gd name="T84" fmla="*/ 381288375 w 3175"/>
              <a:gd name="T85" fmla="*/ 18877604 h 1472"/>
              <a:gd name="T86" fmla="*/ 365015025 w 3175"/>
              <a:gd name="T87" fmla="*/ 35019103 h 1472"/>
              <a:gd name="T88" fmla="*/ 374097825 w 3175"/>
              <a:gd name="T89" fmla="*/ 45415358 h 1472"/>
              <a:gd name="T90" fmla="*/ 396237150 w 3175"/>
              <a:gd name="T91" fmla="*/ 42406218 h 1472"/>
              <a:gd name="T92" fmla="*/ 432189900 w 3175"/>
              <a:gd name="T93" fmla="*/ 52802474 h 1472"/>
              <a:gd name="T94" fmla="*/ 419511825 w 3175"/>
              <a:gd name="T95" fmla="*/ 55811613 h 1472"/>
              <a:gd name="T96" fmla="*/ 394912575 w 3175"/>
              <a:gd name="T97" fmla="*/ 72227193 h 1472"/>
              <a:gd name="T98" fmla="*/ 382423725 w 3175"/>
              <a:gd name="T99" fmla="*/ 97123599 h 1472"/>
              <a:gd name="T100" fmla="*/ 380720700 w 3175"/>
              <a:gd name="T101" fmla="*/ 123387795 h 1472"/>
              <a:gd name="T102" fmla="*/ 392831100 w 3175"/>
              <a:gd name="T103" fmla="*/ 114085772 h 1472"/>
              <a:gd name="T104" fmla="*/ 417241125 w 3175"/>
              <a:gd name="T105" fmla="*/ 68943973 h 1472"/>
              <a:gd name="T106" fmla="*/ 428973075 w 3175"/>
              <a:gd name="T107" fmla="*/ 82897007 h 1472"/>
              <a:gd name="T108" fmla="*/ 435028275 w 3175"/>
              <a:gd name="T109" fmla="*/ 107793412 h 1472"/>
              <a:gd name="T110" fmla="*/ 417430350 w 3175"/>
              <a:gd name="T111" fmla="*/ 124208469 h 1472"/>
              <a:gd name="T112" fmla="*/ 438434325 w 3175"/>
              <a:gd name="T113" fmla="*/ 125029144 h 1472"/>
              <a:gd name="T114" fmla="*/ 486308250 w 3175"/>
              <a:gd name="T115" fmla="*/ 102048168 h 1472"/>
              <a:gd name="T116" fmla="*/ 516584250 w 3175"/>
              <a:gd name="T117" fmla="*/ 68943973 h 1472"/>
              <a:gd name="T118" fmla="*/ 570702600 w 3175"/>
              <a:gd name="T119" fmla="*/ 55538055 h 1472"/>
              <a:gd name="T120" fmla="*/ 593409600 w 3175"/>
              <a:gd name="T121" fmla="*/ 32283521 h 1472"/>
              <a:gd name="T122" fmla="*/ 595869525 w 3175"/>
              <a:gd name="T123" fmla="*/ 50339927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575" name="Freeform 7">
            <a:extLst>
              <a:ext uri="{FF2B5EF4-FFF2-40B4-BE49-F238E27FC236}">
                <a16:creationId xmlns:a16="http://schemas.microsoft.com/office/drawing/2014/main" id="{84519431-049B-466D-8278-99BCFC1325B1}"/>
              </a:ext>
            </a:extLst>
          </p:cNvPr>
          <p:cNvSpPr>
            <a:spLocks/>
          </p:cNvSpPr>
          <p:nvPr>
            <p:custDataLst>
              <p:tags r:id="rId4"/>
            </p:custDataLst>
          </p:nvPr>
        </p:nvSpPr>
        <p:spPr bwMode="auto">
          <a:xfrm>
            <a:off x="2562653" y="4272566"/>
            <a:ext cx="472097" cy="766376"/>
          </a:xfrm>
          <a:custGeom>
            <a:avLst/>
            <a:gdLst>
              <a:gd name="T0" fmla="*/ 109469015 w 784"/>
              <a:gd name="T1" fmla="*/ 75923370 h 1128"/>
              <a:gd name="T2" fmla="*/ 103084871 w 784"/>
              <a:gd name="T3" fmla="*/ 80856661 h 1128"/>
              <a:gd name="T4" fmla="*/ 90879904 w 784"/>
              <a:gd name="T5" fmla="*/ 106073355 h 1128"/>
              <a:gd name="T6" fmla="*/ 87312358 w 784"/>
              <a:gd name="T7" fmla="*/ 125259948 h 1128"/>
              <a:gd name="T8" fmla="*/ 90316585 w 784"/>
              <a:gd name="T9" fmla="*/ 143075397 h 1128"/>
              <a:gd name="T10" fmla="*/ 99517326 w 784"/>
              <a:gd name="T11" fmla="*/ 161988179 h 1128"/>
              <a:gd name="T12" fmla="*/ 108718067 w 784"/>
              <a:gd name="T13" fmla="*/ 168840234 h 1128"/>
              <a:gd name="T14" fmla="*/ 117355488 w 784"/>
              <a:gd name="T15" fmla="*/ 164454563 h 1128"/>
              <a:gd name="T16" fmla="*/ 122800621 w 784"/>
              <a:gd name="T17" fmla="*/ 178981674 h 1128"/>
              <a:gd name="T18" fmla="*/ 126180538 w 784"/>
              <a:gd name="T19" fmla="*/ 187204350 h 1128"/>
              <a:gd name="T20" fmla="*/ 134066578 w 784"/>
              <a:gd name="T21" fmla="*/ 188300637 h 1128"/>
              <a:gd name="T22" fmla="*/ 140638784 w 784"/>
              <a:gd name="T23" fmla="*/ 195153216 h 1128"/>
              <a:gd name="T24" fmla="*/ 144581587 w 784"/>
              <a:gd name="T25" fmla="*/ 207212896 h 1128"/>
              <a:gd name="T26" fmla="*/ 142892062 w 784"/>
              <a:gd name="T27" fmla="*/ 216531859 h 1128"/>
              <a:gd name="T28" fmla="*/ 142704000 w 784"/>
              <a:gd name="T29" fmla="*/ 226125155 h 1128"/>
              <a:gd name="T30" fmla="*/ 144957278 w 784"/>
              <a:gd name="T31" fmla="*/ 241748553 h 1128"/>
              <a:gd name="T32" fmla="*/ 142328742 w 784"/>
              <a:gd name="T33" fmla="*/ 255453187 h 1128"/>
              <a:gd name="T34" fmla="*/ 144581587 w 784"/>
              <a:gd name="T35" fmla="*/ 272446682 h 1128"/>
              <a:gd name="T36" fmla="*/ 143267319 w 784"/>
              <a:gd name="T37" fmla="*/ 288892034 h 1128"/>
              <a:gd name="T38" fmla="*/ 129748084 w 784"/>
              <a:gd name="T39" fmla="*/ 307530483 h 1128"/>
              <a:gd name="T40" fmla="*/ 121673982 w 784"/>
              <a:gd name="T41" fmla="*/ 302322858 h 1128"/>
              <a:gd name="T42" fmla="*/ 113036561 w 784"/>
              <a:gd name="T43" fmla="*/ 289440178 h 1128"/>
              <a:gd name="T44" fmla="*/ 86936667 w 784"/>
              <a:gd name="T45" fmla="*/ 273542969 h 1128"/>
              <a:gd name="T46" fmla="*/ 79801576 w 784"/>
              <a:gd name="T47" fmla="*/ 265046484 h 1128"/>
              <a:gd name="T48" fmla="*/ 62151475 w 784"/>
              <a:gd name="T49" fmla="*/ 245037414 h 1128"/>
              <a:gd name="T50" fmla="*/ 59710569 w 784"/>
              <a:gd name="T51" fmla="*/ 237637215 h 1128"/>
              <a:gd name="T52" fmla="*/ 61588156 w 784"/>
              <a:gd name="T53" fmla="*/ 223384438 h 1128"/>
              <a:gd name="T54" fmla="*/ 54453064 w 784"/>
              <a:gd name="T55" fmla="*/ 213242998 h 1128"/>
              <a:gd name="T56" fmla="*/ 48632240 w 784"/>
              <a:gd name="T57" fmla="*/ 204197845 h 1128"/>
              <a:gd name="T58" fmla="*/ 45627581 w 784"/>
              <a:gd name="T59" fmla="*/ 188848780 h 1128"/>
              <a:gd name="T60" fmla="*/ 28728429 w 784"/>
              <a:gd name="T61" fmla="*/ 145268494 h 1128"/>
              <a:gd name="T62" fmla="*/ 22532347 w 784"/>
              <a:gd name="T63" fmla="*/ 133482624 h 1128"/>
              <a:gd name="T64" fmla="*/ 16899152 w 784"/>
              <a:gd name="T65" fmla="*/ 118407369 h 1128"/>
              <a:gd name="T66" fmla="*/ 4130865 w 784"/>
              <a:gd name="T67" fmla="*/ 108814073 h 1128"/>
              <a:gd name="T68" fmla="*/ 0 w 784"/>
              <a:gd name="T69" fmla="*/ 99495110 h 1128"/>
              <a:gd name="T70" fmla="*/ 2440907 w 784"/>
              <a:gd name="T71" fmla="*/ 75649036 h 1128"/>
              <a:gd name="T72" fmla="*/ 5257504 w 784"/>
              <a:gd name="T73" fmla="*/ 67426360 h 1128"/>
              <a:gd name="T74" fmla="*/ 13519235 w 784"/>
              <a:gd name="T75" fmla="*/ 60848115 h 1128"/>
              <a:gd name="T76" fmla="*/ 17838162 w 784"/>
              <a:gd name="T77" fmla="*/ 74552749 h 1128"/>
              <a:gd name="T78" fmla="*/ 29667439 w 784"/>
              <a:gd name="T79" fmla="*/ 84146045 h 1128"/>
              <a:gd name="T80" fmla="*/ 34549253 w 784"/>
              <a:gd name="T81" fmla="*/ 74278939 h 1128"/>
              <a:gd name="T82" fmla="*/ 37741541 w 784"/>
              <a:gd name="T83" fmla="*/ 61670592 h 1128"/>
              <a:gd name="T84" fmla="*/ 50697456 w 784"/>
              <a:gd name="T85" fmla="*/ 46595337 h 1128"/>
              <a:gd name="T86" fmla="*/ 64592382 w 784"/>
              <a:gd name="T87" fmla="*/ 32890703 h 1128"/>
              <a:gd name="T88" fmla="*/ 67033289 w 784"/>
              <a:gd name="T89" fmla="*/ 19186593 h 1128"/>
              <a:gd name="T90" fmla="*/ 65155702 w 784"/>
              <a:gd name="T91" fmla="*/ 1370620 h 1128"/>
              <a:gd name="T92" fmla="*/ 79238256 w 784"/>
              <a:gd name="T93" fmla="*/ 14526588 h 1128"/>
              <a:gd name="T94" fmla="*/ 87688049 w 784"/>
              <a:gd name="T95" fmla="*/ 29327509 h 1128"/>
              <a:gd name="T96" fmla="*/ 95010769 w 784"/>
              <a:gd name="T97" fmla="*/ 42210189 h 1128"/>
              <a:gd name="T98" fmla="*/ 105338149 w 784"/>
              <a:gd name="T99" fmla="*/ 43032143 h 1128"/>
              <a:gd name="T100" fmla="*/ 115853158 w 784"/>
              <a:gd name="T101" fmla="*/ 40839569 h 1128"/>
              <a:gd name="T102" fmla="*/ 120172086 w 784"/>
              <a:gd name="T103" fmla="*/ 42758333 h 1128"/>
              <a:gd name="T104" fmla="*/ 122800621 w 784"/>
              <a:gd name="T105" fmla="*/ 52899773 h 1128"/>
              <a:gd name="T106" fmla="*/ 117730745 w 784"/>
              <a:gd name="T107" fmla="*/ 57559254 h 1128"/>
              <a:gd name="T108" fmla="*/ 117730745 w 784"/>
              <a:gd name="T109" fmla="*/ 65781930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0872A6"/>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576" name="Freeform 8">
            <a:extLst>
              <a:ext uri="{FF2B5EF4-FFF2-40B4-BE49-F238E27FC236}">
                <a16:creationId xmlns:a16="http://schemas.microsoft.com/office/drawing/2014/main" id="{D11B197E-4CF6-4F49-9384-F71FBE97B672}"/>
              </a:ext>
            </a:extLst>
          </p:cNvPr>
          <p:cNvSpPr>
            <a:spLocks/>
          </p:cNvSpPr>
          <p:nvPr>
            <p:custDataLst>
              <p:tags r:id="rId5"/>
            </p:custDataLst>
          </p:nvPr>
        </p:nvSpPr>
        <p:spPr bwMode="auto">
          <a:xfrm>
            <a:off x="2980438" y="5004384"/>
            <a:ext cx="363473" cy="1469734"/>
          </a:xfrm>
          <a:custGeom>
            <a:avLst/>
            <a:gdLst>
              <a:gd name="T0" fmla="*/ 80198714 w 598"/>
              <a:gd name="T1" fmla="*/ 554435196 h 2158"/>
              <a:gd name="T2" fmla="*/ 65616971 w 598"/>
              <a:gd name="T3" fmla="*/ 536328921 h 2158"/>
              <a:gd name="T4" fmla="*/ 65041410 w 598"/>
              <a:gd name="T5" fmla="*/ 519319949 h 2158"/>
              <a:gd name="T6" fmla="*/ 66192969 w 598"/>
              <a:gd name="T7" fmla="*/ 505603408 h 2158"/>
              <a:gd name="T8" fmla="*/ 69454479 w 598"/>
              <a:gd name="T9" fmla="*/ 491337953 h 2158"/>
              <a:gd name="T10" fmla="*/ 67919651 w 598"/>
              <a:gd name="T11" fmla="*/ 477346431 h 2158"/>
              <a:gd name="T12" fmla="*/ 63698435 w 598"/>
              <a:gd name="T13" fmla="*/ 461709218 h 2158"/>
              <a:gd name="T14" fmla="*/ 58134683 w 598"/>
              <a:gd name="T15" fmla="*/ 433727222 h 2158"/>
              <a:gd name="T16" fmla="*/ 43361086 w 598"/>
              <a:gd name="T17" fmla="*/ 400532123 h 2158"/>
              <a:gd name="T18" fmla="*/ 39523578 w 598"/>
              <a:gd name="T19" fmla="*/ 378859485 h 2158"/>
              <a:gd name="T20" fmla="*/ 41634404 w 598"/>
              <a:gd name="T21" fmla="*/ 356364001 h 2158"/>
              <a:gd name="T22" fmla="*/ 39907723 w 598"/>
              <a:gd name="T23" fmla="*/ 338806116 h 2158"/>
              <a:gd name="T24" fmla="*/ 35494654 w 598"/>
              <a:gd name="T25" fmla="*/ 319602539 h 2158"/>
              <a:gd name="T26" fmla="*/ 40483283 w 598"/>
              <a:gd name="T27" fmla="*/ 308080602 h 2158"/>
              <a:gd name="T28" fmla="*/ 37413189 w 598"/>
              <a:gd name="T29" fmla="*/ 296832598 h 2158"/>
              <a:gd name="T30" fmla="*/ 40483283 w 598"/>
              <a:gd name="T31" fmla="*/ 281195385 h 2158"/>
              <a:gd name="T32" fmla="*/ 40291430 w 598"/>
              <a:gd name="T33" fmla="*/ 272416966 h 2158"/>
              <a:gd name="T34" fmla="*/ 35878361 w 598"/>
              <a:gd name="T35" fmla="*/ 254310691 h 2158"/>
              <a:gd name="T36" fmla="*/ 26093393 w 598"/>
              <a:gd name="T37" fmla="*/ 233735355 h 2158"/>
              <a:gd name="T38" fmla="*/ 25709686 w 598"/>
              <a:gd name="T39" fmla="*/ 188195474 h 2158"/>
              <a:gd name="T40" fmla="*/ 35110947 w 598"/>
              <a:gd name="T41" fmla="*/ 160212954 h 2158"/>
              <a:gd name="T42" fmla="*/ 36262068 w 598"/>
              <a:gd name="T43" fmla="*/ 143203982 h 2158"/>
              <a:gd name="T44" fmla="*/ 30697878 w 598"/>
              <a:gd name="T45" fmla="*/ 125920553 h 2158"/>
              <a:gd name="T46" fmla="*/ 34919093 w 598"/>
              <a:gd name="T47" fmla="*/ 111380642 h 2158"/>
              <a:gd name="T48" fmla="*/ 43936647 w 598"/>
              <a:gd name="T49" fmla="*/ 94920583 h 2158"/>
              <a:gd name="T50" fmla="*/ 38372456 w 598"/>
              <a:gd name="T51" fmla="*/ 84495948 h 2158"/>
              <a:gd name="T52" fmla="*/ 28395635 w 598"/>
              <a:gd name="T53" fmla="*/ 60902638 h 2158"/>
              <a:gd name="T54" fmla="*/ 24750418 w 598"/>
              <a:gd name="T55" fmla="*/ 34292401 h 2158"/>
              <a:gd name="T56" fmla="*/ 17459547 w 598"/>
              <a:gd name="T57" fmla="*/ 10150702 h 2158"/>
              <a:gd name="T58" fmla="*/ 0 w 598"/>
              <a:gd name="T59" fmla="*/ 12070850 h 2158"/>
              <a:gd name="T60" fmla="*/ 5947897 w 598"/>
              <a:gd name="T61" fmla="*/ 54867213 h 2158"/>
              <a:gd name="T62" fmla="*/ 8058286 w 598"/>
              <a:gd name="T63" fmla="*/ 83398646 h 2158"/>
              <a:gd name="T64" fmla="*/ 5180483 w 598"/>
              <a:gd name="T65" fmla="*/ 102602223 h 2158"/>
              <a:gd name="T66" fmla="*/ 9976821 w 598"/>
              <a:gd name="T67" fmla="*/ 143752895 h 2158"/>
              <a:gd name="T68" fmla="*/ 8825700 w 598"/>
              <a:gd name="T69" fmla="*/ 178044772 h 2158"/>
              <a:gd name="T70" fmla="*/ 6907165 w 598"/>
              <a:gd name="T71" fmla="*/ 196973893 h 2158"/>
              <a:gd name="T72" fmla="*/ 9976821 w 598"/>
              <a:gd name="T73" fmla="*/ 210416501 h 2158"/>
              <a:gd name="T74" fmla="*/ 12279063 w 598"/>
              <a:gd name="T75" fmla="*/ 238947410 h 2158"/>
              <a:gd name="T76" fmla="*/ 15541011 w 598"/>
              <a:gd name="T77" fmla="*/ 250469871 h 2158"/>
              <a:gd name="T78" fmla="*/ 14006183 w 598"/>
              <a:gd name="T79" fmla="*/ 286682420 h 2158"/>
              <a:gd name="T80" fmla="*/ 12087210 w 598"/>
              <a:gd name="T81" fmla="*/ 316036175 h 2158"/>
              <a:gd name="T82" fmla="*/ 7674579 w 598"/>
              <a:gd name="T83" fmla="*/ 325912420 h 2158"/>
              <a:gd name="T84" fmla="*/ 11511649 w 598"/>
              <a:gd name="T85" fmla="*/ 345115997 h 2158"/>
              <a:gd name="T86" fmla="*/ 20337349 w 598"/>
              <a:gd name="T87" fmla="*/ 368434851 h 2158"/>
              <a:gd name="T88" fmla="*/ 17843254 w 598"/>
              <a:gd name="T89" fmla="*/ 382974762 h 2158"/>
              <a:gd name="T90" fmla="*/ 20337349 w 598"/>
              <a:gd name="T91" fmla="*/ 397514673 h 2158"/>
              <a:gd name="T92" fmla="*/ 31465730 w 598"/>
              <a:gd name="T93" fmla="*/ 402452795 h 2158"/>
              <a:gd name="T94" fmla="*/ 40099576 w 598"/>
              <a:gd name="T95" fmla="*/ 444700246 h 2158"/>
              <a:gd name="T96" fmla="*/ 43552940 w 598"/>
              <a:gd name="T97" fmla="*/ 468841945 h 2158"/>
              <a:gd name="T98" fmla="*/ 28971196 w 598"/>
              <a:gd name="T99" fmla="*/ 479815493 h 2158"/>
              <a:gd name="T100" fmla="*/ 39715869 w 598"/>
              <a:gd name="T101" fmla="*/ 487222676 h 2158"/>
              <a:gd name="T102" fmla="*/ 47965571 w 598"/>
              <a:gd name="T103" fmla="*/ 499293526 h 2158"/>
              <a:gd name="T104" fmla="*/ 52762347 w 598"/>
              <a:gd name="T105" fmla="*/ 513284524 h 2158"/>
              <a:gd name="T106" fmla="*/ 59093951 w 598"/>
              <a:gd name="T107" fmla="*/ 537975137 h 2158"/>
              <a:gd name="T108" fmla="*/ 68878918 w 598"/>
              <a:gd name="T109" fmla="*/ 552240591 h 2158"/>
              <a:gd name="T110" fmla="*/ 75402376 w 598"/>
              <a:gd name="T111" fmla="*/ 561842380 h 2158"/>
              <a:gd name="T112" fmla="*/ 81349835 w 598"/>
              <a:gd name="T113" fmla="*/ 568975107 h 2158"/>
              <a:gd name="T114" fmla="*/ 89216268 w 598"/>
              <a:gd name="T115" fmla="*/ 578851352 h 2158"/>
              <a:gd name="T116" fmla="*/ 99576796 w 598"/>
              <a:gd name="T117" fmla="*/ 587081382 h 2158"/>
              <a:gd name="T118" fmla="*/ 103222451 w 598"/>
              <a:gd name="T119" fmla="*/ 590099356 h 2158"/>
              <a:gd name="T120" fmla="*/ 112431858 w 598"/>
              <a:gd name="T121" fmla="*/ 575559445 h 2158"/>
              <a:gd name="T122" fmla="*/ 113391126 w 598"/>
              <a:gd name="T123" fmla="*/ 568152261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577" name="Freeform 9">
            <a:extLst>
              <a:ext uri="{FF2B5EF4-FFF2-40B4-BE49-F238E27FC236}">
                <a16:creationId xmlns:a16="http://schemas.microsoft.com/office/drawing/2014/main" id="{158E473E-D5AD-478D-A14B-CD985AD502EB}"/>
              </a:ext>
            </a:extLst>
          </p:cNvPr>
          <p:cNvSpPr>
            <a:spLocks/>
          </p:cNvSpPr>
          <p:nvPr>
            <p:custDataLst>
              <p:tags r:id="rId6"/>
            </p:custDataLst>
          </p:nvPr>
        </p:nvSpPr>
        <p:spPr bwMode="auto">
          <a:xfrm>
            <a:off x="2846748" y="4071318"/>
            <a:ext cx="1345268" cy="1565276"/>
          </a:xfrm>
          <a:custGeom>
            <a:avLst/>
            <a:gdLst>
              <a:gd name="T0" fmla="*/ 82997318 w 2226"/>
              <a:gd name="T1" fmla="*/ 246970381 h 2292"/>
              <a:gd name="T2" fmla="*/ 95258053 w 2226"/>
              <a:gd name="T3" fmla="*/ 271502041 h 2292"/>
              <a:gd name="T4" fmla="*/ 107896643 w 2226"/>
              <a:gd name="T5" fmla="*/ 290520561 h 2292"/>
              <a:gd name="T6" fmla="*/ 135059188 w 2226"/>
              <a:gd name="T7" fmla="*/ 302648838 h 2292"/>
              <a:gd name="T8" fmla="*/ 150526912 w 2226"/>
              <a:gd name="T9" fmla="*/ 331866220 h 2292"/>
              <a:gd name="T10" fmla="*/ 159581094 w 2226"/>
              <a:gd name="T11" fmla="*/ 356122249 h 2292"/>
              <a:gd name="T12" fmla="*/ 177123978 w 2226"/>
              <a:gd name="T13" fmla="*/ 373487509 h 2292"/>
              <a:gd name="T14" fmla="*/ 180519025 w 2226"/>
              <a:gd name="T15" fmla="*/ 404083045 h 2292"/>
              <a:gd name="T16" fmla="*/ 184102999 w 2226"/>
              <a:gd name="T17" fmla="*/ 424755875 h 2292"/>
              <a:gd name="T18" fmla="*/ 187121059 w 2226"/>
              <a:gd name="T19" fmla="*/ 449838796 h 2292"/>
              <a:gd name="T20" fmla="*/ 213340705 w 2226"/>
              <a:gd name="T21" fmla="*/ 468030949 h 2292"/>
              <a:gd name="T22" fmla="*/ 225035961 w 2226"/>
              <a:gd name="T23" fmla="*/ 497523961 h 2292"/>
              <a:gd name="T24" fmla="*/ 234467563 w 2226"/>
              <a:gd name="T25" fmla="*/ 513786174 h 2292"/>
              <a:gd name="T26" fmla="*/ 223149728 w 2226"/>
              <a:gd name="T27" fmla="*/ 552099895 h 2292"/>
              <a:gd name="T28" fmla="*/ 204475016 w 2226"/>
              <a:gd name="T29" fmla="*/ 586554261 h 2292"/>
              <a:gd name="T30" fmla="*/ 222583814 w 2226"/>
              <a:gd name="T31" fmla="*/ 595650600 h 2292"/>
              <a:gd name="T32" fmla="*/ 244464645 w 2226"/>
              <a:gd name="T33" fmla="*/ 615771643 h 2292"/>
              <a:gd name="T34" fmla="*/ 267666230 w 2226"/>
              <a:gd name="T35" fmla="*/ 605848937 h 2292"/>
              <a:gd name="T36" fmla="*/ 286340507 w 2226"/>
              <a:gd name="T37" fmla="*/ 561195709 h 2292"/>
              <a:gd name="T38" fmla="*/ 285209114 w 2226"/>
              <a:gd name="T39" fmla="*/ 528670759 h 2292"/>
              <a:gd name="T40" fmla="*/ 294451789 w 2226"/>
              <a:gd name="T41" fmla="*/ 494216393 h 2292"/>
              <a:gd name="T42" fmla="*/ 321803262 w 2226"/>
              <a:gd name="T43" fmla="*/ 476024240 h 2292"/>
              <a:gd name="T44" fmla="*/ 339157218 w 2226"/>
              <a:gd name="T45" fmla="*/ 463344701 h 2292"/>
              <a:gd name="T46" fmla="*/ 357831495 w 2226"/>
              <a:gd name="T47" fmla="*/ 452319472 h 2292"/>
              <a:gd name="T48" fmla="*/ 373865132 w 2226"/>
              <a:gd name="T49" fmla="*/ 385890892 h 2292"/>
              <a:gd name="T50" fmla="*/ 379901254 w 2226"/>
              <a:gd name="T51" fmla="*/ 355019726 h 2292"/>
              <a:gd name="T52" fmla="*/ 377637600 w 2226"/>
              <a:gd name="T53" fmla="*/ 300443792 h 2292"/>
              <a:gd name="T54" fmla="*/ 391030596 w 2226"/>
              <a:gd name="T55" fmla="*/ 278117178 h 2292"/>
              <a:gd name="T56" fmla="*/ 413100354 w 2226"/>
              <a:gd name="T57" fmla="*/ 241733397 h 2292"/>
              <a:gd name="T58" fmla="*/ 419136475 w 2226"/>
              <a:gd name="T59" fmla="*/ 201765892 h 2292"/>
              <a:gd name="T60" fmla="*/ 406875306 w 2226"/>
              <a:gd name="T61" fmla="*/ 165106480 h 2292"/>
              <a:gd name="T62" fmla="*/ 388389522 w 2226"/>
              <a:gd name="T63" fmla="*/ 155183249 h 2292"/>
              <a:gd name="T64" fmla="*/ 362358804 w 2226"/>
              <a:gd name="T65" fmla="*/ 127344021 h 2292"/>
              <a:gd name="T66" fmla="*/ 328593789 w 2226"/>
              <a:gd name="T67" fmla="*/ 124036452 h 2292"/>
              <a:gd name="T68" fmla="*/ 315012299 w 2226"/>
              <a:gd name="T69" fmla="*/ 123209560 h 2292"/>
              <a:gd name="T70" fmla="*/ 308599192 w 2226"/>
              <a:gd name="T71" fmla="*/ 108600606 h 2292"/>
              <a:gd name="T72" fmla="*/ 285209114 w 2226"/>
              <a:gd name="T73" fmla="*/ 95921593 h 2292"/>
              <a:gd name="T74" fmla="*/ 266157417 w 2226"/>
              <a:gd name="T75" fmla="*/ 112735067 h 2292"/>
              <a:gd name="T76" fmla="*/ 252387434 w 2226"/>
              <a:gd name="T77" fmla="*/ 111632544 h 2292"/>
              <a:gd name="T78" fmla="*/ 235221970 w 2226"/>
              <a:gd name="T79" fmla="*/ 105844299 h 2292"/>
              <a:gd name="T80" fmla="*/ 248426039 w 2226"/>
              <a:gd name="T81" fmla="*/ 73870610 h 2292"/>
              <a:gd name="T82" fmla="*/ 252387434 w 2226"/>
              <a:gd name="T83" fmla="*/ 50717104 h 2292"/>
              <a:gd name="T84" fmla="*/ 243521745 w 2226"/>
              <a:gd name="T85" fmla="*/ 18743414 h 2292"/>
              <a:gd name="T86" fmla="*/ 212020385 w 2226"/>
              <a:gd name="T87" fmla="*/ 37210673 h 2292"/>
              <a:gd name="T88" fmla="*/ 189196220 w 2226"/>
              <a:gd name="T89" fmla="*/ 46858274 h 2292"/>
              <a:gd name="T90" fmla="*/ 181084938 w 2226"/>
              <a:gd name="T91" fmla="*/ 51543996 h 2292"/>
              <a:gd name="T92" fmla="*/ 153167552 w 2226"/>
              <a:gd name="T93" fmla="*/ 48512058 h 2292"/>
              <a:gd name="T94" fmla="*/ 152979059 w 2226"/>
              <a:gd name="T95" fmla="*/ 18467784 h 2292"/>
              <a:gd name="T96" fmla="*/ 140529396 w 2226"/>
              <a:gd name="T97" fmla="*/ 0 h 2292"/>
              <a:gd name="T98" fmla="*/ 132041128 w 2226"/>
              <a:gd name="T99" fmla="*/ 8544553 h 2292"/>
              <a:gd name="T100" fmla="*/ 111103197 w 2226"/>
              <a:gd name="T101" fmla="*/ 19294676 h 2292"/>
              <a:gd name="T102" fmla="*/ 105632989 w 2226"/>
              <a:gd name="T103" fmla="*/ 54575934 h 2292"/>
              <a:gd name="T104" fmla="*/ 85449465 w 2226"/>
              <a:gd name="T105" fmla="*/ 71114302 h 2292"/>
              <a:gd name="T106" fmla="*/ 53948104 w 2226"/>
              <a:gd name="T107" fmla="*/ 54300303 h 2292"/>
              <a:gd name="T108" fmla="*/ 47723490 w 2226"/>
              <a:gd name="T109" fmla="*/ 66152949 h 2292"/>
              <a:gd name="T110" fmla="*/ 37348988 w 2226"/>
              <a:gd name="T111" fmla="*/ 85722731 h 2292"/>
              <a:gd name="T112" fmla="*/ 46403170 w 2226"/>
              <a:gd name="T113" fmla="*/ 106946822 h 2292"/>
              <a:gd name="T114" fmla="*/ 36594147 w 2226"/>
              <a:gd name="T115" fmla="*/ 154356357 h 2292"/>
              <a:gd name="T116" fmla="*/ 18863204 w 2226"/>
              <a:gd name="T117" fmla="*/ 156285772 h 2292"/>
              <a:gd name="T118" fmla="*/ 3018061 w 2226"/>
              <a:gd name="T119" fmla="*/ 189361984 h 2292"/>
              <a:gd name="T120" fmla="*/ 4149888 w 2226"/>
              <a:gd name="T121" fmla="*/ 227124444 h 2292"/>
              <a:gd name="T122" fmla="*/ 22635672 w 2226"/>
              <a:gd name="T123" fmla="*/ 249451058 h 2292"/>
              <a:gd name="T124" fmla="*/ 36028234 w 2226"/>
              <a:gd name="T125" fmla="*/ 261578810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578" name="Freeform 10">
            <a:extLst>
              <a:ext uri="{FF2B5EF4-FFF2-40B4-BE49-F238E27FC236}">
                <a16:creationId xmlns:a16="http://schemas.microsoft.com/office/drawing/2014/main" id="{870F0587-B6E4-4395-8B52-FC205FC3CF22}"/>
              </a:ext>
            </a:extLst>
          </p:cNvPr>
          <p:cNvSpPr>
            <a:spLocks/>
          </p:cNvSpPr>
          <p:nvPr>
            <p:custDataLst>
              <p:tags r:id="rId7"/>
            </p:custDataLst>
          </p:nvPr>
        </p:nvSpPr>
        <p:spPr bwMode="auto">
          <a:xfrm>
            <a:off x="5787953" y="2701192"/>
            <a:ext cx="98180" cy="65050"/>
          </a:xfrm>
          <a:custGeom>
            <a:avLst/>
            <a:gdLst>
              <a:gd name="T0" fmla="*/ 17693309 w 161"/>
              <a:gd name="T1" fmla="*/ 0 h 93"/>
              <a:gd name="T2" fmla="*/ 20140228 w 161"/>
              <a:gd name="T3" fmla="*/ 5040364 h 93"/>
              <a:gd name="T4" fmla="*/ 21081251 w 161"/>
              <a:gd name="T5" fmla="*/ 3360242 h 93"/>
              <a:gd name="T6" fmla="*/ 22022707 w 161"/>
              <a:gd name="T7" fmla="*/ 2239985 h 93"/>
              <a:gd name="T8" fmla="*/ 22963730 w 161"/>
              <a:gd name="T9" fmla="*/ 1400189 h 93"/>
              <a:gd name="T10" fmla="*/ 23904752 w 161"/>
              <a:gd name="T11" fmla="*/ 840325 h 93"/>
              <a:gd name="T12" fmla="*/ 25787232 w 161"/>
              <a:gd name="T13" fmla="*/ 279932 h 93"/>
              <a:gd name="T14" fmla="*/ 27857568 w 161"/>
              <a:gd name="T15" fmla="*/ 0 h 93"/>
              <a:gd name="T16" fmla="*/ 28422008 w 161"/>
              <a:gd name="T17" fmla="*/ 0 h 93"/>
              <a:gd name="T18" fmla="*/ 30304488 w 161"/>
              <a:gd name="T19" fmla="*/ 0 h 93"/>
              <a:gd name="T20" fmla="*/ 30304488 w 161"/>
              <a:gd name="T21" fmla="*/ 25762212 h 93"/>
              <a:gd name="T22" fmla="*/ 29175174 w 161"/>
              <a:gd name="T23" fmla="*/ 26042144 h 93"/>
              <a:gd name="T24" fmla="*/ 28234151 w 161"/>
              <a:gd name="T25" fmla="*/ 26042144 h 93"/>
              <a:gd name="T26" fmla="*/ 27292694 w 161"/>
              <a:gd name="T27" fmla="*/ 25762212 h 93"/>
              <a:gd name="T28" fmla="*/ 26351672 w 161"/>
              <a:gd name="T29" fmla="*/ 25482280 h 93"/>
              <a:gd name="T30" fmla="*/ 24281335 w 161"/>
              <a:gd name="T31" fmla="*/ 24641955 h 93"/>
              <a:gd name="T32" fmla="*/ 22587147 w 161"/>
              <a:gd name="T33" fmla="*/ 22961833 h 93"/>
              <a:gd name="T34" fmla="*/ 20892959 w 161"/>
              <a:gd name="T35" fmla="*/ 21001780 h 93"/>
              <a:gd name="T36" fmla="*/ 19575354 w 161"/>
              <a:gd name="T37" fmla="*/ 18761795 h 93"/>
              <a:gd name="T38" fmla="*/ 18258183 w 161"/>
              <a:gd name="T39" fmla="*/ 16521280 h 93"/>
              <a:gd name="T40" fmla="*/ 17693309 w 161"/>
              <a:gd name="T41" fmla="*/ 13720902 h 93"/>
              <a:gd name="T42" fmla="*/ 17316726 w 161"/>
              <a:gd name="T43" fmla="*/ 14001363 h 93"/>
              <a:gd name="T44" fmla="*/ 16752286 w 161"/>
              <a:gd name="T45" fmla="*/ 14281295 h 93"/>
              <a:gd name="T46" fmla="*/ 16187412 w 161"/>
              <a:gd name="T47" fmla="*/ 14281295 h 93"/>
              <a:gd name="T48" fmla="*/ 15810830 w 161"/>
              <a:gd name="T49" fmla="*/ 14281295 h 93"/>
              <a:gd name="T50" fmla="*/ 14681516 w 161"/>
              <a:gd name="T51" fmla="*/ 14001363 h 93"/>
              <a:gd name="T52" fmla="*/ 13928784 w 161"/>
              <a:gd name="T53" fmla="*/ 13720902 h 93"/>
              <a:gd name="T54" fmla="*/ 12234596 w 161"/>
              <a:gd name="T55" fmla="*/ 13440970 h 93"/>
              <a:gd name="T56" fmla="*/ 10352551 w 161"/>
              <a:gd name="T57" fmla="*/ 12601174 h 93"/>
              <a:gd name="T58" fmla="*/ 8281780 w 161"/>
              <a:gd name="T59" fmla="*/ 11200985 h 93"/>
              <a:gd name="T60" fmla="*/ 6023152 w 161"/>
              <a:gd name="T61" fmla="*/ 9520863 h 93"/>
              <a:gd name="T62" fmla="*/ 3952816 w 161"/>
              <a:gd name="T63" fmla="*/ 7280349 h 93"/>
              <a:gd name="T64" fmla="*/ 2258628 w 161"/>
              <a:gd name="T65" fmla="*/ 5040364 h 93"/>
              <a:gd name="T66" fmla="*/ 1505897 w 161"/>
              <a:gd name="T67" fmla="*/ 3920106 h 93"/>
              <a:gd name="T68" fmla="*/ 941023 w 161"/>
              <a:gd name="T69" fmla="*/ 2520446 h 93"/>
              <a:gd name="T70" fmla="*/ 564874 w 161"/>
              <a:gd name="T71" fmla="*/ 1400189 h 93"/>
              <a:gd name="T72" fmla="*/ 0 w 161"/>
              <a:gd name="T73" fmla="*/ 0 h 93"/>
              <a:gd name="T74" fmla="*/ 17693309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579" name="Freeform 11">
            <a:extLst>
              <a:ext uri="{FF2B5EF4-FFF2-40B4-BE49-F238E27FC236}">
                <a16:creationId xmlns:a16="http://schemas.microsoft.com/office/drawing/2014/main" id="{9EBDA0C8-A359-4FFC-832C-131F326FBB61}"/>
              </a:ext>
            </a:extLst>
          </p:cNvPr>
          <p:cNvSpPr>
            <a:spLocks/>
          </p:cNvSpPr>
          <p:nvPr>
            <p:custDataLst>
              <p:tags r:id="rId8"/>
            </p:custDataLst>
          </p:nvPr>
        </p:nvSpPr>
        <p:spPr bwMode="auto">
          <a:xfrm>
            <a:off x="5090253" y="2538566"/>
            <a:ext cx="114892" cy="207348"/>
          </a:xfrm>
          <a:custGeom>
            <a:avLst/>
            <a:gdLst>
              <a:gd name="T0" fmla="*/ 7024489 w 192"/>
              <a:gd name="T1" fmla="*/ 818398 h 307"/>
              <a:gd name="T2" fmla="*/ 6839611 w 192"/>
              <a:gd name="T3" fmla="*/ 0 h 307"/>
              <a:gd name="T4" fmla="*/ 10536734 w 192"/>
              <a:gd name="T5" fmla="*/ 818398 h 307"/>
              <a:gd name="T6" fmla="*/ 20333957 w 192"/>
              <a:gd name="T7" fmla="*/ 3818841 h 307"/>
              <a:gd name="T8" fmla="*/ 28652589 w 192"/>
              <a:gd name="T9" fmla="*/ 6819284 h 307"/>
              <a:gd name="T10" fmla="*/ 33458977 w 192"/>
              <a:gd name="T11" fmla="*/ 7637682 h 307"/>
              <a:gd name="T12" fmla="*/ 35492201 w 192"/>
              <a:gd name="T13" fmla="*/ 9546580 h 307"/>
              <a:gd name="T14" fmla="*/ 34752690 w 192"/>
              <a:gd name="T15" fmla="*/ 12820170 h 307"/>
              <a:gd name="T16" fmla="*/ 32349711 w 192"/>
              <a:gd name="T17" fmla="*/ 22366750 h 307"/>
              <a:gd name="T18" fmla="*/ 29207222 w 192"/>
              <a:gd name="T19" fmla="*/ 34641148 h 307"/>
              <a:gd name="T20" fmla="*/ 27173568 w 192"/>
              <a:gd name="T21" fmla="*/ 45006648 h 307"/>
              <a:gd name="T22" fmla="*/ 26988691 w 192"/>
              <a:gd name="T23" fmla="*/ 56462648 h 307"/>
              <a:gd name="T24" fmla="*/ 26619365 w 192"/>
              <a:gd name="T25" fmla="*/ 67918649 h 307"/>
              <a:gd name="T26" fmla="*/ 24770589 w 192"/>
              <a:gd name="T27" fmla="*/ 75556330 h 307"/>
              <a:gd name="T28" fmla="*/ 19594446 w 192"/>
              <a:gd name="T29" fmla="*/ 80738819 h 307"/>
              <a:gd name="T30" fmla="*/ 15343121 w 192"/>
              <a:gd name="T31" fmla="*/ 82648240 h 307"/>
              <a:gd name="T32" fmla="*/ 13309468 w 192"/>
              <a:gd name="T33" fmla="*/ 83739262 h 307"/>
              <a:gd name="T34" fmla="*/ 9612346 w 192"/>
              <a:gd name="T35" fmla="*/ 83193490 h 307"/>
              <a:gd name="T36" fmla="*/ 5915223 w 192"/>
              <a:gd name="T37" fmla="*/ 79375171 h 307"/>
              <a:gd name="T38" fmla="*/ 5545468 w 192"/>
              <a:gd name="T39" fmla="*/ 75556330 h 307"/>
              <a:gd name="T40" fmla="*/ 4066877 w 192"/>
              <a:gd name="T41" fmla="*/ 70100694 h 307"/>
              <a:gd name="T42" fmla="*/ 1848346 w 192"/>
              <a:gd name="T43" fmla="*/ 63008785 h 307"/>
              <a:gd name="T44" fmla="*/ 369755 w 192"/>
              <a:gd name="T45" fmla="*/ 57553671 h 307"/>
              <a:gd name="T46" fmla="*/ 0 w 192"/>
              <a:gd name="T47" fmla="*/ 53734830 h 307"/>
              <a:gd name="T48" fmla="*/ 0 w 192"/>
              <a:gd name="T49" fmla="*/ 49098114 h 307"/>
              <a:gd name="T50" fmla="*/ 369755 w 192"/>
              <a:gd name="T51" fmla="*/ 45006648 h 307"/>
              <a:gd name="T52" fmla="*/ 2033224 w 192"/>
              <a:gd name="T53" fmla="*/ 39551012 h 307"/>
              <a:gd name="T54" fmla="*/ 6100101 w 192"/>
              <a:gd name="T55" fmla="*/ 29731285 h 307"/>
              <a:gd name="T56" fmla="*/ 8873265 w 192"/>
              <a:gd name="T57" fmla="*/ 22094125 h 307"/>
              <a:gd name="T58" fmla="*/ 9612346 w 192"/>
              <a:gd name="T59" fmla="*/ 16911636 h 307"/>
              <a:gd name="T60" fmla="*/ 9797223 w 192"/>
              <a:gd name="T61" fmla="*/ 11183375 h 307"/>
              <a:gd name="T62" fmla="*/ 10166978 w 192"/>
              <a:gd name="T63" fmla="*/ 8182932 h 307"/>
              <a:gd name="T64" fmla="*/ 10536734 w 192"/>
              <a:gd name="T65" fmla="*/ 7091909 h 307"/>
              <a:gd name="T66" fmla="*/ 11091366 w 192"/>
              <a:gd name="T67" fmla="*/ 6000886 h 307"/>
              <a:gd name="T68" fmla="*/ 8133755 w 192"/>
              <a:gd name="T69" fmla="*/ 1909420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580" name="Freeform 12">
            <a:extLst>
              <a:ext uri="{FF2B5EF4-FFF2-40B4-BE49-F238E27FC236}">
                <a16:creationId xmlns:a16="http://schemas.microsoft.com/office/drawing/2014/main" id="{477E26BC-341A-4369-B288-0E870F5A0662}"/>
              </a:ext>
            </a:extLst>
          </p:cNvPr>
          <p:cNvSpPr>
            <a:spLocks/>
          </p:cNvSpPr>
          <p:nvPr>
            <p:custDataLst>
              <p:tags r:id="rId9"/>
            </p:custDataLst>
          </p:nvPr>
        </p:nvSpPr>
        <p:spPr bwMode="auto">
          <a:xfrm>
            <a:off x="5203054" y="1869766"/>
            <a:ext cx="238137" cy="351680"/>
          </a:xfrm>
          <a:custGeom>
            <a:avLst/>
            <a:gdLst>
              <a:gd name="T0" fmla="*/ 4824724 w 398"/>
              <a:gd name="T1" fmla="*/ 542876 h 518"/>
              <a:gd name="T2" fmla="*/ 17629195 w 398"/>
              <a:gd name="T3" fmla="*/ 3528694 h 518"/>
              <a:gd name="T4" fmla="*/ 21526021 w 398"/>
              <a:gd name="T5" fmla="*/ 6243074 h 518"/>
              <a:gd name="T6" fmla="*/ 14845502 w 398"/>
              <a:gd name="T7" fmla="*/ 12757585 h 518"/>
              <a:gd name="T8" fmla="*/ 11876574 w 398"/>
              <a:gd name="T9" fmla="*/ 16829155 h 518"/>
              <a:gd name="T10" fmla="*/ 14288936 w 398"/>
              <a:gd name="T11" fmla="*/ 18729221 h 518"/>
              <a:gd name="T12" fmla="*/ 30990234 w 398"/>
              <a:gd name="T13" fmla="*/ 21443601 h 518"/>
              <a:gd name="T14" fmla="*/ 38969982 w 398"/>
              <a:gd name="T15" fmla="*/ 29586219 h 518"/>
              <a:gd name="T16" fmla="*/ 28577872 w 398"/>
              <a:gd name="T17" fmla="*/ 34472103 h 518"/>
              <a:gd name="T18" fmla="*/ 27278643 w 398"/>
              <a:gd name="T19" fmla="*/ 37457921 h 518"/>
              <a:gd name="T20" fmla="*/ 35444057 w 398"/>
              <a:gd name="T21" fmla="*/ 38815111 h 518"/>
              <a:gd name="T22" fmla="*/ 39155217 w 398"/>
              <a:gd name="T23" fmla="*/ 42343804 h 518"/>
              <a:gd name="T24" fmla="*/ 45093504 w 398"/>
              <a:gd name="T25" fmla="*/ 51844134 h 518"/>
              <a:gd name="T26" fmla="*/ 47877197 w 398"/>
              <a:gd name="T27" fmla="*/ 57544331 h 518"/>
              <a:gd name="T28" fmla="*/ 48248529 w 398"/>
              <a:gd name="T29" fmla="*/ 64330281 h 518"/>
              <a:gd name="T30" fmla="*/ 50475225 w 398"/>
              <a:gd name="T31" fmla="*/ 68944727 h 518"/>
              <a:gd name="T32" fmla="*/ 53073252 w 398"/>
              <a:gd name="T33" fmla="*/ 75730155 h 518"/>
              <a:gd name="T34" fmla="*/ 56784412 w 398"/>
              <a:gd name="T35" fmla="*/ 80616039 h 518"/>
              <a:gd name="T36" fmla="*/ 60681669 w 398"/>
              <a:gd name="T37" fmla="*/ 86859112 h 518"/>
              <a:gd name="T38" fmla="*/ 64207163 w 398"/>
              <a:gd name="T39" fmla="*/ 91473558 h 518"/>
              <a:gd name="T40" fmla="*/ 68660986 w 398"/>
              <a:gd name="T41" fmla="*/ 92559310 h 518"/>
              <a:gd name="T42" fmla="*/ 73485710 w 398"/>
              <a:gd name="T43" fmla="*/ 99073822 h 518"/>
              <a:gd name="T44" fmla="*/ 73300475 w 398"/>
              <a:gd name="T45" fmla="*/ 107216961 h 518"/>
              <a:gd name="T46" fmla="*/ 70888113 w 398"/>
              <a:gd name="T47" fmla="*/ 109659903 h 518"/>
              <a:gd name="T48" fmla="*/ 68104420 w 398"/>
              <a:gd name="T49" fmla="*/ 112645721 h 518"/>
              <a:gd name="T50" fmla="*/ 68290086 w 398"/>
              <a:gd name="T51" fmla="*/ 115631539 h 518"/>
              <a:gd name="T52" fmla="*/ 69774550 w 398"/>
              <a:gd name="T53" fmla="*/ 120245463 h 518"/>
              <a:gd name="T54" fmla="*/ 66619956 w 398"/>
              <a:gd name="T55" fmla="*/ 125674223 h 518"/>
              <a:gd name="T56" fmla="*/ 27093408 w 398"/>
              <a:gd name="T57" fmla="*/ 135717428 h 518"/>
              <a:gd name="T58" fmla="*/ 12618806 w 398"/>
              <a:gd name="T59" fmla="*/ 137888932 h 518"/>
              <a:gd name="T60" fmla="*/ 9835113 w 398"/>
              <a:gd name="T61" fmla="*/ 140603312 h 518"/>
              <a:gd name="T62" fmla="*/ 10763011 w 398"/>
              <a:gd name="T63" fmla="*/ 133817362 h 518"/>
              <a:gd name="T64" fmla="*/ 13175372 w 398"/>
              <a:gd name="T65" fmla="*/ 129202917 h 518"/>
              <a:gd name="T66" fmla="*/ 21155121 w 398"/>
              <a:gd name="T67" fmla="*/ 124317033 h 518"/>
              <a:gd name="T68" fmla="*/ 31918131 w 398"/>
              <a:gd name="T69" fmla="*/ 119159711 h 518"/>
              <a:gd name="T70" fmla="*/ 33216930 w 398"/>
              <a:gd name="T71" fmla="*/ 115631539 h 518"/>
              <a:gd name="T72" fmla="*/ 31732466 w 398"/>
              <a:gd name="T73" fmla="*/ 117802521 h 518"/>
              <a:gd name="T74" fmla="*/ 20598124 w 398"/>
              <a:gd name="T75" fmla="*/ 117259646 h 518"/>
              <a:gd name="T76" fmla="*/ 14103270 w 398"/>
              <a:gd name="T77" fmla="*/ 114002911 h 518"/>
              <a:gd name="T78" fmla="*/ 14288936 w 398"/>
              <a:gd name="T79" fmla="*/ 109117027 h 518"/>
              <a:gd name="T80" fmla="*/ 17629195 w 398"/>
              <a:gd name="T81" fmla="*/ 106131209 h 518"/>
              <a:gd name="T82" fmla="*/ 16144731 w 398"/>
              <a:gd name="T83" fmla="*/ 95545128 h 518"/>
              <a:gd name="T84" fmla="*/ 19484991 w 398"/>
              <a:gd name="T85" fmla="*/ 89302054 h 518"/>
              <a:gd name="T86" fmla="*/ 28577872 w 398"/>
              <a:gd name="T87" fmla="*/ 83873295 h 518"/>
              <a:gd name="T88" fmla="*/ 31918131 w 398"/>
              <a:gd name="T89" fmla="*/ 78987411 h 518"/>
              <a:gd name="T90" fmla="*/ 27464308 w 398"/>
              <a:gd name="T91" fmla="*/ 73558651 h 518"/>
              <a:gd name="T92" fmla="*/ 25794179 w 398"/>
              <a:gd name="T93" fmla="*/ 67044661 h 518"/>
              <a:gd name="T94" fmla="*/ 17443530 w 398"/>
              <a:gd name="T95" fmla="*/ 64873157 h 518"/>
              <a:gd name="T96" fmla="*/ 14845502 w 398"/>
              <a:gd name="T97" fmla="*/ 58630083 h 518"/>
              <a:gd name="T98" fmla="*/ 16701298 w 398"/>
              <a:gd name="T99" fmla="*/ 52115572 h 518"/>
              <a:gd name="T100" fmla="*/ 18557093 w 398"/>
              <a:gd name="T101" fmla="*/ 45601060 h 518"/>
              <a:gd name="T102" fmla="*/ 13546704 w 398"/>
              <a:gd name="T103" fmla="*/ 50486944 h 518"/>
              <a:gd name="T104" fmla="*/ 4082492 w 398"/>
              <a:gd name="T105" fmla="*/ 43972432 h 518"/>
              <a:gd name="T106" fmla="*/ 3711591 w 398"/>
              <a:gd name="T107" fmla="*/ 38543673 h 518"/>
              <a:gd name="T108" fmla="*/ 2598028 w 398"/>
              <a:gd name="T109" fmla="*/ 35557855 h 518"/>
              <a:gd name="T110" fmla="*/ 3711591 w 398"/>
              <a:gd name="T111" fmla="*/ 17100593 h 518"/>
              <a:gd name="T112" fmla="*/ 3525925 w 398"/>
              <a:gd name="T113" fmla="*/ 13300461 h 518"/>
              <a:gd name="T114" fmla="*/ 742232 w 398"/>
              <a:gd name="T115" fmla="*/ 10857519 h 518"/>
              <a:gd name="T116" fmla="*/ 3711591 w 398"/>
              <a:gd name="T117" fmla="*/ 5157322 h 518"/>
              <a:gd name="T118" fmla="*/ 556566 w 398"/>
              <a:gd name="T119" fmla="*/ 2442942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581" name="Freeform 13">
            <a:extLst>
              <a:ext uri="{FF2B5EF4-FFF2-40B4-BE49-F238E27FC236}">
                <a16:creationId xmlns:a16="http://schemas.microsoft.com/office/drawing/2014/main" id="{E4941445-D844-4B9A-8B9A-346D2001FA27}"/>
              </a:ext>
            </a:extLst>
          </p:cNvPr>
          <p:cNvSpPr>
            <a:spLocks/>
          </p:cNvSpPr>
          <p:nvPr>
            <p:custDataLst>
              <p:tags r:id="rId10"/>
            </p:custDataLst>
          </p:nvPr>
        </p:nvSpPr>
        <p:spPr bwMode="auto">
          <a:xfrm>
            <a:off x="5702308" y="2264134"/>
            <a:ext cx="236048" cy="99609"/>
          </a:xfrm>
          <a:custGeom>
            <a:avLst/>
            <a:gdLst>
              <a:gd name="T0" fmla="*/ 37567961 w 382"/>
              <a:gd name="T1" fmla="*/ 5566719 h 148"/>
              <a:gd name="T2" fmla="*/ 34997797 w 382"/>
              <a:gd name="T3" fmla="*/ 8217758 h 148"/>
              <a:gd name="T4" fmla="*/ 34404614 w 382"/>
              <a:gd name="T5" fmla="*/ 11928904 h 148"/>
              <a:gd name="T6" fmla="*/ 33218248 w 382"/>
              <a:gd name="T7" fmla="*/ 14049632 h 148"/>
              <a:gd name="T8" fmla="*/ 32822497 w 382"/>
              <a:gd name="T9" fmla="*/ 16170361 h 148"/>
              <a:gd name="T10" fmla="*/ 34997797 w 382"/>
              <a:gd name="T11" fmla="*/ 19616351 h 148"/>
              <a:gd name="T12" fmla="*/ 30647640 w 382"/>
              <a:gd name="T13" fmla="*/ 22797186 h 148"/>
              <a:gd name="T14" fmla="*/ 21354588 w 382"/>
              <a:gd name="T15" fmla="*/ 25448226 h 148"/>
              <a:gd name="T16" fmla="*/ 15224882 w 382"/>
              <a:gd name="T17" fmla="*/ 25713381 h 148"/>
              <a:gd name="T18" fmla="*/ 10281987 w 382"/>
              <a:gd name="T19" fmla="*/ 25183070 h 148"/>
              <a:gd name="T20" fmla="*/ 791059 w 382"/>
              <a:gd name="T21" fmla="*/ 29424527 h 148"/>
              <a:gd name="T22" fmla="*/ 0 w 382"/>
              <a:gd name="T23" fmla="*/ 34196295 h 148"/>
              <a:gd name="T24" fmla="*/ 791059 w 382"/>
              <a:gd name="T25" fmla="*/ 34726091 h 148"/>
              <a:gd name="T26" fmla="*/ 2372732 w 382"/>
              <a:gd name="T27" fmla="*/ 34726091 h 148"/>
              <a:gd name="T28" fmla="*/ 10084111 w 382"/>
              <a:gd name="T29" fmla="*/ 34196295 h 148"/>
              <a:gd name="T30" fmla="*/ 22540954 w 382"/>
              <a:gd name="T31" fmla="*/ 33665984 h 148"/>
              <a:gd name="T32" fmla="*/ 24320503 w 382"/>
              <a:gd name="T33" fmla="*/ 35521557 h 148"/>
              <a:gd name="T34" fmla="*/ 27088542 w 382"/>
              <a:gd name="T35" fmla="*/ 37377130 h 148"/>
              <a:gd name="T36" fmla="*/ 31438699 w 382"/>
              <a:gd name="T37" fmla="*/ 38967547 h 148"/>
              <a:gd name="T38" fmla="*/ 36579470 w 382"/>
              <a:gd name="T39" fmla="*/ 39232703 h 148"/>
              <a:gd name="T40" fmla="*/ 41522810 w 382"/>
              <a:gd name="T41" fmla="*/ 39232703 h 148"/>
              <a:gd name="T42" fmla="*/ 46070399 w 382"/>
              <a:gd name="T43" fmla="*/ 39232703 h 148"/>
              <a:gd name="T44" fmla="*/ 50420555 w 382"/>
              <a:gd name="T45" fmla="*/ 39232703 h 148"/>
              <a:gd name="T46" fmla="*/ 54374961 w 382"/>
              <a:gd name="T47" fmla="*/ 37907441 h 148"/>
              <a:gd name="T48" fmla="*/ 59515732 w 382"/>
              <a:gd name="T49" fmla="*/ 35521557 h 148"/>
              <a:gd name="T50" fmla="*/ 66040745 w 382"/>
              <a:gd name="T51" fmla="*/ 32075566 h 148"/>
              <a:gd name="T52" fmla="*/ 69797719 w 382"/>
              <a:gd name="T53" fmla="*/ 27303799 h 148"/>
              <a:gd name="T54" fmla="*/ 73554248 w 382"/>
              <a:gd name="T55" fmla="*/ 19086041 h 148"/>
              <a:gd name="T56" fmla="*/ 74345307 w 382"/>
              <a:gd name="T57" fmla="*/ 13784477 h 148"/>
              <a:gd name="T58" fmla="*/ 71774699 w 382"/>
              <a:gd name="T59" fmla="*/ 11663749 h 148"/>
              <a:gd name="T60" fmla="*/ 70588333 w 382"/>
              <a:gd name="T61" fmla="*/ 8482914 h 148"/>
              <a:gd name="T62" fmla="*/ 68611353 w 382"/>
              <a:gd name="T63" fmla="*/ 5831874 h 148"/>
              <a:gd name="T64" fmla="*/ 66040745 w 382"/>
              <a:gd name="T65" fmla="*/ 4506612 h 148"/>
              <a:gd name="T66" fmla="*/ 63074830 w 382"/>
              <a:gd name="T67" fmla="*/ 2120728 h 148"/>
              <a:gd name="T68" fmla="*/ 40138568 w 382"/>
              <a:gd name="T69" fmla="*/ 4771768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582" name="Freeform 14">
            <a:extLst>
              <a:ext uri="{FF2B5EF4-FFF2-40B4-BE49-F238E27FC236}">
                <a16:creationId xmlns:a16="http://schemas.microsoft.com/office/drawing/2014/main" id="{338BC634-E213-48B6-B973-445521DAE92B}"/>
              </a:ext>
            </a:extLst>
          </p:cNvPr>
          <p:cNvSpPr>
            <a:spLocks/>
          </p:cNvSpPr>
          <p:nvPr>
            <p:custDataLst>
              <p:tags r:id="rId11"/>
            </p:custDataLst>
          </p:nvPr>
        </p:nvSpPr>
        <p:spPr bwMode="auto">
          <a:xfrm>
            <a:off x="7778699" y="2066951"/>
            <a:ext cx="1783941" cy="1349797"/>
          </a:xfrm>
          <a:custGeom>
            <a:avLst/>
            <a:gdLst>
              <a:gd name="T0" fmla="*/ 71018374 w 2936"/>
              <a:gd name="T1" fmla="*/ 293580501 h 1983"/>
              <a:gd name="T2" fmla="*/ 73303082 w 2936"/>
              <a:gd name="T3" fmla="*/ 324007352 h 1983"/>
              <a:gd name="T4" fmla="*/ 91010004 w 2936"/>
              <a:gd name="T5" fmla="*/ 372252092 h 1983"/>
              <a:gd name="T6" fmla="*/ 146225670 w 2936"/>
              <a:gd name="T7" fmla="*/ 408984210 h 1983"/>
              <a:gd name="T8" fmla="*/ 197252413 w 2936"/>
              <a:gd name="T9" fmla="*/ 425430888 h 1983"/>
              <a:gd name="T10" fmla="*/ 214007229 w 2936"/>
              <a:gd name="T11" fmla="*/ 419126145 h 1983"/>
              <a:gd name="T12" fmla="*/ 266747503 w 2936"/>
              <a:gd name="T13" fmla="*/ 396922894 h 1983"/>
              <a:gd name="T14" fmla="*/ 294545364 w 2936"/>
              <a:gd name="T15" fmla="*/ 422690036 h 1983"/>
              <a:gd name="T16" fmla="*/ 300257571 w 2936"/>
              <a:gd name="T17" fmla="*/ 465178203 h 1983"/>
              <a:gd name="T18" fmla="*/ 305969340 w 2936"/>
              <a:gd name="T19" fmla="*/ 486011290 h 1983"/>
              <a:gd name="T20" fmla="*/ 324818617 w 2936"/>
              <a:gd name="T21" fmla="*/ 524113572 h 1983"/>
              <a:gd name="T22" fmla="*/ 350712701 w 2936"/>
              <a:gd name="T23" fmla="*/ 509585228 h 1983"/>
              <a:gd name="T24" fmla="*/ 394504390 w 2936"/>
              <a:gd name="T25" fmla="*/ 508214541 h 1983"/>
              <a:gd name="T26" fmla="*/ 431251273 w 2936"/>
              <a:gd name="T27" fmla="*/ 543575971 h 1983"/>
              <a:gd name="T28" fmla="*/ 448767948 w 2936"/>
              <a:gd name="T29" fmla="*/ 523565401 h 1983"/>
              <a:gd name="T30" fmla="*/ 467807472 w 2936"/>
              <a:gd name="T31" fmla="*/ 511504086 h 1983"/>
              <a:gd name="T32" fmla="*/ 484752971 w 2936"/>
              <a:gd name="T33" fmla="*/ 500539634 h 1983"/>
              <a:gd name="T34" fmla="*/ 510837301 w 2936"/>
              <a:gd name="T35" fmla="*/ 474772491 h 1983"/>
              <a:gd name="T36" fmla="*/ 517691861 w 2936"/>
              <a:gd name="T37" fmla="*/ 442974429 h 1983"/>
              <a:gd name="T38" fmla="*/ 531971722 w 2936"/>
              <a:gd name="T39" fmla="*/ 389247464 h 1983"/>
              <a:gd name="T40" fmla="*/ 515026223 w 2936"/>
              <a:gd name="T41" fmla="*/ 376912324 h 1983"/>
              <a:gd name="T42" fmla="*/ 502650577 w 2936"/>
              <a:gd name="T43" fmla="*/ 348951977 h 1983"/>
              <a:gd name="T44" fmla="*/ 508172099 w 2936"/>
              <a:gd name="T45" fmla="*/ 336343015 h 1983"/>
              <a:gd name="T46" fmla="*/ 482087333 w 2936"/>
              <a:gd name="T47" fmla="*/ 290839126 h 1983"/>
              <a:gd name="T48" fmla="*/ 491797778 w 2936"/>
              <a:gd name="T49" fmla="*/ 272199244 h 1983"/>
              <a:gd name="T50" fmla="*/ 467046048 w 2936"/>
              <a:gd name="T51" fmla="*/ 263701297 h 1983"/>
              <a:gd name="T52" fmla="*/ 444198096 w 2936"/>
              <a:gd name="T53" fmla="*/ 243142557 h 1983"/>
              <a:gd name="T54" fmla="*/ 450861973 w 2936"/>
              <a:gd name="T55" fmla="*/ 229162383 h 1983"/>
              <a:gd name="T56" fmla="*/ 465141834 w 2936"/>
              <a:gd name="T57" fmla="*/ 207232956 h 1983"/>
              <a:gd name="T58" fmla="*/ 475233209 w 2936"/>
              <a:gd name="T59" fmla="*/ 213812046 h 1983"/>
              <a:gd name="T60" fmla="*/ 482087333 w 2936"/>
              <a:gd name="T61" fmla="*/ 233822616 h 1983"/>
              <a:gd name="T62" fmla="*/ 511980091 w 2936"/>
              <a:gd name="T63" fmla="*/ 209151814 h 1983"/>
              <a:gd name="T64" fmla="*/ 538445352 w 2936"/>
              <a:gd name="T65" fmla="*/ 184481535 h 1983"/>
              <a:gd name="T66" fmla="*/ 549488398 w 2936"/>
              <a:gd name="T67" fmla="*/ 154602331 h 1983"/>
              <a:gd name="T68" fmla="*/ 557484876 w 2936"/>
              <a:gd name="T69" fmla="*/ 135414278 h 1983"/>
              <a:gd name="T70" fmla="*/ 550820999 w 2936"/>
              <a:gd name="T71" fmla="*/ 84154340 h 1983"/>
              <a:gd name="T72" fmla="*/ 518263038 w 2936"/>
              <a:gd name="T73" fmla="*/ 93474282 h 1983"/>
              <a:gd name="T74" fmla="*/ 468569332 w 2936"/>
              <a:gd name="T75" fmla="*/ 56193994 h 1983"/>
              <a:gd name="T76" fmla="*/ 437915149 w 2936"/>
              <a:gd name="T77" fmla="*/ 24396455 h 1983"/>
              <a:gd name="T78" fmla="*/ 376987714 w 2936"/>
              <a:gd name="T79" fmla="*/ 14528344 h 1983"/>
              <a:gd name="T80" fmla="*/ 382128743 w 2936"/>
              <a:gd name="T81" fmla="*/ 42488167 h 1983"/>
              <a:gd name="T82" fmla="*/ 371656438 w 2936"/>
              <a:gd name="T83" fmla="*/ 62224913 h 1983"/>
              <a:gd name="T84" fmla="*/ 385555805 w 2936"/>
              <a:gd name="T85" fmla="*/ 95941309 h 1983"/>
              <a:gd name="T86" fmla="*/ 408594004 w 2936"/>
              <a:gd name="T87" fmla="*/ 101423535 h 1983"/>
              <a:gd name="T88" fmla="*/ 388601937 w 2936"/>
              <a:gd name="T89" fmla="*/ 124723650 h 1983"/>
              <a:gd name="T90" fmla="*/ 360042215 w 2936"/>
              <a:gd name="T91" fmla="*/ 156247365 h 1983"/>
              <a:gd name="T92" fmla="*/ 310348509 w 2936"/>
              <a:gd name="T93" fmla="*/ 195445987 h 1983"/>
              <a:gd name="T94" fmla="*/ 233808612 w 2936"/>
              <a:gd name="T95" fmla="*/ 180643820 h 1983"/>
              <a:gd name="T96" fmla="*/ 197252413 w 2936"/>
              <a:gd name="T97" fmla="*/ 153505990 h 1983"/>
              <a:gd name="T98" fmla="*/ 143179102 w 2936"/>
              <a:gd name="T99" fmla="*/ 135688625 h 1983"/>
              <a:gd name="T100" fmla="*/ 130612772 w 2936"/>
              <a:gd name="T101" fmla="*/ 103890563 h 1983"/>
              <a:gd name="T102" fmla="*/ 97483634 w 2936"/>
              <a:gd name="T103" fmla="*/ 81961136 h 1983"/>
              <a:gd name="T104" fmla="*/ 81871173 w 2936"/>
              <a:gd name="T105" fmla="*/ 85250681 h 1983"/>
              <a:gd name="T106" fmla="*/ 80538136 w 2936"/>
              <a:gd name="T107" fmla="*/ 106357591 h 1983"/>
              <a:gd name="T108" fmla="*/ 58071550 w 2936"/>
              <a:gd name="T109" fmla="*/ 104713080 h 1983"/>
              <a:gd name="T110" fmla="*/ 43220513 w 2936"/>
              <a:gd name="T111" fmla="*/ 138977647 h 1983"/>
              <a:gd name="T112" fmla="*/ 49503459 w 2936"/>
              <a:gd name="T113" fmla="*/ 163100278 h 1983"/>
              <a:gd name="T114" fmla="*/ 47980175 w 2936"/>
              <a:gd name="T115" fmla="*/ 196268504 h 1983"/>
              <a:gd name="T116" fmla="*/ 22467022 w 2936"/>
              <a:gd name="T117" fmla="*/ 214086393 h 1983"/>
              <a:gd name="T118" fmla="*/ 7615984 w 2936"/>
              <a:gd name="T119" fmla="*/ 245061414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583" name="Freeform 15">
            <a:extLst>
              <a:ext uri="{FF2B5EF4-FFF2-40B4-BE49-F238E27FC236}">
                <a16:creationId xmlns:a16="http://schemas.microsoft.com/office/drawing/2014/main" id="{8565D859-FBE7-4FB2-AFB0-98205195B0D8}"/>
              </a:ext>
            </a:extLst>
          </p:cNvPr>
          <p:cNvSpPr>
            <a:spLocks/>
          </p:cNvSpPr>
          <p:nvPr>
            <p:custDataLst>
              <p:tags r:id="rId12"/>
            </p:custDataLst>
          </p:nvPr>
        </p:nvSpPr>
        <p:spPr bwMode="auto">
          <a:xfrm>
            <a:off x="5959245" y="1471332"/>
            <a:ext cx="307073" cy="355746"/>
          </a:xfrm>
          <a:custGeom>
            <a:avLst/>
            <a:gdLst>
              <a:gd name="T0" fmla="*/ 66132051 w 504"/>
              <a:gd name="T1" fmla="*/ 133865368 h 524"/>
              <a:gd name="T2" fmla="*/ 49071901 w 504"/>
              <a:gd name="T3" fmla="*/ 137123730 h 524"/>
              <a:gd name="T4" fmla="*/ 45046571 w 504"/>
              <a:gd name="T5" fmla="*/ 140382092 h 524"/>
              <a:gd name="T6" fmla="*/ 40254616 w 504"/>
              <a:gd name="T7" fmla="*/ 141740047 h 524"/>
              <a:gd name="T8" fmla="*/ 29711438 w 504"/>
              <a:gd name="T9" fmla="*/ 142283020 h 524"/>
              <a:gd name="T10" fmla="*/ 20318855 w 504"/>
              <a:gd name="T11" fmla="*/ 141740047 h 524"/>
              <a:gd name="T12" fmla="*/ 18018541 w 504"/>
              <a:gd name="T13" fmla="*/ 140110605 h 524"/>
              <a:gd name="T14" fmla="*/ 13609679 w 504"/>
              <a:gd name="T15" fmla="*/ 138210198 h 524"/>
              <a:gd name="T16" fmla="*/ 6900941 w 504"/>
              <a:gd name="T17" fmla="*/ 134680349 h 524"/>
              <a:gd name="T18" fmla="*/ 4217096 w 504"/>
              <a:gd name="T19" fmla="*/ 131964961 h 524"/>
              <a:gd name="T20" fmla="*/ 3833564 w 504"/>
              <a:gd name="T21" fmla="*/ 129521059 h 524"/>
              <a:gd name="T22" fmla="*/ 5175487 w 504"/>
              <a:gd name="T23" fmla="*/ 125719724 h 524"/>
              <a:gd name="T24" fmla="*/ 6133878 w 504"/>
              <a:gd name="T25" fmla="*/ 120831920 h 524"/>
              <a:gd name="T26" fmla="*/ 5367253 w 504"/>
              <a:gd name="T27" fmla="*/ 117302072 h 524"/>
              <a:gd name="T28" fmla="*/ 1916782 w 504"/>
              <a:gd name="T29" fmla="*/ 113229249 h 524"/>
              <a:gd name="T30" fmla="*/ 191766 w 504"/>
              <a:gd name="T31" fmla="*/ 110513861 h 524"/>
              <a:gd name="T32" fmla="*/ 191766 w 504"/>
              <a:gd name="T33" fmla="*/ 106169031 h 524"/>
              <a:gd name="T34" fmla="*/ 3258705 w 504"/>
              <a:gd name="T35" fmla="*/ 97751900 h 524"/>
              <a:gd name="T36" fmla="*/ 9200817 w 504"/>
              <a:gd name="T37" fmla="*/ 89062761 h 524"/>
              <a:gd name="T38" fmla="*/ 16485290 w 504"/>
              <a:gd name="T39" fmla="*/ 81188083 h 524"/>
              <a:gd name="T40" fmla="*/ 23769325 w 504"/>
              <a:gd name="T41" fmla="*/ 75757306 h 524"/>
              <a:gd name="T42" fmla="*/ 30669829 w 504"/>
              <a:gd name="T43" fmla="*/ 73856898 h 524"/>
              <a:gd name="T44" fmla="*/ 29711438 w 504"/>
              <a:gd name="T45" fmla="*/ 71684483 h 524"/>
              <a:gd name="T46" fmla="*/ 27219796 w 504"/>
              <a:gd name="T47" fmla="*/ 70327050 h 524"/>
              <a:gd name="T48" fmla="*/ 25494342 w 504"/>
              <a:gd name="T49" fmla="*/ 68154635 h 524"/>
              <a:gd name="T50" fmla="*/ 24344185 w 504"/>
              <a:gd name="T51" fmla="*/ 62180884 h 524"/>
              <a:gd name="T52" fmla="*/ 23769325 w 504"/>
              <a:gd name="T53" fmla="*/ 52948772 h 524"/>
              <a:gd name="T54" fmla="*/ 22043871 w 504"/>
              <a:gd name="T55" fmla="*/ 43716660 h 524"/>
              <a:gd name="T56" fmla="*/ 19168698 w 504"/>
              <a:gd name="T57" fmla="*/ 36385476 h 524"/>
              <a:gd name="T58" fmla="*/ 13034820 w 504"/>
              <a:gd name="T59" fmla="*/ 24437975 h 524"/>
              <a:gd name="T60" fmla="*/ 16485290 w 504"/>
              <a:gd name="T61" fmla="*/ 16291810 h 524"/>
              <a:gd name="T62" fmla="*/ 20318855 w 504"/>
              <a:gd name="T63" fmla="*/ 15205863 h 524"/>
              <a:gd name="T64" fmla="*/ 24919482 w 504"/>
              <a:gd name="T65" fmla="*/ 15748836 h 524"/>
              <a:gd name="T66" fmla="*/ 26644499 w 504"/>
              <a:gd name="T67" fmla="*/ 16563296 h 524"/>
              <a:gd name="T68" fmla="*/ 30669829 w 504"/>
              <a:gd name="T69" fmla="*/ 15205863 h 524"/>
              <a:gd name="T70" fmla="*/ 31436892 w 504"/>
              <a:gd name="T71" fmla="*/ 8960626 h 524"/>
              <a:gd name="T72" fmla="*/ 32778377 w 504"/>
              <a:gd name="T73" fmla="*/ 3529849 h 524"/>
              <a:gd name="T74" fmla="*/ 35845754 w 504"/>
              <a:gd name="T75" fmla="*/ 0 h 524"/>
              <a:gd name="T76" fmla="*/ 43129789 w 504"/>
              <a:gd name="T77" fmla="*/ 0 h 524"/>
              <a:gd name="T78" fmla="*/ 48688808 w 504"/>
              <a:gd name="T79" fmla="*/ 2172415 h 524"/>
              <a:gd name="T80" fmla="*/ 53672529 w 504"/>
              <a:gd name="T81" fmla="*/ 5702264 h 524"/>
              <a:gd name="T82" fmla="*/ 53480763 w 504"/>
              <a:gd name="T83" fmla="*/ 16834783 h 524"/>
              <a:gd name="T84" fmla="*/ 55972843 w 504"/>
              <a:gd name="T85" fmla="*/ 20908126 h 524"/>
              <a:gd name="T86" fmla="*/ 61148330 w 504"/>
              <a:gd name="T87" fmla="*/ 25523922 h 524"/>
              <a:gd name="T88" fmla="*/ 68240599 w 504"/>
              <a:gd name="T89" fmla="*/ 32312133 h 524"/>
              <a:gd name="T90" fmla="*/ 66323817 w 504"/>
              <a:gd name="T91" fmla="*/ 36656963 h 524"/>
              <a:gd name="T92" fmla="*/ 65173660 w 504"/>
              <a:gd name="T93" fmla="*/ 41544245 h 524"/>
              <a:gd name="T94" fmla="*/ 65940723 w 504"/>
              <a:gd name="T95" fmla="*/ 47789482 h 524"/>
              <a:gd name="T96" fmla="*/ 69582522 w 504"/>
              <a:gd name="T97" fmla="*/ 54306727 h 524"/>
              <a:gd name="T98" fmla="*/ 72458133 w 504"/>
              <a:gd name="T99" fmla="*/ 57021594 h 524"/>
              <a:gd name="T100" fmla="*/ 73991384 w 504"/>
              <a:gd name="T101" fmla="*/ 69512069 h 524"/>
              <a:gd name="T102" fmla="*/ 77441854 w 504"/>
              <a:gd name="T103" fmla="*/ 78472694 h 524"/>
              <a:gd name="T104" fmla="*/ 82809107 w 504"/>
              <a:gd name="T105" fmla="*/ 85532913 h 524"/>
              <a:gd name="T106" fmla="*/ 88751220 w 504"/>
              <a:gd name="T107" fmla="*/ 90963168 h 524"/>
              <a:gd name="T108" fmla="*/ 89326517 w 504"/>
              <a:gd name="T109" fmla="*/ 105897544 h 524"/>
              <a:gd name="T110" fmla="*/ 76099932 w 504"/>
              <a:gd name="T111" fmla="*/ 124090282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584" name="Freeform 16">
            <a:extLst>
              <a:ext uri="{FF2B5EF4-FFF2-40B4-BE49-F238E27FC236}">
                <a16:creationId xmlns:a16="http://schemas.microsoft.com/office/drawing/2014/main" id="{007BB795-7732-4C43-B996-511517352EE7}"/>
              </a:ext>
            </a:extLst>
          </p:cNvPr>
          <p:cNvSpPr>
            <a:spLocks/>
          </p:cNvSpPr>
          <p:nvPr>
            <p:custDataLst>
              <p:tags r:id="rId13"/>
            </p:custDataLst>
          </p:nvPr>
        </p:nvSpPr>
        <p:spPr bwMode="auto">
          <a:xfrm>
            <a:off x="5591594" y="2014097"/>
            <a:ext cx="254849" cy="308990"/>
          </a:xfrm>
          <a:custGeom>
            <a:avLst/>
            <a:gdLst>
              <a:gd name="T0" fmla="*/ 74008467 w 438"/>
              <a:gd name="T1" fmla="*/ 52967765 h 451"/>
              <a:gd name="T2" fmla="*/ 70881572 w 438"/>
              <a:gd name="T3" fmla="*/ 35683374 h 451"/>
              <a:gd name="T4" fmla="*/ 67233250 w 438"/>
              <a:gd name="T5" fmla="*/ 23695813 h 451"/>
              <a:gd name="T6" fmla="*/ 63758736 w 438"/>
              <a:gd name="T7" fmla="*/ 17284390 h 451"/>
              <a:gd name="T8" fmla="*/ 61847671 w 438"/>
              <a:gd name="T9" fmla="*/ 16169268 h 451"/>
              <a:gd name="T10" fmla="*/ 58199348 w 438"/>
              <a:gd name="T11" fmla="*/ 12545122 h 451"/>
              <a:gd name="T12" fmla="*/ 54551026 w 438"/>
              <a:gd name="T13" fmla="*/ 10593659 h 451"/>
              <a:gd name="T14" fmla="*/ 50902704 w 438"/>
              <a:gd name="T15" fmla="*/ 10593659 h 451"/>
              <a:gd name="T16" fmla="*/ 47949201 w 438"/>
              <a:gd name="T17" fmla="*/ 11708780 h 451"/>
              <a:gd name="T18" fmla="*/ 43606059 w 438"/>
              <a:gd name="T19" fmla="*/ 16169268 h 451"/>
              <a:gd name="T20" fmla="*/ 40826365 w 438"/>
              <a:gd name="T21" fmla="*/ 18678293 h 451"/>
              <a:gd name="T22" fmla="*/ 37699053 w 438"/>
              <a:gd name="T23" fmla="*/ 18399512 h 451"/>
              <a:gd name="T24" fmla="*/ 30229016 w 438"/>
              <a:gd name="T25" fmla="*/ 10314878 h 451"/>
              <a:gd name="T26" fmla="*/ 19631250 w 438"/>
              <a:gd name="T27" fmla="*/ 0 h 451"/>
              <a:gd name="T28" fmla="*/ 16504355 w 438"/>
              <a:gd name="T29" fmla="*/ 6411951 h 451"/>
              <a:gd name="T30" fmla="*/ 16156737 w 438"/>
              <a:gd name="T31" fmla="*/ 11987561 h 451"/>
              <a:gd name="T32" fmla="*/ 17025365 w 438"/>
              <a:gd name="T33" fmla="*/ 14496585 h 451"/>
              <a:gd name="T34" fmla="*/ 20673688 w 438"/>
              <a:gd name="T35" fmla="*/ 19235854 h 451"/>
              <a:gd name="T36" fmla="*/ 17199174 w 438"/>
              <a:gd name="T37" fmla="*/ 20350976 h 451"/>
              <a:gd name="T38" fmla="*/ 11465977 w 438"/>
              <a:gd name="T39" fmla="*/ 25926057 h 451"/>
              <a:gd name="T40" fmla="*/ 10076339 w 438"/>
              <a:gd name="T41" fmla="*/ 33174350 h 451"/>
              <a:gd name="T42" fmla="*/ 7817655 w 438"/>
              <a:gd name="T43" fmla="*/ 38471179 h 451"/>
              <a:gd name="T44" fmla="*/ 6080398 w 438"/>
              <a:gd name="T45" fmla="*/ 43489228 h 451"/>
              <a:gd name="T46" fmla="*/ 5733197 w 438"/>
              <a:gd name="T47" fmla="*/ 49901179 h 451"/>
              <a:gd name="T48" fmla="*/ 1216246 w 438"/>
              <a:gd name="T49" fmla="*/ 66348700 h 451"/>
              <a:gd name="T50" fmla="*/ 2605885 w 438"/>
              <a:gd name="T51" fmla="*/ 68578944 h 451"/>
              <a:gd name="T52" fmla="*/ 4516951 w 438"/>
              <a:gd name="T53" fmla="*/ 68857725 h 451"/>
              <a:gd name="T54" fmla="*/ 5733197 w 438"/>
              <a:gd name="T55" fmla="*/ 96456993 h 451"/>
              <a:gd name="T56" fmla="*/ 16156737 w 438"/>
              <a:gd name="T57" fmla="*/ 98408456 h 451"/>
              <a:gd name="T58" fmla="*/ 18067803 w 438"/>
              <a:gd name="T59" fmla="*/ 104819879 h 451"/>
              <a:gd name="T60" fmla="*/ 15461918 w 438"/>
              <a:gd name="T61" fmla="*/ 118480123 h 451"/>
              <a:gd name="T62" fmla="*/ 18936431 w 438"/>
              <a:gd name="T63" fmla="*/ 124613294 h 451"/>
              <a:gd name="T64" fmla="*/ 26406885 w 438"/>
              <a:gd name="T65" fmla="*/ 124613294 h 451"/>
              <a:gd name="T66" fmla="*/ 35614595 w 438"/>
              <a:gd name="T67" fmla="*/ 123776953 h 451"/>
              <a:gd name="T68" fmla="*/ 47949201 w 438"/>
              <a:gd name="T69" fmla="*/ 124334514 h 451"/>
              <a:gd name="T70" fmla="*/ 59588987 w 438"/>
              <a:gd name="T71" fmla="*/ 123219392 h 451"/>
              <a:gd name="T72" fmla="*/ 64627365 w 438"/>
              <a:gd name="T73" fmla="*/ 120431587 h 451"/>
              <a:gd name="T74" fmla="*/ 62368681 w 438"/>
              <a:gd name="T75" fmla="*/ 115134757 h 451"/>
              <a:gd name="T76" fmla="*/ 64105938 w 438"/>
              <a:gd name="T77" fmla="*/ 112346953 h 451"/>
              <a:gd name="T78" fmla="*/ 64627365 w 438"/>
              <a:gd name="T79" fmla="*/ 106492562 h 451"/>
              <a:gd name="T80" fmla="*/ 66017003 w 438"/>
              <a:gd name="T81" fmla="*/ 102311383 h 451"/>
              <a:gd name="T82" fmla="*/ 59588987 w 438"/>
              <a:gd name="T83" fmla="*/ 95899432 h 451"/>
              <a:gd name="T84" fmla="*/ 56462092 w 438"/>
              <a:gd name="T85" fmla="*/ 90045042 h 451"/>
              <a:gd name="T86" fmla="*/ 54029599 w 438"/>
              <a:gd name="T87" fmla="*/ 81960407 h 451"/>
              <a:gd name="T88" fmla="*/ 51076513 w 438"/>
              <a:gd name="T89" fmla="*/ 77221139 h 451"/>
              <a:gd name="T90" fmla="*/ 54551026 w 438"/>
              <a:gd name="T91" fmla="*/ 76663578 h 451"/>
              <a:gd name="T92" fmla="*/ 60110414 w 438"/>
              <a:gd name="T93" fmla="*/ 75548456 h 451"/>
              <a:gd name="T94" fmla="*/ 64105938 w 438"/>
              <a:gd name="T95" fmla="*/ 72481871 h 451"/>
              <a:gd name="T96" fmla="*/ 70707763 w 438"/>
              <a:gd name="T97" fmla="*/ 66906261 h 451"/>
              <a:gd name="T98" fmla="*/ 76093342 w 438"/>
              <a:gd name="T99" fmla="*/ 65512359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585" name="Freeform 17">
            <a:extLst>
              <a:ext uri="{FF2B5EF4-FFF2-40B4-BE49-F238E27FC236}">
                <a16:creationId xmlns:a16="http://schemas.microsoft.com/office/drawing/2014/main" id="{F60964BF-4F96-4325-B13A-6D7E52B390B0}"/>
              </a:ext>
            </a:extLst>
          </p:cNvPr>
          <p:cNvSpPr>
            <a:spLocks/>
          </p:cNvSpPr>
          <p:nvPr>
            <p:custDataLst>
              <p:tags r:id="rId14"/>
            </p:custDataLst>
          </p:nvPr>
        </p:nvSpPr>
        <p:spPr bwMode="auto">
          <a:xfrm>
            <a:off x="5627106" y="2347481"/>
            <a:ext cx="348849" cy="357777"/>
          </a:xfrm>
          <a:custGeom>
            <a:avLst/>
            <a:gdLst>
              <a:gd name="T0" fmla="*/ 61579273 w 578"/>
              <a:gd name="T1" fmla="*/ 24173297 h 524"/>
              <a:gd name="T2" fmla="*/ 58754237 w 578"/>
              <a:gd name="T3" fmla="*/ 23349386 h 524"/>
              <a:gd name="T4" fmla="*/ 56682978 w 578"/>
              <a:gd name="T5" fmla="*/ 21701040 h 524"/>
              <a:gd name="T6" fmla="*/ 51786683 w 578"/>
              <a:gd name="T7" fmla="*/ 18130235 h 524"/>
              <a:gd name="T8" fmla="*/ 47267060 w 578"/>
              <a:gd name="T9" fmla="*/ 21426403 h 524"/>
              <a:gd name="T10" fmla="*/ 46325815 w 578"/>
              <a:gd name="T11" fmla="*/ 28843174 h 524"/>
              <a:gd name="T12" fmla="*/ 47643731 w 578"/>
              <a:gd name="T13" fmla="*/ 42028895 h 524"/>
              <a:gd name="T14" fmla="*/ 50845005 w 578"/>
              <a:gd name="T15" fmla="*/ 47248046 h 524"/>
              <a:gd name="T16" fmla="*/ 54046712 w 578"/>
              <a:gd name="T17" fmla="*/ 48896392 h 524"/>
              <a:gd name="T18" fmla="*/ 56117971 w 578"/>
              <a:gd name="T19" fmla="*/ 52467198 h 524"/>
              <a:gd name="T20" fmla="*/ 66098897 w 578"/>
              <a:gd name="T21" fmla="*/ 61806952 h 524"/>
              <a:gd name="T22" fmla="*/ 84553628 w 578"/>
              <a:gd name="T23" fmla="*/ 84881701 h 524"/>
              <a:gd name="T24" fmla="*/ 89826595 w 578"/>
              <a:gd name="T25" fmla="*/ 88452506 h 524"/>
              <a:gd name="T26" fmla="*/ 94910791 w 578"/>
              <a:gd name="T27" fmla="*/ 90100852 h 524"/>
              <a:gd name="T28" fmla="*/ 100937101 w 578"/>
              <a:gd name="T29" fmla="*/ 97792261 h 524"/>
              <a:gd name="T30" fmla="*/ 108846333 w 578"/>
              <a:gd name="T31" fmla="*/ 103286573 h 524"/>
              <a:gd name="T32" fmla="*/ 106398403 w 578"/>
              <a:gd name="T33" fmla="*/ 111801892 h 524"/>
              <a:gd name="T34" fmla="*/ 99053743 w 578"/>
              <a:gd name="T35" fmla="*/ 105209556 h 524"/>
              <a:gd name="T36" fmla="*/ 95664134 w 578"/>
              <a:gd name="T37" fmla="*/ 103286573 h 524"/>
              <a:gd name="T38" fmla="*/ 93781211 w 578"/>
              <a:gd name="T39" fmla="*/ 109054998 h 524"/>
              <a:gd name="T40" fmla="*/ 95287463 w 578"/>
              <a:gd name="T41" fmla="*/ 117021568 h 524"/>
              <a:gd name="T42" fmla="*/ 96794149 w 578"/>
              <a:gd name="T43" fmla="*/ 121416284 h 524"/>
              <a:gd name="T44" fmla="*/ 94157882 w 578"/>
              <a:gd name="T45" fmla="*/ 128558418 h 524"/>
              <a:gd name="T46" fmla="*/ 90956175 w 578"/>
              <a:gd name="T47" fmla="*/ 138722608 h 524"/>
              <a:gd name="T48" fmla="*/ 87566566 w 578"/>
              <a:gd name="T49" fmla="*/ 143392485 h 524"/>
              <a:gd name="T50" fmla="*/ 82105698 w 578"/>
              <a:gd name="T51" fmla="*/ 138722608 h 524"/>
              <a:gd name="T52" fmla="*/ 85871978 w 578"/>
              <a:gd name="T53" fmla="*/ 132953659 h 524"/>
              <a:gd name="T54" fmla="*/ 87566566 w 578"/>
              <a:gd name="T55" fmla="*/ 128283781 h 524"/>
              <a:gd name="T56" fmla="*/ 86813223 w 578"/>
              <a:gd name="T57" fmla="*/ 121141647 h 524"/>
              <a:gd name="T58" fmla="*/ 80410676 w 578"/>
              <a:gd name="T59" fmla="*/ 108505724 h 524"/>
              <a:gd name="T60" fmla="*/ 72501444 w 578"/>
              <a:gd name="T61" fmla="*/ 101363590 h 524"/>
              <a:gd name="T62" fmla="*/ 66851806 w 578"/>
              <a:gd name="T63" fmla="*/ 97792261 h 524"/>
              <a:gd name="T64" fmla="*/ 59884252 w 578"/>
              <a:gd name="T65" fmla="*/ 90650126 h 524"/>
              <a:gd name="T66" fmla="*/ 50468333 w 578"/>
              <a:gd name="T67" fmla="*/ 86530047 h 524"/>
              <a:gd name="T68" fmla="*/ 41052849 w 578"/>
              <a:gd name="T69" fmla="*/ 78288841 h 524"/>
              <a:gd name="T70" fmla="*/ 30506916 w 578"/>
              <a:gd name="T71" fmla="*/ 62906024 h 524"/>
              <a:gd name="T72" fmla="*/ 23727698 w 578"/>
              <a:gd name="T73" fmla="*/ 46149498 h 524"/>
              <a:gd name="T74" fmla="*/ 14500115 w 578"/>
              <a:gd name="T75" fmla="*/ 42303532 h 524"/>
              <a:gd name="T76" fmla="*/ 9604254 w 578"/>
              <a:gd name="T77" fmla="*/ 43127443 h 524"/>
              <a:gd name="T78" fmla="*/ 2824602 w 578"/>
              <a:gd name="T79" fmla="*/ 45325063 h 524"/>
              <a:gd name="T80" fmla="*/ 565007 w 578"/>
              <a:gd name="T81" fmla="*/ 36534583 h 524"/>
              <a:gd name="T82" fmla="*/ 188336 w 578"/>
              <a:gd name="T83" fmla="*/ 25547006 h 524"/>
              <a:gd name="T84" fmla="*/ 1130014 w 578"/>
              <a:gd name="T85" fmla="*/ 13460358 h 524"/>
              <a:gd name="T86" fmla="*/ 8474240 w 578"/>
              <a:gd name="T87" fmla="*/ 11262738 h 524"/>
              <a:gd name="T88" fmla="*/ 12805528 w 578"/>
              <a:gd name="T89" fmla="*/ 9065117 h 524"/>
              <a:gd name="T90" fmla="*/ 15630129 w 578"/>
              <a:gd name="T91" fmla="*/ 13185721 h 524"/>
              <a:gd name="T92" fmla="*/ 19584746 w 578"/>
              <a:gd name="T93" fmla="*/ 12086649 h 524"/>
              <a:gd name="T94" fmla="*/ 28058986 w 578"/>
              <a:gd name="T95" fmla="*/ 4395240 h 524"/>
              <a:gd name="T96" fmla="*/ 45007465 w 578"/>
              <a:gd name="T97" fmla="*/ 0 h 524"/>
              <a:gd name="T98" fmla="*/ 48397074 w 578"/>
              <a:gd name="T99" fmla="*/ 3571329 h 524"/>
              <a:gd name="T100" fmla="*/ 62520518 w 578"/>
              <a:gd name="T101" fmla="*/ 5219151 h 524"/>
              <a:gd name="T102" fmla="*/ 60637595 w 578"/>
              <a:gd name="T103" fmla="*/ 17855598 h 524"/>
              <a:gd name="T104" fmla="*/ 61202602 w 578"/>
              <a:gd name="T105" fmla="*/ 24722571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586" name="Freeform 18">
            <a:extLst>
              <a:ext uri="{FF2B5EF4-FFF2-40B4-BE49-F238E27FC236}">
                <a16:creationId xmlns:a16="http://schemas.microsoft.com/office/drawing/2014/main" id="{98B19B29-19CA-4873-A985-0385C5936D9A}"/>
              </a:ext>
            </a:extLst>
          </p:cNvPr>
          <p:cNvSpPr>
            <a:spLocks/>
          </p:cNvSpPr>
          <p:nvPr>
            <p:custDataLst>
              <p:tags r:id="rId15"/>
            </p:custDataLst>
          </p:nvPr>
        </p:nvSpPr>
        <p:spPr bwMode="auto">
          <a:xfrm>
            <a:off x="5652173" y="2567026"/>
            <a:ext cx="45956" cy="107739"/>
          </a:xfrm>
          <a:custGeom>
            <a:avLst/>
            <a:gdLst>
              <a:gd name="T0" fmla="*/ 0 w 79"/>
              <a:gd name="T1" fmla="*/ 9849247 h 160"/>
              <a:gd name="T2" fmla="*/ 1068504 w 79"/>
              <a:gd name="T3" fmla="*/ 9849247 h 160"/>
              <a:gd name="T4" fmla="*/ 1958924 w 79"/>
              <a:gd name="T5" fmla="*/ 9583023 h 160"/>
              <a:gd name="T6" fmla="*/ 2849344 w 79"/>
              <a:gd name="T7" fmla="*/ 9316799 h 160"/>
              <a:gd name="T8" fmla="*/ 3383596 w 79"/>
              <a:gd name="T9" fmla="*/ 8784352 h 160"/>
              <a:gd name="T10" fmla="*/ 4630184 w 79"/>
              <a:gd name="T11" fmla="*/ 7453233 h 160"/>
              <a:gd name="T12" fmla="*/ 5520604 w 79"/>
              <a:gd name="T13" fmla="*/ 5856407 h 160"/>
              <a:gd name="T14" fmla="*/ 6589108 w 79"/>
              <a:gd name="T15" fmla="*/ 4259064 h 160"/>
              <a:gd name="T16" fmla="*/ 7301444 w 79"/>
              <a:gd name="T17" fmla="*/ 2661722 h 160"/>
              <a:gd name="T18" fmla="*/ 8191864 w 79"/>
              <a:gd name="T19" fmla="*/ 1331119 h 160"/>
              <a:gd name="T20" fmla="*/ 9438452 w 79"/>
              <a:gd name="T21" fmla="*/ 0 h 160"/>
              <a:gd name="T22" fmla="*/ 10150788 w 79"/>
              <a:gd name="T23" fmla="*/ 798671 h 160"/>
              <a:gd name="T24" fmla="*/ 11041208 w 79"/>
              <a:gd name="T25" fmla="*/ 1863566 h 160"/>
              <a:gd name="T26" fmla="*/ 11397376 w 79"/>
              <a:gd name="T27" fmla="*/ 2661722 h 160"/>
              <a:gd name="T28" fmla="*/ 11753544 w 79"/>
              <a:gd name="T29" fmla="*/ 3726617 h 160"/>
              <a:gd name="T30" fmla="*/ 12287796 w 79"/>
              <a:gd name="T31" fmla="*/ 5856407 h 160"/>
              <a:gd name="T32" fmla="*/ 12822048 w 79"/>
              <a:gd name="T33" fmla="*/ 8518128 h 160"/>
              <a:gd name="T34" fmla="*/ 13000132 w 79"/>
              <a:gd name="T35" fmla="*/ 10647918 h 160"/>
              <a:gd name="T36" fmla="*/ 13178216 w 79"/>
              <a:gd name="T37" fmla="*/ 13043416 h 160"/>
              <a:gd name="T38" fmla="*/ 13534384 w 79"/>
              <a:gd name="T39" fmla="*/ 15438914 h 160"/>
              <a:gd name="T40" fmla="*/ 14068636 w 79"/>
              <a:gd name="T41" fmla="*/ 17834928 h 160"/>
              <a:gd name="T42" fmla="*/ 14068636 w 79"/>
              <a:gd name="T43" fmla="*/ 26086832 h 160"/>
              <a:gd name="T44" fmla="*/ 12109712 w 79"/>
              <a:gd name="T45" fmla="*/ 30612120 h 160"/>
              <a:gd name="T46" fmla="*/ 10506956 w 79"/>
              <a:gd name="T47" fmla="*/ 34338736 h 160"/>
              <a:gd name="T48" fmla="*/ 9438452 w 79"/>
              <a:gd name="T49" fmla="*/ 36202303 h 160"/>
              <a:gd name="T50" fmla="*/ 8904200 w 79"/>
              <a:gd name="T51" fmla="*/ 38331577 h 160"/>
              <a:gd name="T52" fmla="*/ 8548032 w 79"/>
              <a:gd name="T53" fmla="*/ 40195143 h 160"/>
              <a:gd name="T54" fmla="*/ 8191864 w 79"/>
              <a:gd name="T55" fmla="*/ 42590641 h 160"/>
              <a:gd name="T56" fmla="*/ 7123360 w 79"/>
              <a:gd name="T57" fmla="*/ 41259522 h 160"/>
              <a:gd name="T58" fmla="*/ 5876772 w 79"/>
              <a:gd name="T59" fmla="*/ 39928919 h 160"/>
              <a:gd name="T60" fmla="*/ 4986352 w 79"/>
              <a:gd name="T61" fmla="*/ 38331577 h 160"/>
              <a:gd name="T62" fmla="*/ 3917848 w 79"/>
              <a:gd name="T63" fmla="*/ 36468010 h 160"/>
              <a:gd name="T64" fmla="*/ 3205512 w 79"/>
              <a:gd name="T65" fmla="*/ 34604960 h 160"/>
              <a:gd name="T66" fmla="*/ 2671260 w 79"/>
              <a:gd name="T67" fmla="*/ 32741394 h 160"/>
              <a:gd name="T68" fmla="*/ 1958924 w 79"/>
              <a:gd name="T69" fmla="*/ 30612120 h 160"/>
              <a:gd name="T70" fmla="*/ 1424672 w 79"/>
              <a:gd name="T71" fmla="*/ 28748553 h 160"/>
              <a:gd name="T72" fmla="*/ 712336 w 79"/>
              <a:gd name="T73" fmla="*/ 24223266 h 160"/>
              <a:gd name="T74" fmla="*/ 178084 w 79"/>
              <a:gd name="T75" fmla="*/ 19431754 h 160"/>
              <a:gd name="T76" fmla="*/ 0 w 79"/>
              <a:gd name="T77" fmla="*/ 14640758 h 160"/>
              <a:gd name="T78" fmla="*/ 0 w 79"/>
              <a:gd name="T79" fmla="*/ 9849247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nvGrpSpPr>
          <p:cNvPr id="587" name="Group 19">
            <a:extLst>
              <a:ext uri="{FF2B5EF4-FFF2-40B4-BE49-F238E27FC236}">
                <a16:creationId xmlns:a16="http://schemas.microsoft.com/office/drawing/2014/main" id="{8EF6AA45-47CC-44E2-9057-76AE7B2C05F4}"/>
              </a:ext>
            </a:extLst>
          </p:cNvPr>
          <p:cNvGrpSpPr>
            <a:grpSpLocks/>
          </p:cNvGrpSpPr>
          <p:nvPr>
            <p:custDataLst>
              <p:tags r:id="rId16"/>
            </p:custDataLst>
          </p:nvPr>
        </p:nvGrpSpPr>
        <p:grpSpPr bwMode="auto">
          <a:xfrm>
            <a:off x="8879277" y="3945967"/>
            <a:ext cx="658414" cy="276565"/>
            <a:chOff x="4488" y="2394"/>
            <a:chExt cx="358" cy="124"/>
          </a:xfrm>
          <a:solidFill>
            <a:schemeClr val="bg1">
              <a:lumMod val="65000"/>
            </a:schemeClr>
          </a:solidFill>
        </p:grpSpPr>
        <p:sp>
          <p:nvSpPr>
            <p:cNvPr id="1116" name="Freeform 20">
              <a:extLst>
                <a:ext uri="{FF2B5EF4-FFF2-40B4-BE49-F238E27FC236}">
                  <a16:creationId xmlns:a16="http://schemas.microsoft.com/office/drawing/2014/main" id="{8C749AA4-AF7E-4BAA-979B-A2189CD6CF2C}"/>
                </a:ext>
              </a:extLst>
            </p:cNvPr>
            <p:cNvSpPr>
              <a:spLocks/>
            </p:cNvSpPr>
            <p:nvPr/>
          </p:nvSpPr>
          <p:spPr bwMode="auto">
            <a:xfrm>
              <a:off x="4676" y="2394"/>
              <a:ext cx="170" cy="124"/>
            </a:xfrm>
            <a:custGeom>
              <a:avLst/>
              <a:gdLst>
                <a:gd name="T0" fmla="*/ 47 w 512"/>
                <a:gd name="T1" fmla="*/ 18 h 408"/>
                <a:gd name="T2" fmla="*/ 43 w 512"/>
                <a:gd name="T3" fmla="*/ 18 h 408"/>
                <a:gd name="T4" fmla="*/ 41 w 512"/>
                <a:gd name="T5" fmla="*/ 19 h 408"/>
                <a:gd name="T6" fmla="*/ 39 w 512"/>
                <a:gd name="T7" fmla="*/ 20 h 408"/>
                <a:gd name="T8" fmla="*/ 39 w 512"/>
                <a:gd name="T9" fmla="*/ 23 h 408"/>
                <a:gd name="T10" fmla="*/ 36 w 512"/>
                <a:gd name="T11" fmla="*/ 28 h 408"/>
                <a:gd name="T12" fmla="*/ 34 w 512"/>
                <a:gd name="T13" fmla="*/ 31 h 408"/>
                <a:gd name="T14" fmla="*/ 32 w 512"/>
                <a:gd name="T15" fmla="*/ 32 h 408"/>
                <a:gd name="T16" fmla="*/ 30 w 512"/>
                <a:gd name="T17" fmla="*/ 33 h 408"/>
                <a:gd name="T18" fmla="*/ 29 w 512"/>
                <a:gd name="T19" fmla="*/ 34 h 408"/>
                <a:gd name="T20" fmla="*/ 28 w 512"/>
                <a:gd name="T21" fmla="*/ 35 h 408"/>
                <a:gd name="T22" fmla="*/ 24 w 512"/>
                <a:gd name="T23" fmla="*/ 34 h 408"/>
                <a:gd name="T24" fmla="*/ 20 w 512"/>
                <a:gd name="T25" fmla="*/ 34 h 408"/>
                <a:gd name="T26" fmla="*/ 17 w 512"/>
                <a:gd name="T27" fmla="*/ 34 h 408"/>
                <a:gd name="T28" fmla="*/ 15 w 512"/>
                <a:gd name="T29" fmla="*/ 36 h 408"/>
                <a:gd name="T30" fmla="*/ 11 w 512"/>
                <a:gd name="T31" fmla="*/ 37 h 408"/>
                <a:gd name="T32" fmla="*/ 7 w 512"/>
                <a:gd name="T33" fmla="*/ 38 h 408"/>
                <a:gd name="T34" fmla="*/ 5 w 512"/>
                <a:gd name="T35" fmla="*/ 37 h 408"/>
                <a:gd name="T36" fmla="*/ 2 w 512"/>
                <a:gd name="T37" fmla="*/ 34 h 408"/>
                <a:gd name="T38" fmla="*/ 0 w 512"/>
                <a:gd name="T39" fmla="*/ 32 h 408"/>
                <a:gd name="T40" fmla="*/ 1 w 512"/>
                <a:gd name="T41" fmla="*/ 31 h 408"/>
                <a:gd name="T42" fmla="*/ 4 w 512"/>
                <a:gd name="T43" fmla="*/ 32 h 408"/>
                <a:gd name="T44" fmla="*/ 6 w 512"/>
                <a:gd name="T45" fmla="*/ 31 h 408"/>
                <a:gd name="T46" fmla="*/ 6 w 512"/>
                <a:gd name="T47" fmla="*/ 29 h 408"/>
                <a:gd name="T48" fmla="*/ 8 w 512"/>
                <a:gd name="T49" fmla="*/ 28 h 408"/>
                <a:gd name="T50" fmla="*/ 9 w 512"/>
                <a:gd name="T51" fmla="*/ 26 h 408"/>
                <a:gd name="T52" fmla="*/ 10 w 512"/>
                <a:gd name="T53" fmla="*/ 25 h 408"/>
                <a:gd name="T54" fmla="*/ 11 w 512"/>
                <a:gd name="T55" fmla="*/ 24 h 408"/>
                <a:gd name="T56" fmla="*/ 15 w 512"/>
                <a:gd name="T57" fmla="*/ 23 h 408"/>
                <a:gd name="T58" fmla="*/ 19 w 512"/>
                <a:gd name="T59" fmla="*/ 22 h 408"/>
                <a:gd name="T60" fmla="*/ 22 w 512"/>
                <a:gd name="T61" fmla="*/ 20 h 408"/>
                <a:gd name="T62" fmla="*/ 24 w 512"/>
                <a:gd name="T63" fmla="*/ 19 h 408"/>
                <a:gd name="T64" fmla="*/ 24 w 512"/>
                <a:gd name="T65" fmla="*/ 18 h 408"/>
                <a:gd name="T66" fmla="*/ 25 w 512"/>
                <a:gd name="T67" fmla="*/ 15 h 408"/>
                <a:gd name="T68" fmla="*/ 25 w 512"/>
                <a:gd name="T69" fmla="*/ 14 h 408"/>
                <a:gd name="T70" fmla="*/ 26 w 512"/>
                <a:gd name="T71" fmla="*/ 14 h 408"/>
                <a:gd name="T72" fmla="*/ 27 w 512"/>
                <a:gd name="T73" fmla="*/ 13 h 408"/>
                <a:gd name="T74" fmla="*/ 26 w 512"/>
                <a:gd name="T75" fmla="*/ 14 h 408"/>
                <a:gd name="T76" fmla="*/ 27 w 512"/>
                <a:gd name="T77" fmla="*/ 16 h 408"/>
                <a:gd name="T78" fmla="*/ 28 w 512"/>
                <a:gd name="T79" fmla="*/ 18 h 408"/>
                <a:gd name="T80" fmla="*/ 30 w 512"/>
                <a:gd name="T81" fmla="*/ 19 h 408"/>
                <a:gd name="T82" fmla="*/ 34 w 512"/>
                <a:gd name="T83" fmla="*/ 19 h 408"/>
                <a:gd name="T84" fmla="*/ 36 w 512"/>
                <a:gd name="T85" fmla="*/ 19 h 408"/>
                <a:gd name="T86" fmla="*/ 36 w 512"/>
                <a:gd name="T87" fmla="*/ 18 h 408"/>
                <a:gd name="T88" fmla="*/ 36 w 512"/>
                <a:gd name="T89" fmla="*/ 16 h 408"/>
                <a:gd name="T90" fmla="*/ 33 w 512"/>
                <a:gd name="T91" fmla="*/ 12 h 408"/>
                <a:gd name="T92" fmla="*/ 36 w 512"/>
                <a:gd name="T93" fmla="*/ 10 h 408"/>
                <a:gd name="T94" fmla="*/ 38 w 512"/>
                <a:gd name="T95" fmla="*/ 6 h 408"/>
                <a:gd name="T96" fmla="*/ 42 w 512"/>
                <a:gd name="T97" fmla="*/ 2 h 408"/>
                <a:gd name="T98" fmla="*/ 44 w 512"/>
                <a:gd name="T99" fmla="*/ 0 h 408"/>
                <a:gd name="T100" fmla="*/ 45 w 512"/>
                <a:gd name="T101" fmla="*/ 2 h 408"/>
                <a:gd name="T102" fmla="*/ 46 w 512"/>
                <a:gd name="T103" fmla="*/ 5 h 408"/>
                <a:gd name="T104" fmla="*/ 49 w 512"/>
                <a:gd name="T105" fmla="*/ 7 h 408"/>
                <a:gd name="T106" fmla="*/ 54 w 512"/>
                <a:gd name="T107" fmla="*/ 10 h 408"/>
                <a:gd name="T108" fmla="*/ 57 w 512"/>
                <a:gd name="T109" fmla="*/ 12 h 408"/>
                <a:gd name="T110" fmla="*/ 56 w 512"/>
                <a:gd name="T111" fmla="*/ 14 h 408"/>
                <a:gd name="T112" fmla="*/ 53 w 512"/>
                <a:gd name="T113" fmla="*/ 14 h 408"/>
                <a:gd name="T114" fmla="*/ 51 w 512"/>
                <a:gd name="T115" fmla="*/ 17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117" name="Freeform 21">
              <a:extLst>
                <a:ext uri="{FF2B5EF4-FFF2-40B4-BE49-F238E27FC236}">
                  <a16:creationId xmlns:a16="http://schemas.microsoft.com/office/drawing/2014/main" id="{87658C1C-2EE5-4ED2-AA5C-17AC459347B7}"/>
                </a:ext>
              </a:extLst>
            </p:cNvPr>
            <p:cNvSpPr>
              <a:spLocks/>
            </p:cNvSpPr>
            <p:nvPr/>
          </p:nvSpPr>
          <p:spPr bwMode="auto">
            <a:xfrm>
              <a:off x="4488" y="2420"/>
              <a:ext cx="77" cy="87"/>
            </a:xfrm>
            <a:custGeom>
              <a:avLst/>
              <a:gdLst>
                <a:gd name="T0" fmla="*/ 17 w 232"/>
                <a:gd name="T1" fmla="*/ 2 h 289"/>
                <a:gd name="T2" fmla="*/ 18 w 232"/>
                <a:gd name="T3" fmla="*/ 5 h 289"/>
                <a:gd name="T4" fmla="*/ 19 w 232"/>
                <a:gd name="T5" fmla="*/ 5 h 289"/>
                <a:gd name="T6" fmla="*/ 20 w 232"/>
                <a:gd name="T7" fmla="*/ 6 h 289"/>
                <a:gd name="T8" fmla="*/ 21 w 232"/>
                <a:gd name="T9" fmla="*/ 16 h 289"/>
                <a:gd name="T10" fmla="*/ 21 w 232"/>
                <a:gd name="T11" fmla="*/ 18 h 289"/>
                <a:gd name="T12" fmla="*/ 21 w 232"/>
                <a:gd name="T13" fmla="*/ 20 h 289"/>
                <a:gd name="T14" fmla="*/ 22 w 232"/>
                <a:gd name="T15" fmla="*/ 21 h 289"/>
                <a:gd name="T16" fmla="*/ 26 w 232"/>
                <a:gd name="T17" fmla="*/ 23 h 289"/>
                <a:gd name="T18" fmla="*/ 24 w 232"/>
                <a:gd name="T19" fmla="*/ 27 h 289"/>
                <a:gd name="T20" fmla="*/ 21 w 232"/>
                <a:gd name="T21" fmla="*/ 27 h 289"/>
                <a:gd name="T22" fmla="*/ 17 w 232"/>
                <a:gd name="T23" fmla="*/ 25 h 289"/>
                <a:gd name="T24" fmla="*/ 13 w 232"/>
                <a:gd name="T25" fmla="*/ 22 h 289"/>
                <a:gd name="T26" fmla="*/ 9 w 232"/>
                <a:gd name="T27" fmla="*/ 20 h 289"/>
                <a:gd name="T28" fmla="*/ 6 w 232"/>
                <a:gd name="T29" fmla="*/ 17 h 289"/>
                <a:gd name="T30" fmla="*/ 3 w 232"/>
                <a:gd name="T31" fmla="*/ 14 h 289"/>
                <a:gd name="T32" fmla="*/ 1 w 232"/>
                <a:gd name="T33" fmla="*/ 12 h 289"/>
                <a:gd name="T34" fmla="*/ 0 w 232"/>
                <a:gd name="T35" fmla="*/ 11 h 289"/>
                <a:gd name="T36" fmla="*/ 0 w 232"/>
                <a:gd name="T37" fmla="*/ 10 h 289"/>
                <a:gd name="T38" fmla="*/ 0 w 232"/>
                <a:gd name="T39" fmla="*/ 10 h 289"/>
                <a:gd name="T40" fmla="*/ 0 w 232"/>
                <a:gd name="T41" fmla="*/ 9 h 289"/>
                <a:gd name="T42" fmla="*/ 1 w 232"/>
                <a:gd name="T43" fmla="*/ 7 h 289"/>
                <a:gd name="T44" fmla="*/ 1 w 232"/>
                <a:gd name="T45" fmla="*/ 5 h 289"/>
                <a:gd name="T46" fmla="*/ 1 w 232"/>
                <a:gd name="T47" fmla="*/ 2 h 289"/>
                <a:gd name="T48" fmla="*/ 1 w 232"/>
                <a:gd name="T49" fmla="*/ 0 h 289"/>
                <a:gd name="T50" fmla="*/ 3 w 232"/>
                <a:gd name="T51" fmla="*/ 0 h 289"/>
                <a:gd name="T52" fmla="*/ 5 w 232"/>
                <a:gd name="T53" fmla="*/ 1 h 289"/>
                <a:gd name="T54" fmla="*/ 7 w 232"/>
                <a:gd name="T55" fmla="*/ 2 h 289"/>
                <a:gd name="T56" fmla="*/ 8 w 232"/>
                <a:gd name="T57" fmla="*/ 3 h 289"/>
                <a:gd name="T58" fmla="*/ 9 w 232"/>
                <a:gd name="T59" fmla="*/ 3 h 289"/>
                <a:gd name="T60" fmla="*/ 10 w 232"/>
                <a:gd name="T61" fmla="*/ 3 h 289"/>
                <a:gd name="T62" fmla="*/ 12 w 232"/>
                <a:gd name="T63" fmla="*/ 2 h 289"/>
                <a:gd name="T64" fmla="*/ 13 w 232"/>
                <a:gd name="T65" fmla="*/ 2 h 289"/>
                <a:gd name="T66" fmla="*/ 15 w 232"/>
                <a:gd name="T67" fmla="*/ 1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sp>
        <p:nvSpPr>
          <p:cNvPr id="588" name="Freeform 582">
            <a:extLst>
              <a:ext uri="{FF2B5EF4-FFF2-40B4-BE49-F238E27FC236}">
                <a16:creationId xmlns:a16="http://schemas.microsoft.com/office/drawing/2014/main" id="{2C95B938-7E86-4E98-9002-8C40071BB8B9}"/>
              </a:ext>
            </a:extLst>
          </p:cNvPr>
          <p:cNvSpPr>
            <a:spLocks/>
          </p:cNvSpPr>
          <p:nvPr>
            <p:custDataLst>
              <p:tags r:id="rId17"/>
            </p:custDataLst>
          </p:nvPr>
        </p:nvSpPr>
        <p:spPr bwMode="auto">
          <a:xfrm>
            <a:off x="6126359" y="1184703"/>
            <a:ext cx="4265585" cy="1396551"/>
          </a:xfrm>
          <a:custGeom>
            <a:avLst/>
            <a:gdLst>
              <a:gd name="T0" fmla="*/ 137111692 w 7049"/>
              <a:gd name="T1" fmla="*/ 477246726 h 2048"/>
              <a:gd name="T2" fmla="*/ 202358326 w 7049"/>
              <a:gd name="T3" fmla="*/ 533425873 h 2048"/>
              <a:gd name="T4" fmla="*/ 229212974 w 7049"/>
              <a:gd name="T5" fmla="*/ 499553291 h 2048"/>
              <a:gd name="T6" fmla="*/ 316586251 w 7049"/>
              <a:gd name="T7" fmla="*/ 404544546 h 2048"/>
              <a:gd name="T8" fmla="*/ 495115383 w 7049"/>
              <a:gd name="T9" fmla="*/ 362134941 h 2048"/>
              <a:gd name="T10" fmla="*/ 633551282 w 7049"/>
              <a:gd name="T11" fmla="*/ 411429055 h 2048"/>
              <a:gd name="T12" fmla="*/ 695204076 w 7049"/>
              <a:gd name="T13" fmla="*/ 396007524 h 2048"/>
              <a:gd name="T14" fmla="*/ 782199444 w 7049"/>
              <a:gd name="T15" fmla="*/ 410878567 h 2048"/>
              <a:gd name="T16" fmla="*/ 865600972 w 7049"/>
              <a:gd name="T17" fmla="*/ 415560075 h 2048"/>
              <a:gd name="T18" fmla="*/ 900020774 w 7049"/>
              <a:gd name="T19" fmla="*/ 377831979 h 2048"/>
              <a:gd name="T20" fmla="*/ 975101327 w 7049"/>
              <a:gd name="T21" fmla="*/ 406472041 h 2048"/>
              <a:gd name="T22" fmla="*/ 1061718350 w 7049"/>
              <a:gd name="T23" fmla="*/ 440069642 h 2048"/>
              <a:gd name="T24" fmla="*/ 1059827061 w 7049"/>
              <a:gd name="T25" fmla="*/ 507814807 h 2048"/>
              <a:gd name="T26" fmla="*/ 1106917932 w 7049"/>
              <a:gd name="T27" fmla="*/ 443925156 h 2048"/>
              <a:gd name="T28" fmla="*/ 1053396940 w 7049"/>
              <a:gd name="T29" fmla="*/ 345886891 h 2048"/>
              <a:gd name="T30" fmla="*/ 1008197358 w 7049"/>
              <a:gd name="T31" fmla="*/ 315869822 h 2048"/>
              <a:gd name="T32" fmla="*/ 1107674187 w 7049"/>
              <a:gd name="T33" fmla="*/ 270430698 h 2048"/>
              <a:gd name="T34" fmla="*/ 1129801265 w 7049"/>
              <a:gd name="T35" fmla="*/ 226368580 h 2048"/>
              <a:gd name="T36" fmla="*/ 1159682235 w 7049"/>
              <a:gd name="T37" fmla="*/ 209570042 h 2048"/>
              <a:gd name="T38" fmla="*/ 1171596615 w 7049"/>
              <a:gd name="T39" fmla="*/ 268227697 h 2048"/>
              <a:gd name="T40" fmla="*/ 1201288413 w 7049"/>
              <a:gd name="T41" fmla="*/ 344509884 h 2048"/>
              <a:gd name="T42" fmla="*/ 1243462107 w 7049"/>
              <a:gd name="T43" fmla="*/ 388296496 h 2048"/>
              <a:gd name="T44" fmla="*/ 1241759991 w 7049"/>
              <a:gd name="T45" fmla="*/ 334320874 h 2048"/>
              <a:gd name="T46" fmla="*/ 1205260163 w 7049"/>
              <a:gd name="T47" fmla="*/ 285577247 h 2048"/>
              <a:gd name="T48" fmla="*/ 1238167021 w 7049"/>
              <a:gd name="T49" fmla="*/ 243718130 h 2048"/>
              <a:gd name="T50" fmla="*/ 1286203319 w 7049"/>
              <a:gd name="T51" fmla="*/ 215904063 h 2048"/>
              <a:gd name="T52" fmla="*/ 1253485633 w 7049"/>
              <a:gd name="T53" fmla="*/ 170189432 h 2048"/>
              <a:gd name="T54" fmla="*/ 1285824974 w 7049"/>
              <a:gd name="T55" fmla="*/ 175146446 h 2048"/>
              <a:gd name="T56" fmla="*/ 1297550617 w 7049"/>
              <a:gd name="T57" fmla="*/ 149535380 h 2048"/>
              <a:gd name="T58" fmla="*/ 1229278094 w 7049"/>
              <a:gd name="T59" fmla="*/ 127229339 h 2048"/>
              <a:gd name="T60" fmla="*/ 1105026644 w 7049"/>
              <a:gd name="T61" fmla="*/ 112908784 h 2048"/>
              <a:gd name="T62" fmla="*/ 1076658617 w 7049"/>
              <a:gd name="T63" fmla="*/ 114285790 h 2048"/>
              <a:gd name="T64" fmla="*/ 943896585 w 7049"/>
              <a:gd name="T65" fmla="*/ 96661258 h 2048"/>
              <a:gd name="T66" fmla="*/ 894158170 w 7049"/>
              <a:gd name="T67" fmla="*/ 79862195 h 2048"/>
              <a:gd name="T68" fmla="*/ 834396230 w 7049"/>
              <a:gd name="T69" fmla="*/ 79862195 h 2048"/>
              <a:gd name="T70" fmla="*/ 758181077 w 7049"/>
              <a:gd name="T71" fmla="*/ 87573223 h 2048"/>
              <a:gd name="T72" fmla="*/ 675914149 w 7049"/>
              <a:gd name="T73" fmla="*/ 71876186 h 2048"/>
              <a:gd name="T74" fmla="*/ 622203985 w 7049"/>
              <a:gd name="T75" fmla="*/ 67194677 h 2048"/>
              <a:gd name="T76" fmla="*/ 568872165 w 7049"/>
              <a:gd name="T77" fmla="*/ 64716170 h 2048"/>
              <a:gd name="T78" fmla="*/ 515162000 w 7049"/>
              <a:gd name="T79" fmla="*/ 15972544 h 2048"/>
              <a:gd name="T80" fmla="*/ 494926211 w 7049"/>
              <a:gd name="T81" fmla="*/ 38554091 h 2048"/>
              <a:gd name="T82" fmla="*/ 403581619 w 7049"/>
              <a:gd name="T83" fmla="*/ 45989613 h 2048"/>
              <a:gd name="T84" fmla="*/ 408309623 w 7049"/>
              <a:gd name="T85" fmla="*/ 55077647 h 2048"/>
              <a:gd name="T86" fmla="*/ 415685171 w 7049"/>
              <a:gd name="T87" fmla="*/ 94182751 h 2048"/>
              <a:gd name="T88" fmla="*/ 365568411 w 7049"/>
              <a:gd name="T89" fmla="*/ 70499179 h 2048"/>
              <a:gd name="T90" fmla="*/ 337957075 w 7049"/>
              <a:gd name="T91" fmla="*/ 75180687 h 2048"/>
              <a:gd name="T92" fmla="*/ 362542523 w 7049"/>
              <a:gd name="T93" fmla="*/ 122822813 h 2048"/>
              <a:gd name="T94" fmla="*/ 392612666 w 7049"/>
              <a:gd name="T95" fmla="*/ 145679866 h 2048"/>
              <a:gd name="T96" fmla="*/ 356112403 w 7049"/>
              <a:gd name="T97" fmla="*/ 163304923 h 2048"/>
              <a:gd name="T98" fmla="*/ 346467222 w 7049"/>
              <a:gd name="T99" fmla="*/ 127779827 h 2048"/>
              <a:gd name="T100" fmla="*/ 306563160 w 7049"/>
              <a:gd name="T101" fmla="*/ 63614670 h 2048"/>
              <a:gd name="T102" fmla="*/ 306941505 w 7049"/>
              <a:gd name="T103" fmla="*/ 124199819 h 2048"/>
              <a:gd name="T104" fmla="*/ 234130151 w 7049"/>
              <a:gd name="T105" fmla="*/ 109328776 h 2048"/>
              <a:gd name="T106" fmla="*/ 226565431 w 7049"/>
              <a:gd name="T107" fmla="*/ 131359835 h 2048"/>
              <a:gd name="T108" fmla="*/ 171720667 w 7049"/>
              <a:gd name="T109" fmla="*/ 137693856 h 2048"/>
              <a:gd name="T110" fmla="*/ 130870744 w 7049"/>
              <a:gd name="T111" fmla="*/ 133012348 h 2048"/>
              <a:gd name="T112" fmla="*/ 113850015 w 7049"/>
              <a:gd name="T113" fmla="*/ 161101922 h 2048"/>
              <a:gd name="T114" fmla="*/ 76971842 w 7049"/>
              <a:gd name="T115" fmla="*/ 203511527 h 2048"/>
              <a:gd name="T116" fmla="*/ 73756781 w 7049"/>
              <a:gd name="T117" fmla="*/ 168537444 h 2048"/>
              <a:gd name="T118" fmla="*/ 28368026 w 7049"/>
              <a:gd name="T119" fmla="*/ 121170824 h 2048"/>
              <a:gd name="T120" fmla="*/ 13427324 w 7049"/>
              <a:gd name="T121" fmla="*/ 166609424 h 2048"/>
              <a:gd name="T122" fmla="*/ 21181216 w 7049"/>
              <a:gd name="T123" fmla="*/ 263821170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589" name="Freeform 583">
            <a:extLst>
              <a:ext uri="{FF2B5EF4-FFF2-40B4-BE49-F238E27FC236}">
                <a16:creationId xmlns:a16="http://schemas.microsoft.com/office/drawing/2014/main" id="{D1C64D79-794F-4E49-9712-F01365F396F6}"/>
              </a:ext>
            </a:extLst>
          </p:cNvPr>
          <p:cNvSpPr>
            <a:spLocks/>
          </p:cNvSpPr>
          <p:nvPr>
            <p:custDataLst>
              <p:tags r:id="rId18"/>
            </p:custDataLst>
          </p:nvPr>
        </p:nvSpPr>
        <p:spPr bwMode="auto">
          <a:xfrm>
            <a:off x="5100697" y="2467417"/>
            <a:ext cx="390628" cy="323220"/>
          </a:xfrm>
          <a:custGeom>
            <a:avLst/>
            <a:gdLst>
              <a:gd name="T0" fmla="*/ 76575689 w 647"/>
              <a:gd name="T1" fmla="*/ 7496418 h 470"/>
              <a:gd name="T2" fmla="*/ 80724916 w 647"/>
              <a:gd name="T3" fmla="*/ 12493679 h 470"/>
              <a:gd name="T4" fmla="*/ 86383308 w 647"/>
              <a:gd name="T5" fmla="*/ 16658414 h 470"/>
              <a:gd name="T6" fmla="*/ 96568327 w 647"/>
              <a:gd name="T7" fmla="*/ 21655675 h 470"/>
              <a:gd name="T8" fmla="*/ 101471919 w 647"/>
              <a:gd name="T9" fmla="*/ 22488728 h 470"/>
              <a:gd name="T10" fmla="*/ 105998546 w 647"/>
              <a:gd name="T11" fmla="*/ 27486515 h 470"/>
              <a:gd name="T12" fmla="*/ 106941828 w 647"/>
              <a:gd name="T13" fmla="*/ 26931147 h 470"/>
              <a:gd name="T14" fmla="*/ 108450559 w 647"/>
              <a:gd name="T15" fmla="*/ 23599464 h 470"/>
              <a:gd name="T16" fmla="*/ 109959290 w 647"/>
              <a:gd name="T17" fmla="*/ 21655675 h 470"/>
              <a:gd name="T18" fmla="*/ 113731551 w 647"/>
              <a:gd name="T19" fmla="*/ 22211044 h 470"/>
              <a:gd name="T20" fmla="*/ 117692295 w 647"/>
              <a:gd name="T21" fmla="*/ 21933359 h 470"/>
              <a:gd name="T22" fmla="*/ 120710191 w 647"/>
              <a:gd name="T23" fmla="*/ 23321780 h 470"/>
              <a:gd name="T24" fmla="*/ 121841956 w 647"/>
              <a:gd name="T25" fmla="*/ 28596725 h 470"/>
              <a:gd name="T26" fmla="*/ 121841956 w 647"/>
              <a:gd name="T27" fmla="*/ 34149881 h 470"/>
              <a:gd name="T28" fmla="*/ 116560964 w 647"/>
              <a:gd name="T29" fmla="*/ 36370827 h 470"/>
              <a:gd name="T30" fmla="*/ 110525172 w 647"/>
              <a:gd name="T31" fmla="*/ 40535563 h 470"/>
              <a:gd name="T32" fmla="*/ 105621580 w 647"/>
              <a:gd name="T33" fmla="*/ 45810508 h 470"/>
              <a:gd name="T34" fmla="*/ 95059162 w 647"/>
              <a:gd name="T35" fmla="*/ 59414923 h 470"/>
              <a:gd name="T36" fmla="*/ 92230183 w 647"/>
              <a:gd name="T37" fmla="*/ 63024290 h 470"/>
              <a:gd name="T38" fmla="*/ 89400770 w 647"/>
              <a:gd name="T39" fmla="*/ 70520182 h 470"/>
              <a:gd name="T40" fmla="*/ 89212287 w 647"/>
              <a:gd name="T41" fmla="*/ 78294284 h 470"/>
              <a:gd name="T42" fmla="*/ 89212287 w 647"/>
              <a:gd name="T43" fmla="*/ 86346071 h 470"/>
              <a:gd name="T44" fmla="*/ 87326156 w 647"/>
              <a:gd name="T45" fmla="*/ 94397330 h 470"/>
              <a:gd name="T46" fmla="*/ 84874143 w 647"/>
              <a:gd name="T47" fmla="*/ 98284381 h 470"/>
              <a:gd name="T48" fmla="*/ 77518537 w 647"/>
              <a:gd name="T49" fmla="*/ 106613325 h 470"/>
              <a:gd name="T50" fmla="*/ 72237545 w 647"/>
              <a:gd name="T51" fmla="*/ 114109743 h 470"/>
              <a:gd name="T52" fmla="*/ 70539897 w 647"/>
              <a:gd name="T53" fmla="*/ 117996794 h 470"/>
              <a:gd name="T54" fmla="*/ 69597049 w 647"/>
              <a:gd name="T55" fmla="*/ 119940056 h 470"/>
              <a:gd name="T56" fmla="*/ 58469182 w 647"/>
              <a:gd name="T57" fmla="*/ 119107004 h 470"/>
              <a:gd name="T58" fmla="*/ 48472646 w 647"/>
              <a:gd name="T59" fmla="*/ 120495425 h 470"/>
              <a:gd name="T60" fmla="*/ 42248371 w 647"/>
              <a:gd name="T61" fmla="*/ 123827108 h 470"/>
              <a:gd name="T62" fmla="*/ 36401497 w 647"/>
              <a:gd name="T63" fmla="*/ 129657421 h 470"/>
              <a:gd name="T64" fmla="*/ 33761001 w 647"/>
              <a:gd name="T65" fmla="*/ 130212789 h 470"/>
              <a:gd name="T66" fmla="*/ 31874870 w 647"/>
              <a:gd name="T67" fmla="*/ 127991843 h 470"/>
              <a:gd name="T68" fmla="*/ 28857408 w 647"/>
              <a:gd name="T69" fmla="*/ 119940056 h 470"/>
              <a:gd name="T70" fmla="*/ 26405395 w 647"/>
              <a:gd name="T71" fmla="*/ 114942796 h 470"/>
              <a:gd name="T72" fmla="*/ 23010534 w 647"/>
              <a:gd name="T73" fmla="*/ 111055744 h 470"/>
              <a:gd name="T74" fmla="*/ 21501368 w 647"/>
              <a:gd name="T75" fmla="*/ 105225431 h 470"/>
              <a:gd name="T76" fmla="*/ 23764899 w 647"/>
              <a:gd name="T77" fmla="*/ 93286594 h 470"/>
              <a:gd name="T78" fmla="*/ 23953382 w 647"/>
              <a:gd name="T79" fmla="*/ 74129549 h 470"/>
              <a:gd name="T80" fmla="*/ 27725643 w 647"/>
              <a:gd name="T81" fmla="*/ 57193450 h 470"/>
              <a:gd name="T82" fmla="*/ 31686387 w 647"/>
              <a:gd name="T83" fmla="*/ 41368088 h 470"/>
              <a:gd name="T84" fmla="*/ 32440753 w 647"/>
              <a:gd name="T85" fmla="*/ 36370827 h 470"/>
              <a:gd name="T86" fmla="*/ 21878768 w 647"/>
              <a:gd name="T87" fmla="*/ 34149881 h 470"/>
              <a:gd name="T88" fmla="*/ 11693750 w 647"/>
              <a:gd name="T89" fmla="*/ 30262830 h 470"/>
              <a:gd name="T90" fmla="*/ 3206379 w 647"/>
              <a:gd name="T91" fmla="*/ 25820411 h 470"/>
              <a:gd name="T92" fmla="*/ 0 w 647"/>
              <a:gd name="T93" fmla="*/ 10550417 h 470"/>
              <a:gd name="T94" fmla="*/ 4338144 w 647"/>
              <a:gd name="T95" fmla="*/ 9439680 h 470"/>
              <a:gd name="T96" fmla="*/ 9619136 w 647"/>
              <a:gd name="T97" fmla="*/ 5552629 h 470"/>
              <a:gd name="T98" fmla="*/ 13768363 w 647"/>
              <a:gd name="T99" fmla="*/ 1110737 h 470"/>
              <a:gd name="T100" fmla="*/ 16220376 w 647"/>
              <a:gd name="T101" fmla="*/ 0 h 470"/>
              <a:gd name="T102" fmla="*/ 24896664 w 647"/>
              <a:gd name="T103" fmla="*/ 1943262 h 470"/>
              <a:gd name="T104" fmla="*/ 32252270 w 647"/>
              <a:gd name="T105" fmla="*/ 4720104 h 470"/>
              <a:gd name="T106" fmla="*/ 39419393 w 647"/>
              <a:gd name="T107" fmla="*/ 5552629 h 470"/>
              <a:gd name="T108" fmla="*/ 44323419 w 647"/>
              <a:gd name="T109" fmla="*/ 8051786 h 470"/>
              <a:gd name="T110" fmla="*/ 48661129 w 647"/>
              <a:gd name="T111" fmla="*/ 10272733 h 470"/>
              <a:gd name="T112" fmla="*/ 72614511 w 647"/>
              <a:gd name="T113" fmla="*/ 7218734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590" name="Freeform 584">
            <a:extLst>
              <a:ext uri="{FF2B5EF4-FFF2-40B4-BE49-F238E27FC236}">
                <a16:creationId xmlns:a16="http://schemas.microsoft.com/office/drawing/2014/main" id="{9A31B99D-C1B6-4FAF-9F6A-397BBCB8AECB}"/>
              </a:ext>
            </a:extLst>
          </p:cNvPr>
          <p:cNvSpPr>
            <a:spLocks/>
          </p:cNvSpPr>
          <p:nvPr>
            <p:custDataLst>
              <p:tags r:id="rId19"/>
            </p:custDataLst>
          </p:nvPr>
        </p:nvSpPr>
        <p:spPr bwMode="auto">
          <a:xfrm>
            <a:off x="8764672" y="3426911"/>
            <a:ext cx="288272" cy="593585"/>
          </a:xfrm>
          <a:custGeom>
            <a:avLst/>
            <a:gdLst>
              <a:gd name="T0" fmla="*/ 71439072 w 479"/>
              <a:gd name="T1" fmla="*/ 98360443 h 868"/>
              <a:gd name="T2" fmla="*/ 62768489 w 479"/>
              <a:gd name="T3" fmla="*/ 101942359 h 868"/>
              <a:gd name="T4" fmla="*/ 59187114 w 479"/>
              <a:gd name="T5" fmla="*/ 107452757 h 868"/>
              <a:gd name="T6" fmla="*/ 59563964 w 479"/>
              <a:gd name="T7" fmla="*/ 117922408 h 868"/>
              <a:gd name="T8" fmla="*/ 66349864 w 479"/>
              <a:gd name="T9" fmla="*/ 135555890 h 868"/>
              <a:gd name="T10" fmla="*/ 67669272 w 479"/>
              <a:gd name="T11" fmla="*/ 146025541 h 868"/>
              <a:gd name="T12" fmla="*/ 68988680 w 479"/>
              <a:gd name="T13" fmla="*/ 152913276 h 868"/>
              <a:gd name="T14" fmla="*/ 60883372 w 479"/>
              <a:gd name="T15" fmla="*/ 144923252 h 868"/>
              <a:gd name="T16" fmla="*/ 58244556 w 479"/>
              <a:gd name="T17" fmla="*/ 135555890 h 868"/>
              <a:gd name="T18" fmla="*/ 50704956 w 479"/>
              <a:gd name="T19" fmla="*/ 128667631 h 868"/>
              <a:gd name="T20" fmla="*/ 39583548 w 479"/>
              <a:gd name="T21" fmla="*/ 120953179 h 868"/>
              <a:gd name="T22" fmla="*/ 36379457 w 479"/>
              <a:gd name="T23" fmla="*/ 111860865 h 868"/>
              <a:gd name="T24" fmla="*/ 29405132 w 479"/>
              <a:gd name="T25" fmla="*/ 131422830 h 868"/>
              <a:gd name="T26" fmla="*/ 29405132 w 479"/>
              <a:gd name="T27" fmla="*/ 144372107 h 868"/>
              <a:gd name="T28" fmla="*/ 24881199 w 479"/>
              <a:gd name="T29" fmla="*/ 158423674 h 868"/>
              <a:gd name="T30" fmla="*/ 24127065 w 479"/>
              <a:gd name="T31" fmla="*/ 171097904 h 868"/>
              <a:gd name="T32" fmla="*/ 29027848 w 479"/>
              <a:gd name="T33" fmla="*/ 179087928 h 868"/>
              <a:gd name="T34" fmla="*/ 32986507 w 479"/>
              <a:gd name="T35" fmla="*/ 188730862 h 868"/>
              <a:gd name="T36" fmla="*/ 34871190 w 479"/>
              <a:gd name="T37" fmla="*/ 201129519 h 868"/>
              <a:gd name="T38" fmla="*/ 42599648 w 479"/>
              <a:gd name="T39" fmla="*/ 214905513 h 868"/>
              <a:gd name="T40" fmla="*/ 52966923 w 479"/>
              <a:gd name="T41" fmla="*/ 227303646 h 868"/>
              <a:gd name="T42" fmla="*/ 64087897 w 479"/>
              <a:gd name="T43" fmla="*/ 234191906 h 868"/>
              <a:gd name="T44" fmla="*/ 56171014 w 479"/>
              <a:gd name="T45" fmla="*/ 238875586 h 868"/>
              <a:gd name="T46" fmla="*/ 50704956 w 479"/>
              <a:gd name="T47" fmla="*/ 238048869 h 868"/>
              <a:gd name="T48" fmla="*/ 43164923 w 479"/>
              <a:gd name="T49" fmla="*/ 231712279 h 868"/>
              <a:gd name="T50" fmla="*/ 37698865 w 479"/>
              <a:gd name="T51" fmla="*/ 226753026 h 868"/>
              <a:gd name="T52" fmla="*/ 25823757 w 479"/>
              <a:gd name="T53" fmla="*/ 209119543 h 868"/>
              <a:gd name="T54" fmla="*/ 15644907 w 479"/>
              <a:gd name="T55" fmla="*/ 201129519 h 868"/>
              <a:gd name="T56" fmla="*/ 13948650 w 479"/>
              <a:gd name="T57" fmla="*/ 189557579 h 868"/>
              <a:gd name="T58" fmla="*/ 15079633 w 479"/>
              <a:gd name="T59" fmla="*/ 179914645 h 868"/>
              <a:gd name="T60" fmla="*/ 16587466 w 479"/>
              <a:gd name="T61" fmla="*/ 169995614 h 868"/>
              <a:gd name="T62" fmla="*/ 22619232 w 479"/>
              <a:gd name="T63" fmla="*/ 137208800 h 868"/>
              <a:gd name="T64" fmla="*/ 20357266 w 479"/>
              <a:gd name="T65" fmla="*/ 111310245 h 868"/>
              <a:gd name="T66" fmla="*/ 11686683 w 479"/>
              <a:gd name="T67" fmla="*/ 87890792 h 868"/>
              <a:gd name="T68" fmla="*/ 12063533 w 479"/>
              <a:gd name="T69" fmla="*/ 78522906 h 868"/>
              <a:gd name="T70" fmla="*/ 13948650 w 479"/>
              <a:gd name="T71" fmla="*/ 73012508 h 868"/>
              <a:gd name="T72" fmla="*/ 10555700 w 479"/>
              <a:gd name="T73" fmla="*/ 55655123 h 868"/>
              <a:gd name="T74" fmla="*/ 4335508 w 479"/>
              <a:gd name="T75" fmla="*/ 43532037 h 868"/>
              <a:gd name="T76" fmla="*/ 188425 w 479"/>
              <a:gd name="T77" fmla="*/ 28103134 h 868"/>
              <a:gd name="T78" fmla="*/ 2073542 w 479"/>
              <a:gd name="T79" fmla="*/ 12123085 h 868"/>
              <a:gd name="T80" fmla="*/ 9236291 w 479"/>
              <a:gd name="T81" fmla="*/ 4408108 h 868"/>
              <a:gd name="T82" fmla="*/ 22619232 w 479"/>
              <a:gd name="T83" fmla="*/ 0 h 868"/>
              <a:gd name="T84" fmla="*/ 29405132 w 479"/>
              <a:gd name="T85" fmla="*/ 7714452 h 868"/>
              <a:gd name="T86" fmla="*/ 33740206 w 479"/>
              <a:gd name="T87" fmla="*/ 9918506 h 868"/>
              <a:gd name="T88" fmla="*/ 37133156 w 479"/>
              <a:gd name="T89" fmla="*/ 37470495 h 868"/>
              <a:gd name="T90" fmla="*/ 40149257 w 479"/>
              <a:gd name="T91" fmla="*/ 45736092 h 868"/>
              <a:gd name="T92" fmla="*/ 43542207 w 479"/>
              <a:gd name="T93" fmla="*/ 42705320 h 868"/>
              <a:gd name="T94" fmla="*/ 48631414 w 479"/>
              <a:gd name="T95" fmla="*/ 34715296 h 868"/>
              <a:gd name="T96" fmla="*/ 52966923 w 479"/>
              <a:gd name="T97" fmla="*/ 38848357 h 868"/>
              <a:gd name="T98" fmla="*/ 56171014 w 479"/>
              <a:gd name="T99" fmla="*/ 37470495 h 868"/>
              <a:gd name="T100" fmla="*/ 59563964 w 479"/>
              <a:gd name="T101" fmla="*/ 29756043 h 868"/>
              <a:gd name="T102" fmla="*/ 65218880 w 479"/>
              <a:gd name="T103" fmla="*/ 29756043 h 868"/>
              <a:gd name="T104" fmla="*/ 72946905 w 479"/>
              <a:gd name="T105" fmla="*/ 43256465 h 868"/>
              <a:gd name="T106" fmla="*/ 85576146 w 479"/>
              <a:gd name="T107" fmla="*/ 67777683 h 868"/>
              <a:gd name="T108" fmla="*/ 90100079 w 479"/>
              <a:gd name="T109" fmla="*/ 84584448 h 868"/>
              <a:gd name="T110" fmla="*/ 88214962 w 479"/>
              <a:gd name="T111" fmla="*/ 93125618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0872A6"/>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591" name="Freeform 585">
            <a:extLst>
              <a:ext uri="{FF2B5EF4-FFF2-40B4-BE49-F238E27FC236}">
                <a16:creationId xmlns:a16="http://schemas.microsoft.com/office/drawing/2014/main" id="{AE91044D-BF3A-4B85-98D1-52C1110511EE}"/>
              </a:ext>
            </a:extLst>
          </p:cNvPr>
          <p:cNvSpPr>
            <a:spLocks/>
          </p:cNvSpPr>
          <p:nvPr>
            <p:custDataLst>
              <p:tags r:id="rId20"/>
            </p:custDataLst>
          </p:nvPr>
        </p:nvSpPr>
        <p:spPr bwMode="auto">
          <a:xfrm>
            <a:off x="3348089" y="6533069"/>
            <a:ext cx="33423" cy="73182"/>
          </a:xfrm>
          <a:custGeom>
            <a:avLst/>
            <a:gdLst>
              <a:gd name="T0" fmla="*/ 0 w 53"/>
              <a:gd name="T1" fmla="*/ 72378971 h 19"/>
              <a:gd name="T2" fmla="*/ 1413054 w 53"/>
              <a:gd name="T3" fmla="*/ 117617708 h 19"/>
              <a:gd name="T4" fmla="*/ 2826109 w 53"/>
              <a:gd name="T5" fmla="*/ 153805689 h 19"/>
              <a:gd name="T6" fmla="*/ 4441349 w 53"/>
              <a:gd name="T7" fmla="*/ 171901184 h 19"/>
              <a:gd name="T8" fmla="*/ 5854404 w 53"/>
              <a:gd name="T9" fmla="*/ 171901184 h 19"/>
              <a:gd name="T10" fmla="*/ 7065721 w 53"/>
              <a:gd name="T11" fmla="*/ 162853437 h 19"/>
              <a:gd name="T12" fmla="*/ 8478776 w 53"/>
              <a:gd name="T13" fmla="*/ 135710195 h 19"/>
              <a:gd name="T14" fmla="*/ 9487908 w 53"/>
              <a:gd name="T15" fmla="*/ 108569961 h 19"/>
              <a:gd name="T16" fmla="*/ 10699226 w 53"/>
              <a:gd name="T17" fmla="*/ 72378971 h 19"/>
              <a:gd name="T18" fmla="*/ 9487908 w 53"/>
              <a:gd name="T19" fmla="*/ 45235729 h 19"/>
              <a:gd name="T20" fmla="*/ 8478776 w 53"/>
              <a:gd name="T21" fmla="*/ 18095495 h 19"/>
              <a:gd name="T22" fmla="*/ 7065721 w 53"/>
              <a:gd name="T23" fmla="*/ 9047747 h 19"/>
              <a:gd name="T24" fmla="*/ 5854404 w 53"/>
              <a:gd name="T25" fmla="*/ 0 h 19"/>
              <a:gd name="T26" fmla="*/ 4441349 w 53"/>
              <a:gd name="T27" fmla="*/ 0 h 19"/>
              <a:gd name="T28" fmla="*/ 2826109 w 53"/>
              <a:gd name="T29" fmla="*/ 9047747 h 19"/>
              <a:gd name="T30" fmla="*/ 1413054 w 53"/>
              <a:gd name="T31" fmla="*/ 27143242 h 19"/>
              <a:gd name="T32" fmla="*/ 0 w 53"/>
              <a:gd name="T33" fmla="*/ 72378971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592" name="Line 26" descr="Horizontal dunkel">
            <a:extLst>
              <a:ext uri="{FF2B5EF4-FFF2-40B4-BE49-F238E27FC236}">
                <a16:creationId xmlns:a16="http://schemas.microsoft.com/office/drawing/2014/main" id="{1545B79D-F70F-406E-88F2-1356DD51B0B3}"/>
              </a:ext>
            </a:extLst>
          </p:cNvPr>
          <p:cNvSpPr>
            <a:spLocks noChangeShapeType="1"/>
          </p:cNvSpPr>
          <p:nvPr>
            <p:custDataLst>
              <p:tags r:id="rId21"/>
            </p:custDataLst>
          </p:nvPr>
        </p:nvSpPr>
        <p:spPr bwMode="auto">
          <a:xfrm>
            <a:off x="1209030" y="2530435"/>
            <a:ext cx="4178" cy="12197"/>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593" name="Freeform 587">
            <a:extLst>
              <a:ext uri="{FF2B5EF4-FFF2-40B4-BE49-F238E27FC236}">
                <a16:creationId xmlns:a16="http://schemas.microsoft.com/office/drawing/2014/main" id="{FC873E79-A163-4784-9275-CDC383294D5B}"/>
              </a:ext>
            </a:extLst>
          </p:cNvPr>
          <p:cNvSpPr>
            <a:spLocks/>
          </p:cNvSpPr>
          <p:nvPr>
            <p:custDataLst>
              <p:tags r:id="rId22"/>
            </p:custDataLst>
          </p:nvPr>
        </p:nvSpPr>
        <p:spPr bwMode="auto">
          <a:xfrm>
            <a:off x="1213208" y="2526369"/>
            <a:ext cx="4178" cy="71148"/>
          </a:xfrm>
          <a:custGeom>
            <a:avLst/>
            <a:gdLst>
              <a:gd name="T0" fmla="*/ 0 w 6"/>
              <a:gd name="T1" fmla="*/ 128630660 h 24"/>
              <a:gd name="T2" fmla="*/ 0 w 6"/>
              <a:gd name="T3" fmla="*/ 101833571 h 24"/>
              <a:gd name="T4" fmla="*/ 279929 w 6"/>
              <a:gd name="T5" fmla="*/ 75034166 h 24"/>
              <a:gd name="T6" fmla="*/ 840317 w 6"/>
              <a:gd name="T7" fmla="*/ 42877658 h 24"/>
              <a:gd name="T8" fmla="*/ 1680104 w 6"/>
              <a:gd name="T9" fmla="*/ 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24">
                <a:moveTo>
                  <a:pt x="0" y="24"/>
                </a:moveTo>
                <a:lnTo>
                  <a:pt x="0" y="19"/>
                </a:lnTo>
                <a:lnTo>
                  <a:pt x="1" y="14"/>
                </a:lnTo>
                <a:lnTo>
                  <a:pt x="3" y="8"/>
                </a:lnTo>
                <a:lnTo>
                  <a:pt x="6"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594" name="Freeform 588">
            <a:extLst>
              <a:ext uri="{FF2B5EF4-FFF2-40B4-BE49-F238E27FC236}">
                <a16:creationId xmlns:a16="http://schemas.microsoft.com/office/drawing/2014/main" id="{9F18D843-D324-4606-8F20-0F62E04B7DF5}"/>
              </a:ext>
            </a:extLst>
          </p:cNvPr>
          <p:cNvSpPr>
            <a:spLocks/>
          </p:cNvSpPr>
          <p:nvPr>
            <p:custDataLst>
              <p:tags r:id="rId23"/>
            </p:custDataLst>
          </p:nvPr>
        </p:nvSpPr>
        <p:spPr bwMode="auto">
          <a:xfrm>
            <a:off x="1179785" y="2595485"/>
            <a:ext cx="33423" cy="75213"/>
          </a:xfrm>
          <a:custGeom>
            <a:avLst/>
            <a:gdLst>
              <a:gd name="T0" fmla="*/ 0 w 47"/>
              <a:gd name="T1" fmla="*/ 17462310 h 67"/>
              <a:gd name="T2" fmla="*/ 0 w 47"/>
              <a:gd name="T3" fmla="*/ 21827888 h 67"/>
              <a:gd name="T4" fmla="*/ 513246 w 47"/>
              <a:gd name="T5" fmla="*/ 26192613 h 67"/>
              <a:gd name="T6" fmla="*/ 770123 w 47"/>
              <a:gd name="T7" fmla="*/ 30558190 h 67"/>
              <a:gd name="T8" fmla="*/ 1283369 w 47"/>
              <a:gd name="T9" fmla="*/ 34196172 h 67"/>
              <a:gd name="T10" fmla="*/ 2310368 w 47"/>
              <a:gd name="T11" fmla="*/ 42199731 h 67"/>
              <a:gd name="T12" fmla="*/ 3593736 w 47"/>
              <a:gd name="T13" fmla="*/ 48748097 h 67"/>
              <a:gd name="T14" fmla="*/ 12065084 w 47"/>
              <a:gd name="T15" fmla="*/ 48748097 h 67"/>
              <a:gd name="T16" fmla="*/ 12065084 w 47"/>
              <a:gd name="T17" fmla="*/ 0 h 67"/>
              <a:gd name="T18" fmla="*/ 9241471 w 47"/>
              <a:gd name="T19" fmla="*/ 1455193 h 67"/>
              <a:gd name="T20" fmla="*/ 6674227 w 47"/>
              <a:gd name="T21" fmla="*/ 2910385 h 67"/>
              <a:gd name="T22" fmla="*/ 4620735 w 47"/>
              <a:gd name="T23" fmla="*/ 5093174 h 67"/>
              <a:gd name="T24" fmla="*/ 2823614 w 47"/>
              <a:gd name="T25" fmla="*/ 6548366 h 67"/>
              <a:gd name="T26" fmla="*/ 1540245 w 47"/>
              <a:gd name="T27" fmla="*/ 8731155 h 67"/>
              <a:gd name="T28" fmla="*/ 770123 w 47"/>
              <a:gd name="T29" fmla="*/ 11641540 h 67"/>
              <a:gd name="T30" fmla="*/ 0 w 47"/>
              <a:gd name="T31" fmla="*/ 14551925 h 67"/>
              <a:gd name="T32" fmla="*/ 0 w 47"/>
              <a:gd name="T33" fmla="*/ 17462310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595" name="Freeform 589">
            <a:extLst>
              <a:ext uri="{FF2B5EF4-FFF2-40B4-BE49-F238E27FC236}">
                <a16:creationId xmlns:a16="http://schemas.microsoft.com/office/drawing/2014/main" id="{C56F5263-0350-4A6D-ACA3-83BD8006B6D4}"/>
              </a:ext>
            </a:extLst>
          </p:cNvPr>
          <p:cNvSpPr>
            <a:spLocks/>
          </p:cNvSpPr>
          <p:nvPr>
            <p:custDataLst>
              <p:tags r:id="rId24"/>
            </p:custDataLst>
          </p:nvPr>
        </p:nvSpPr>
        <p:spPr bwMode="auto">
          <a:xfrm>
            <a:off x="3024306" y="2589386"/>
            <a:ext cx="68934" cy="75216"/>
          </a:xfrm>
          <a:custGeom>
            <a:avLst/>
            <a:gdLst>
              <a:gd name="T0" fmla="*/ 0 w 112"/>
              <a:gd name="T1" fmla="*/ 90725625 h 36"/>
              <a:gd name="T2" fmla="*/ 11390820 w 112"/>
              <a:gd name="T3" fmla="*/ 90725625 h 36"/>
              <a:gd name="T4" fmla="*/ 12935286 w 112"/>
              <a:gd name="T5" fmla="*/ 75604688 h 36"/>
              <a:gd name="T6" fmla="*/ 14479752 w 112"/>
              <a:gd name="T7" fmla="*/ 65524063 h 36"/>
              <a:gd name="T8" fmla="*/ 16217551 w 112"/>
              <a:gd name="T9" fmla="*/ 57964388 h 36"/>
              <a:gd name="T10" fmla="*/ 17569123 w 112"/>
              <a:gd name="T11" fmla="*/ 50403125 h 36"/>
              <a:gd name="T12" fmla="*/ 18920696 w 112"/>
              <a:gd name="T13" fmla="*/ 42843450 h 36"/>
              <a:gd name="T14" fmla="*/ 20078935 w 112"/>
              <a:gd name="T15" fmla="*/ 32762825 h 36"/>
              <a:gd name="T16" fmla="*/ 20658055 w 112"/>
              <a:gd name="T17" fmla="*/ 27722513 h 36"/>
              <a:gd name="T18" fmla="*/ 21044282 w 112"/>
              <a:gd name="T19" fmla="*/ 20161250 h 36"/>
              <a:gd name="T20" fmla="*/ 21430508 w 112"/>
              <a:gd name="T21" fmla="*/ 10080625 h 36"/>
              <a:gd name="T22" fmla="*/ 21623401 w 112"/>
              <a:gd name="T23" fmla="*/ 0 h 36"/>
              <a:gd name="T24" fmla="*/ 19306483 w 112"/>
              <a:gd name="T25" fmla="*/ 0 h 36"/>
              <a:gd name="T26" fmla="*/ 16410444 w 112"/>
              <a:gd name="T27" fmla="*/ 2520950 h 36"/>
              <a:gd name="T28" fmla="*/ 12935286 w 112"/>
              <a:gd name="T29" fmla="*/ 7561263 h 36"/>
              <a:gd name="T30" fmla="*/ 9267235 w 112"/>
              <a:gd name="T31" fmla="*/ 17641888 h 36"/>
              <a:gd name="T32" fmla="*/ 7722769 w 112"/>
              <a:gd name="T33" fmla="*/ 22682200 h 36"/>
              <a:gd name="T34" fmla="*/ 5984970 w 112"/>
              <a:gd name="T35" fmla="*/ 27722513 h 36"/>
              <a:gd name="T36" fmla="*/ 4440504 w 112"/>
              <a:gd name="T37" fmla="*/ 35282188 h 36"/>
              <a:gd name="T38" fmla="*/ 3282265 w 112"/>
              <a:gd name="T39" fmla="*/ 45362813 h 36"/>
              <a:gd name="T40" fmla="*/ 1930692 w 112"/>
              <a:gd name="T41" fmla="*/ 55443438 h 36"/>
              <a:gd name="T42" fmla="*/ 1158240 w 112"/>
              <a:gd name="T43" fmla="*/ 65524063 h 36"/>
              <a:gd name="T44" fmla="*/ 192893 w 112"/>
              <a:gd name="T45" fmla="*/ 78125638 h 36"/>
              <a:gd name="T46" fmla="*/ 0 w 112"/>
              <a:gd name="T47" fmla="*/ 90725625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596" name="Freeform 590">
            <a:extLst>
              <a:ext uri="{FF2B5EF4-FFF2-40B4-BE49-F238E27FC236}">
                <a16:creationId xmlns:a16="http://schemas.microsoft.com/office/drawing/2014/main" id="{1E92960C-D31B-444C-B014-FC83518D30E1}"/>
              </a:ext>
            </a:extLst>
          </p:cNvPr>
          <p:cNvSpPr>
            <a:spLocks/>
          </p:cNvSpPr>
          <p:nvPr>
            <p:custDataLst>
              <p:tags r:id="rId25"/>
            </p:custDataLst>
          </p:nvPr>
        </p:nvSpPr>
        <p:spPr bwMode="auto">
          <a:xfrm>
            <a:off x="6834505" y="2014097"/>
            <a:ext cx="1217843" cy="587487"/>
          </a:xfrm>
          <a:custGeom>
            <a:avLst/>
            <a:gdLst>
              <a:gd name="T0" fmla="*/ 82329854 w 2006"/>
              <a:gd name="T1" fmla="*/ 210259479 h 863"/>
              <a:gd name="T2" fmla="*/ 78336959 w 2006"/>
              <a:gd name="T3" fmla="*/ 209984767 h 863"/>
              <a:gd name="T4" fmla="*/ 74153947 w 2006"/>
              <a:gd name="T5" fmla="*/ 218230339 h 863"/>
              <a:gd name="T6" fmla="*/ 71301755 w 2006"/>
              <a:gd name="T7" fmla="*/ 217680390 h 863"/>
              <a:gd name="T8" fmla="*/ 70351169 w 2006"/>
              <a:gd name="T9" fmla="*/ 206411930 h 863"/>
              <a:gd name="T10" fmla="*/ 61604912 w 2006"/>
              <a:gd name="T11" fmla="*/ 198991020 h 863"/>
              <a:gd name="T12" fmla="*/ 59323071 w 2006"/>
              <a:gd name="T13" fmla="*/ 194593521 h 863"/>
              <a:gd name="T14" fmla="*/ 54759825 w 2006"/>
              <a:gd name="T15" fmla="*/ 190195498 h 863"/>
              <a:gd name="T16" fmla="*/ 47724620 w 2006"/>
              <a:gd name="T17" fmla="*/ 176178339 h 863"/>
              <a:gd name="T18" fmla="*/ 44111960 w 2006"/>
              <a:gd name="T19" fmla="*/ 167658053 h 863"/>
              <a:gd name="T20" fmla="*/ 48104855 w 2006"/>
              <a:gd name="T21" fmla="*/ 163260555 h 863"/>
              <a:gd name="T22" fmla="*/ 53048335 w 2006"/>
              <a:gd name="T23" fmla="*/ 157488444 h 863"/>
              <a:gd name="T24" fmla="*/ 64266551 w 2006"/>
              <a:gd name="T25" fmla="*/ 149518108 h 863"/>
              <a:gd name="T26" fmla="*/ 60653890 w 2006"/>
              <a:gd name="T27" fmla="*/ 133851625 h 863"/>
              <a:gd name="T28" fmla="*/ 49055440 w 2006"/>
              <a:gd name="T29" fmla="*/ 130553501 h 863"/>
              <a:gd name="T30" fmla="*/ 39738831 w 2006"/>
              <a:gd name="T31" fmla="*/ 129179414 h 863"/>
              <a:gd name="T32" fmla="*/ 29851870 w 2006"/>
              <a:gd name="T33" fmla="*/ 136050375 h 863"/>
              <a:gd name="T34" fmla="*/ 20154591 w 2006"/>
              <a:gd name="T35" fmla="*/ 138799074 h 863"/>
              <a:gd name="T36" fmla="*/ 5133597 w 2006"/>
              <a:gd name="T37" fmla="*/ 113512931 h 863"/>
              <a:gd name="T38" fmla="*/ 3802778 w 2006"/>
              <a:gd name="T39" fmla="*/ 77782466 h 863"/>
              <a:gd name="T40" fmla="*/ 21485411 w 2006"/>
              <a:gd name="T41" fmla="*/ 71186217 h 863"/>
              <a:gd name="T42" fmla="*/ 55520293 w 2006"/>
              <a:gd name="T43" fmla="*/ 61016608 h 863"/>
              <a:gd name="T44" fmla="*/ 94688772 w 2006"/>
              <a:gd name="T45" fmla="*/ 69536893 h 863"/>
              <a:gd name="T46" fmla="*/ 136329210 w 2006"/>
              <a:gd name="T47" fmla="*/ 69536893 h 863"/>
              <a:gd name="T48" fmla="*/ 125110994 w 2006"/>
              <a:gd name="T49" fmla="*/ 50846999 h 863"/>
              <a:gd name="T50" fmla="*/ 157814621 w 2006"/>
              <a:gd name="T51" fmla="*/ 18689895 h 863"/>
              <a:gd name="T52" fmla="*/ 199645175 w 2006"/>
              <a:gd name="T53" fmla="*/ 3572837 h 863"/>
              <a:gd name="T54" fmla="*/ 223602544 w 2006"/>
              <a:gd name="T55" fmla="*/ 16765858 h 863"/>
              <a:gd name="T56" fmla="*/ 246419210 w 2006"/>
              <a:gd name="T57" fmla="*/ 30508304 h 863"/>
              <a:gd name="T58" fmla="*/ 274179357 w 2006"/>
              <a:gd name="T59" fmla="*/ 27210180 h 863"/>
              <a:gd name="T60" fmla="*/ 313157719 w 2006"/>
              <a:gd name="T61" fmla="*/ 74484342 h 863"/>
              <a:gd name="T62" fmla="*/ 340917866 w 2006"/>
              <a:gd name="T63" fmla="*/ 72835017 h 863"/>
              <a:gd name="T64" fmla="*/ 380276462 w 2006"/>
              <a:gd name="T65" fmla="*/ 93173712 h 863"/>
              <a:gd name="T66" fmla="*/ 380656696 w 2006"/>
              <a:gd name="T67" fmla="*/ 104717409 h 863"/>
              <a:gd name="T68" fmla="*/ 376663802 w 2006"/>
              <a:gd name="T69" fmla="*/ 109664857 h 863"/>
              <a:gd name="T70" fmla="*/ 372670907 w 2006"/>
              <a:gd name="T71" fmla="*/ 111038944 h 863"/>
              <a:gd name="T72" fmla="*/ 373241258 w 2006"/>
              <a:gd name="T73" fmla="*/ 116811055 h 863"/>
              <a:gd name="T74" fmla="*/ 377424270 w 2006"/>
              <a:gd name="T75" fmla="*/ 128079515 h 863"/>
              <a:gd name="T76" fmla="*/ 376283567 w 2006"/>
              <a:gd name="T77" fmla="*/ 131378163 h 863"/>
              <a:gd name="T78" fmla="*/ 368678012 w 2006"/>
              <a:gd name="T79" fmla="*/ 132202301 h 863"/>
              <a:gd name="T80" fmla="*/ 359931754 w 2006"/>
              <a:gd name="T81" fmla="*/ 130278789 h 863"/>
              <a:gd name="T82" fmla="*/ 354417487 w 2006"/>
              <a:gd name="T83" fmla="*/ 130278789 h 863"/>
              <a:gd name="T84" fmla="*/ 357079562 w 2006"/>
              <a:gd name="T85" fmla="*/ 150617483 h 863"/>
              <a:gd name="T86" fmla="*/ 357459796 w 2006"/>
              <a:gd name="T87" fmla="*/ 161061805 h 863"/>
              <a:gd name="T88" fmla="*/ 340157397 w 2006"/>
              <a:gd name="T89" fmla="*/ 161611230 h 863"/>
              <a:gd name="T90" fmla="*/ 336164066 w 2006"/>
              <a:gd name="T91" fmla="*/ 166008729 h 863"/>
              <a:gd name="T92" fmla="*/ 341298100 w 2006"/>
              <a:gd name="T93" fmla="*/ 170131516 h 863"/>
              <a:gd name="T94" fmla="*/ 344910760 w 2006"/>
              <a:gd name="T95" fmla="*/ 178651801 h 863"/>
              <a:gd name="T96" fmla="*/ 348713538 w 2006"/>
              <a:gd name="T97" fmla="*/ 189371360 h 863"/>
              <a:gd name="T98" fmla="*/ 349283889 w 2006"/>
              <a:gd name="T99" fmla="*/ 194043571 h 863"/>
              <a:gd name="T100" fmla="*/ 349283889 w 2006"/>
              <a:gd name="T101" fmla="*/ 207236592 h 863"/>
              <a:gd name="T102" fmla="*/ 331030469 w 2006"/>
              <a:gd name="T103" fmla="*/ 203388518 h 863"/>
              <a:gd name="T104" fmla="*/ 280453656 w 2006"/>
              <a:gd name="T105" fmla="*/ 209984767 h 863"/>
              <a:gd name="T106" fmla="*/ 250221988 w 2006"/>
              <a:gd name="T107" fmla="*/ 218505052 h 863"/>
              <a:gd name="T108" fmla="*/ 217137691 w 2006"/>
              <a:gd name="T109" fmla="*/ 230323461 h 863"/>
              <a:gd name="T110" fmla="*/ 183103245 w 2006"/>
              <a:gd name="T111" fmla="*/ 191570109 h 863"/>
              <a:gd name="T112" fmla="*/ 130054474 w 2006"/>
              <a:gd name="T113" fmla="*/ 161061805 h 863"/>
              <a:gd name="T114" fmla="*/ 111040586 w 2006"/>
              <a:gd name="T115" fmla="*/ 228674661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597" name="Freeform 591">
            <a:extLst>
              <a:ext uri="{FF2B5EF4-FFF2-40B4-BE49-F238E27FC236}">
                <a16:creationId xmlns:a16="http://schemas.microsoft.com/office/drawing/2014/main" id="{651FA1F2-CA16-4F94-A982-6FBA9DADFAE3}"/>
              </a:ext>
            </a:extLst>
          </p:cNvPr>
          <p:cNvSpPr>
            <a:spLocks/>
          </p:cNvSpPr>
          <p:nvPr>
            <p:custDataLst>
              <p:tags r:id="rId26"/>
            </p:custDataLst>
          </p:nvPr>
        </p:nvSpPr>
        <p:spPr bwMode="auto">
          <a:xfrm>
            <a:off x="7156200" y="2408465"/>
            <a:ext cx="570276" cy="323219"/>
          </a:xfrm>
          <a:custGeom>
            <a:avLst/>
            <a:gdLst>
              <a:gd name="T0" fmla="*/ 118587914 w 950"/>
              <a:gd name="T1" fmla="*/ 125643645 h 468"/>
              <a:gd name="T2" fmla="*/ 103717755 w 950"/>
              <a:gd name="T3" fmla="*/ 118553144 h 468"/>
              <a:gd name="T4" fmla="*/ 87546872 w 950"/>
              <a:gd name="T5" fmla="*/ 106640845 h 468"/>
              <a:gd name="T6" fmla="*/ 72862961 w 950"/>
              <a:gd name="T7" fmla="*/ 87071402 h 468"/>
              <a:gd name="T8" fmla="*/ 56691647 w 950"/>
              <a:gd name="T9" fmla="*/ 73173721 h 468"/>
              <a:gd name="T10" fmla="*/ 47026108 w 950"/>
              <a:gd name="T11" fmla="*/ 59276572 h 468"/>
              <a:gd name="T12" fmla="*/ 34572441 w 950"/>
              <a:gd name="T13" fmla="*/ 48782480 h 468"/>
              <a:gd name="T14" fmla="*/ 24721516 w 950"/>
              <a:gd name="T15" fmla="*/ 53887599 h 468"/>
              <a:gd name="T16" fmla="*/ 18401558 w 950"/>
              <a:gd name="T17" fmla="*/ 68068602 h 468"/>
              <a:gd name="T18" fmla="*/ 7434864 w 950"/>
              <a:gd name="T19" fmla="*/ 69770663 h 468"/>
              <a:gd name="T20" fmla="*/ 0 w 950"/>
              <a:gd name="T21" fmla="*/ 6806647 h 468"/>
              <a:gd name="T22" fmla="*/ 14683910 w 950"/>
              <a:gd name="T23" fmla="*/ 1701529 h 468"/>
              <a:gd name="T24" fmla="*/ 24721516 w 950"/>
              <a:gd name="T25" fmla="*/ 15599210 h 468"/>
              <a:gd name="T26" fmla="*/ 29182434 w 950"/>
              <a:gd name="T27" fmla="*/ 4254088 h 468"/>
              <a:gd name="T28" fmla="*/ 61710450 w 950"/>
              <a:gd name="T29" fmla="*/ 33183803 h 468"/>
              <a:gd name="T30" fmla="*/ 81413163 w 950"/>
              <a:gd name="T31" fmla="*/ 33183803 h 468"/>
              <a:gd name="T32" fmla="*/ 97584046 w 950"/>
              <a:gd name="T33" fmla="*/ 38288921 h 468"/>
              <a:gd name="T34" fmla="*/ 110967233 w 950"/>
              <a:gd name="T35" fmla="*/ 64665545 h 468"/>
              <a:gd name="T36" fmla="*/ 124721623 w 950"/>
              <a:gd name="T37" fmla="*/ 71472192 h 468"/>
              <a:gd name="T38" fmla="*/ 135688317 w 950"/>
              <a:gd name="T39" fmla="*/ 73173721 h 468"/>
              <a:gd name="T40" fmla="*/ 147026647 w 950"/>
              <a:gd name="T41" fmla="*/ 60978100 h 468"/>
              <a:gd name="T42" fmla="*/ 156692186 w 950"/>
              <a:gd name="T43" fmla="*/ 55589660 h 468"/>
              <a:gd name="T44" fmla="*/ 153160356 w 950"/>
              <a:gd name="T45" fmla="*/ 71472192 h 468"/>
              <a:gd name="T46" fmla="*/ 161710557 w 950"/>
              <a:gd name="T47" fmla="*/ 68068602 h 468"/>
              <a:gd name="T48" fmla="*/ 176580716 w 950"/>
              <a:gd name="T49" fmla="*/ 80264222 h 468"/>
              <a:gd name="T50" fmla="*/ 164127050 w 950"/>
              <a:gd name="T51" fmla="*/ 90758314 h 468"/>
              <a:gd name="T52" fmla="*/ 153160356 w 950"/>
              <a:gd name="T53" fmla="*/ 80264222 h 468"/>
              <a:gd name="T54" fmla="*/ 142008275 w 950"/>
              <a:gd name="T55" fmla="*/ 78562693 h 468"/>
              <a:gd name="T56" fmla="*/ 136989472 w 950"/>
              <a:gd name="T57" fmla="*/ 90758314 h 468"/>
              <a:gd name="T58" fmla="*/ 127138116 w 950"/>
              <a:gd name="T59" fmla="*/ 101252405 h 468"/>
              <a:gd name="T60" fmla="*/ 131970670 w 950"/>
              <a:gd name="T61" fmla="*/ 110044435 h 468"/>
              <a:gd name="T62" fmla="*/ 138104810 w 950"/>
              <a:gd name="T63" fmla="*/ 123942116 h 468"/>
              <a:gd name="T64" fmla="*/ 133271825 w 950"/>
              <a:gd name="T65" fmla="*/ 132734147 h 468"/>
              <a:gd name="T66" fmla="*/ 130669946 w 950"/>
              <a:gd name="T67" fmla="*/ 131883116 h 468"/>
              <a:gd name="T68" fmla="*/ 127138116 w 950"/>
              <a:gd name="T69" fmla="*/ 130748764 h 468"/>
              <a:gd name="T70" fmla="*/ 122305562 w 950"/>
              <a:gd name="T71" fmla="*/ 130748764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598" name="Freeform 592">
            <a:extLst>
              <a:ext uri="{FF2B5EF4-FFF2-40B4-BE49-F238E27FC236}">
                <a16:creationId xmlns:a16="http://schemas.microsoft.com/office/drawing/2014/main" id="{4EF6DA3C-0606-4706-9065-E6A41087A5B6}"/>
              </a:ext>
            </a:extLst>
          </p:cNvPr>
          <p:cNvSpPr>
            <a:spLocks/>
          </p:cNvSpPr>
          <p:nvPr>
            <p:custDataLst>
              <p:tags r:id="rId27"/>
            </p:custDataLst>
          </p:nvPr>
        </p:nvSpPr>
        <p:spPr bwMode="auto">
          <a:xfrm>
            <a:off x="5497593" y="3713539"/>
            <a:ext cx="411517" cy="374040"/>
          </a:xfrm>
          <a:custGeom>
            <a:avLst/>
            <a:gdLst>
              <a:gd name="T0" fmla="*/ 1174622 w 671"/>
              <a:gd name="T1" fmla="*/ 106077577 h 549"/>
              <a:gd name="T2" fmla="*/ 1565720 w 671"/>
              <a:gd name="T3" fmla="*/ 87521119 h 549"/>
              <a:gd name="T4" fmla="*/ 3327432 w 671"/>
              <a:gd name="T5" fmla="*/ 79489109 h 549"/>
              <a:gd name="T6" fmla="*/ 10178286 w 671"/>
              <a:gd name="T7" fmla="*/ 65917528 h 549"/>
              <a:gd name="T8" fmla="*/ 13897259 w 671"/>
              <a:gd name="T9" fmla="*/ 56777710 h 549"/>
              <a:gd name="T10" fmla="*/ 14288799 w 671"/>
              <a:gd name="T11" fmla="*/ 46253261 h 549"/>
              <a:gd name="T12" fmla="*/ 14288799 w 671"/>
              <a:gd name="T13" fmla="*/ 37944431 h 549"/>
              <a:gd name="T14" fmla="*/ 10569827 w 671"/>
              <a:gd name="T15" fmla="*/ 29912421 h 549"/>
              <a:gd name="T16" fmla="*/ 11939998 w 671"/>
              <a:gd name="T17" fmla="*/ 21880411 h 549"/>
              <a:gd name="T18" fmla="*/ 14875889 w 671"/>
              <a:gd name="T19" fmla="*/ 13848402 h 549"/>
              <a:gd name="T20" fmla="*/ 18790410 w 671"/>
              <a:gd name="T21" fmla="*/ 6924201 h 549"/>
              <a:gd name="T22" fmla="*/ 23488013 w 671"/>
              <a:gd name="T23" fmla="*/ 1938797 h 549"/>
              <a:gd name="T24" fmla="*/ 28577156 w 671"/>
              <a:gd name="T25" fmla="*/ 0 h 549"/>
              <a:gd name="T26" fmla="*/ 33861848 w 671"/>
              <a:gd name="T27" fmla="*/ 1384630 h 549"/>
              <a:gd name="T28" fmla="*/ 40321163 w 671"/>
              <a:gd name="T29" fmla="*/ 7201021 h 549"/>
              <a:gd name="T30" fmla="*/ 46193387 w 671"/>
              <a:gd name="T31" fmla="*/ 12463246 h 549"/>
              <a:gd name="T32" fmla="*/ 50694998 w 671"/>
              <a:gd name="T33" fmla="*/ 13848402 h 549"/>
              <a:gd name="T34" fmla="*/ 53239791 w 671"/>
              <a:gd name="T35" fmla="*/ 12186425 h 549"/>
              <a:gd name="T36" fmla="*/ 55588592 w 671"/>
              <a:gd name="T37" fmla="*/ 9693986 h 549"/>
              <a:gd name="T38" fmla="*/ 58720475 w 671"/>
              <a:gd name="T39" fmla="*/ 8862998 h 549"/>
              <a:gd name="T40" fmla="*/ 62243455 w 671"/>
              <a:gd name="T41" fmla="*/ 10801795 h 549"/>
              <a:gd name="T42" fmla="*/ 65962428 w 671"/>
              <a:gd name="T43" fmla="*/ 18002817 h 549"/>
              <a:gd name="T44" fmla="*/ 69094310 w 671"/>
              <a:gd name="T45" fmla="*/ 21880411 h 549"/>
              <a:gd name="T46" fmla="*/ 72421742 w 671"/>
              <a:gd name="T47" fmla="*/ 22434053 h 549"/>
              <a:gd name="T48" fmla="*/ 74574994 w 671"/>
              <a:gd name="T49" fmla="*/ 20772602 h 549"/>
              <a:gd name="T50" fmla="*/ 77706434 w 671"/>
              <a:gd name="T51" fmla="*/ 15509852 h 549"/>
              <a:gd name="T52" fmla="*/ 82012496 w 671"/>
              <a:gd name="T53" fmla="*/ 10524448 h 549"/>
              <a:gd name="T54" fmla="*/ 89646432 w 671"/>
              <a:gd name="T55" fmla="*/ 6093212 h 549"/>
              <a:gd name="T56" fmla="*/ 95322665 w 671"/>
              <a:gd name="T57" fmla="*/ 6924201 h 549"/>
              <a:gd name="T58" fmla="*/ 100020268 w 671"/>
              <a:gd name="T59" fmla="*/ 9693986 h 549"/>
              <a:gd name="T60" fmla="*/ 105109411 w 671"/>
              <a:gd name="T61" fmla="*/ 11909604 h 549"/>
              <a:gd name="T62" fmla="*/ 111764274 w 671"/>
              <a:gd name="T63" fmla="*/ 10801795 h 549"/>
              <a:gd name="T64" fmla="*/ 126444614 w 671"/>
              <a:gd name="T65" fmla="*/ 18556458 h 549"/>
              <a:gd name="T66" fmla="*/ 130163144 w 671"/>
              <a:gd name="T67" fmla="*/ 29081433 h 549"/>
              <a:gd name="T68" fmla="*/ 121942561 w 671"/>
              <a:gd name="T69" fmla="*/ 50684497 h 549"/>
              <a:gd name="T70" fmla="*/ 116070336 w 671"/>
              <a:gd name="T71" fmla="*/ 64532899 h 549"/>
              <a:gd name="T72" fmla="*/ 111568725 w 671"/>
              <a:gd name="T73" fmla="*/ 80596918 h 549"/>
              <a:gd name="T74" fmla="*/ 107653761 w 671"/>
              <a:gd name="T75" fmla="*/ 94998961 h 549"/>
              <a:gd name="T76" fmla="*/ 102760610 w 671"/>
              <a:gd name="T77" fmla="*/ 112724957 h 549"/>
              <a:gd name="T78" fmla="*/ 100998898 w 671"/>
              <a:gd name="T79" fmla="*/ 116879372 h 549"/>
              <a:gd name="T80" fmla="*/ 97867015 w 671"/>
              <a:gd name="T81" fmla="*/ 121587955 h 549"/>
              <a:gd name="T82" fmla="*/ 94344035 w 671"/>
              <a:gd name="T83" fmla="*/ 122695764 h 549"/>
              <a:gd name="T84" fmla="*/ 89841981 w 671"/>
              <a:gd name="T85" fmla="*/ 119649158 h 549"/>
              <a:gd name="T86" fmla="*/ 86123009 w 671"/>
              <a:gd name="T87" fmla="*/ 116602552 h 549"/>
              <a:gd name="T88" fmla="*/ 79859686 w 671"/>
              <a:gd name="T89" fmla="*/ 117433540 h 549"/>
              <a:gd name="T90" fmla="*/ 74574994 w 671"/>
              <a:gd name="T91" fmla="*/ 122141596 h 549"/>
              <a:gd name="T92" fmla="*/ 71247120 w 671"/>
              <a:gd name="T93" fmla="*/ 129896786 h 549"/>
              <a:gd name="T94" fmla="*/ 66941058 w 671"/>
              <a:gd name="T95" fmla="*/ 144298828 h 549"/>
              <a:gd name="T96" fmla="*/ 63613626 w 671"/>
              <a:gd name="T97" fmla="*/ 152054018 h 549"/>
              <a:gd name="T98" fmla="*/ 44823216 w 671"/>
              <a:gd name="T99" fmla="*/ 151223029 h 549"/>
              <a:gd name="T100" fmla="*/ 42474415 w 671"/>
              <a:gd name="T101" fmla="*/ 151777197 h 549"/>
              <a:gd name="T102" fmla="*/ 35036470 w 671"/>
              <a:gd name="T103" fmla="*/ 150392041 h 549"/>
              <a:gd name="T104" fmla="*/ 31513047 w 671"/>
              <a:gd name="T105" fmla="*/ 149561579 h 549"/>
              <a:gd name="T106" fmla="*/ 28185616 w 671"/>
              <a:gd name="T107" fmla="*/ 147068614 h 549"/>
              <a:gd name="T108" fmla="*/ 25249724 w 671"/>
              <a:gd name="T109" fmla="*/ 142637378 h 549"/>
              <a:gd name="T110" fmla="*/ 23292464 w 671"/>
              <a:gd name="T111" fmla="*/ 137374628 h 549"/>
              <a:gd name="T112" fmla="*/ 22117842 w 671"/>
              <a:gd name="T113" fmla="*/ 130727774 h 549"/>
              <a:gd name="T114" fmla="*/ 19573492 w 671"/>
              <a:gd name="T115" fmla="*/ 127404347 h 549"/>
              <a:gd name="T116" fmla="*/ 16246060 w 671"/>
              <a:gd name="T117" fmla="*/ 123803573 h 549"/>
              <a:gd name="T118" fmla="*/ 12331096 w 671"/>
              <a:gd name="T119" fmla="*/ 119649158 h 549"/>
              <a:gd name="T120" fmla="*/ 7633494 w 671"/>
              <a:gd name="T121" fmla="*/ 118818170 h 549"/>
              <a:gd name="T122" fmla="*/ 0 w 671"/>
              <a:gd name="T123" fmla="*/ 121310608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599" name="Freeform 593">
            <a:extLst>
              <a:ext uri="{FF2B5EF4-FFF2-40B4-BE49-F238E27FC236}">
                <a16:creationId xmlns:a16="http://schemas.microsoft.com/office/drawing/2014/main" id="{4271C567-B1C2-4D19-B29E-7CFEA7FF86F4}"/>
              </a:ext>
            </a:extLst>
          </p:cNvPr>
          <p:cNvSpPr>
            <a:spLocks/>
          </p:cNvSpPr>
          <p:nvPr>
            <p:custDataLst>
              <p:tags r:id="rId28"/>
            </p:custDataLst>
          </p:nvPr>
        </p:nvSpPr>
        <p:spPr bwMode="auto">
          <a:xfrm>
            <a:off x="6669479" y="3536683"/>
            <a:ext cx="213070" cy="221579"/>
          </a:xfrm>
          <a:custGeom>
            <a:avLst/>
            <a:gdLst>
              <a:gd name="T0" fmla="*/ 59077562 w 358"/>
              <a:gd name="T1" fmla="*/ 87426465 h 327"/>
              <a:gd name="T2" fmla="*/ 59983448 w 358"/>
              <a:gd name="T3" fmla="*/ 86616634 h 327"/>
              <a:gd name="T4" fmla="*/ 61070682 w 358"/>
              <a:gd name="T5" fmla="*/ 85807322 h 327"/>
              <a:gd name="T6" fmla="*/ 62701958 w 358"/>
              <a:gd name="T7" fmla="*/ 85807322 h 327"/>
              <a:gd name="T8" fmla="*/ 64514155 w 358"/>
              <a:gd name="T9" fmla="*/ 87426465 h 327"/>
              <a:gd name="T10" fmla="*/ 57808981 w 358"/>
              <a:gd name="T11" fmla="*/ 76902813 h 327"/>
              <a:gd name="T12" fmla="*/ 50378842 w 358"/>
              <a:gd name="T13" fmla="*/ 63410991 h 327"/>
              <a:gd name="T14" fmla="*/ 45848561 w 358"/>
              <a:gd name="T15" fmla="*/ 55046197 h 327"/>
              <a:gd name="T16" fmla="*/ 42042818 w 358"/>
              <a:gd name="T17" fmla="*/ 50189286 h 327"/>
              <a:gd name="T18" fmla="*/ 39687003 w 358"/>
              <a:gd name="T19" fmla="*/ 48839740 h 327"/>
              <a:gd name="T20" fmla="*/ 37693458 w 358"/>
              <a:gd name="T21" fmla="*/ 48570143 h 327"/>
              <a:gd name="T22" fmla="*/ 36424877 w 358"/>
              <a:gd name="T23" fmla="*/ 48300545 h 327"/>
              <a:gd name="T24" fmla="*/ 36062608 w 358"/>
              <a:gd name="T25" fmla="*/ 46951000 h 327"/>
              <a:gd name="T26" fmla="*/ 35881260 w 358"/>
              <a:gd name="T27" fmla="*/ 45871571 h 327"/>
              <a:gd name="T28" fmla="*/ 35337644 w 358"/>
              <a:gd name="T29" fmla="*/ 45601973 h 327"/>
              <a:gd name="T30" fmla="*/ 33344098 w 358"/>
              <a:gd name="T31" fmla="*/ 46411285 h 327"/>
              <a:gd name="T32" fmla="*/ 30988284 w 358"/>
              <a:gd name="T33" fmla="*/ 46411285 h 327"/>
              <a:gd name="T34" fmla="*/ 29901050 w 358"/>
              <a:gd name="T35" fmla="*/ 45332376 h 327"/>
              <a:gd name="T36" fmla="*/ 28995164 w 358"/>
              <a:gd name="T37" fmla="*/ 43443116 h 327"/>
              <a:gd name="T38" fmla="*/ 27545236 w 358"/>
              <a:gd name="T39" fmla="*/ 38856322 h 327"/>
              <a:gd name="T40" fmla="*/ 25914385 w 358"/>
              <a:gd name="T41" fmla="*/ 35348438 h 327"/>
              <a:gd name="T42" fmla="*/ 24102188 w 358"/>
              <a:gd name="T43" fmla="*/ 32110151 h 327"/>
              <a:gd name="T44" fmla="*/ 23014954 w 358"/>
              <a:gd name="T45" fmla="*/ 28332670 h 327"/>
              <a:gd name="T46" fmla="*/ 22108642 w 358"/>
              <a:gd name="T47" fmla="*/ 22665928 h 327"/>
              <a:gd name="T48" fmla="*/ 21565026 w 358"/>
              <a:gd name="T49" fmla="*/ 14301134 h 327"/>
              <a:gd name="T50" fmla="*/ 21202756 w 358"/>
              <a:gd name="T51" fmla="*/ 6205937 h 327"/>
              <a:gd name="T52" fmla="*/ 20296445 w 358"/>
              <a:gd name="T53" fmla="*/ 0 h 327"/>
              <a:gd name="T54" fmla="*/ 13229001 w 358"/>
              <a:gd name="T55" fmla="*/ 7015768 h 327"/>
              <a:gd name="T56" fmla="*/ 11054534 w 358"/>
              <a:gd name="T57" fmla="*/ 8904509 h 327"/>
              <a:gd name="T58" fmla="*/ 5980210 w 358"/>
              <a:gd name="T59" fmla="*/ 13491822 h 327"/>
              <a:gd name="T60" fmla="*/ 3805743 w 358"/>
              <a:gd name="T61" fmla="*/ 16459991 h 327"/>
              <a:gd name="T62" fmla="*/ 3080779 w 358"/>
              <a:gd name="T63" fmla="*/ 19428161 h 327"/>
              <a:gd name="T64" fmla="*/ 2899431 w 358"/>
              <a:gd name="T65" fmla="*/ 22396331 h 327"/>
              <a:gd name="T66" fmla="*/ 3624396 w 358"/>
              <a:gd name="T67" fmla="*/ 25094383 h 327"/>
              <a:gd name="T68" fmla="*/ 3986665 w 358"/>
              <a:gd name="T69" fmla="*/ 26983644 h 327"/>
              <a:gd name="T70" fmla="*/ 3624396 w 358"/>
              <a:gd name="T71" fmla="*/ 29681696 h 327"/>
              <a:gd name="T72" fmla="*/ 2718084 w 358"/>
              <a:gd name="T73" fmla="*/ 33189580 h 327"/>
              <a:gd name="T74" fmla="*/ 1268581 w 358"/>
              <a:gd name="T75" fmla="*/ 36697464 h 327"/>
              <a:gd name="T76" fmla="*/ 0 w 358"/>
              <a:gd name="T77" fmla="*/ 41824492 h 327"/>
              <a:gd name="T78" fmla="*/ 0 w 358"/>
              <a:gd name="T79" fmla="*/ 46951000 h 327"/>
              <a:gd name="T80" fmla="*/ 905886 w 358"/>
              <a:gd name="T81" fmla="*/ 49109857 h 327"/>
              <a:gd name="T82" fmla="*/ 1993545 w 358"/>
              <a:gd name="T83" fmla="*/ 50458884 h 327"/>
              <a:gd name="T84" fmla="*/ 3624396 w 358"/>
              <a:gd name="T85" fmla="*/ 50189286 h 327"/>
              <a:gd name="T86" fmla="*/ 7973755 w 358"/>
              <a:gd name="T87" fmla="*/ 45332376 h 327"/>
              <a:gd name="T88" fmla="*/ 10873187 w 358"/>
              <a:gd name="T89" fmla="*/ 43443116 h 327"/>
              <a:gd name="T90" fmla="*/ 13772618 w 358"/>
              <a:gd name="T91" fmla="*/ 40474946 h 327"/>
              <a:gd name="T92" fmla="*/ 16853397 w 358"/>
              <a:gd name="T93" fmla="*/ 42903401 h 327"/>
              <a:gd name="T94" fmla="*/ 19934175 w 358"/>
              <a:gd name="T95" fmla="*/ 44252947 h 327"/>
              <a:gd name="T96" fmla="*/ 25733038 w 358"/>
              <a:gd name="T97" fmla="*/ 48570143 h 327"/>
              <a:gd name="T98" fmla="*/ 29538781 w 358"/>
              <a:gd name="T99" fmla="*/ 51268715 h 327"/>
              <a:gd name="T100" fmla="*/ 35518991 w 358"/>
              <a:gd name="T101" fmla="*/ 56395223 h 327"/>
              <a:gd name="T102" fmla="*/ 39687003 w 358"/>
              <a:gd name="T103" fmla="*/ 60712938 h 327"/>
              <a:gd name="T104" fmla="*/ 44398632 w 358"/>
              <a:gd name="T105" fmla="*/ 65839446 h 327"/>
              <a:gd name="T106" fmla="*/ 46392178 w 358"/>
              <a:gd name="T107" fmla="*/ 68538018 h 327"/>
              <a:gd name="T108" fmla="*/ 48385297 w 358"/>
              <a:gd name="T109" fmla="*/ 72855214 h 327"/>
              <a:gd name="T110" fmla="*/ 48747992 w 358"/>
              <a:gd name="T111" fmla="*/ 75283670 h 327"/>
              <a:gd name="T112" fmla="*/ 48747992 w 358"/>
              <a:gd name="T113" fmla="*/ 77172410 h 327"/>
              <a:gd name="T114" fmla="*/ 48929340 w 358"/>
              <a:gd name="T115" fmla="*/ 78251839 h 327"/>
              <a:gd name="T116" fmla="*/ 50016573 w 358"/>
              <a:gd name="T117" fmla="*/ 78791554 h 327"/>
              <a:gd name="T118" fmla="*/ 52916004 w 358"/>
              <a:gd name="T119" fmla="*/ 81490126 h 327"/>
              <a:gd name="T120" fmla="*/ 57627634 w 358"/>
              <a:gd name="T121" fmla="*/ 86616634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00" name="Freeform 594">
            <a:extLst>
              <a:ext uri="{FF2B5EF4-FFF2-40B4-BE49-F238E27FC236}">
                <a16:creationId xmlns:a16="http://schemas.microsoft.com/office/drawing/2014/main" id="{2E64726D-8415-4663-8037-9982F7ECF648}"/>
              </a:ext>
            </a:extLst>
          </p:cNvPr>
          <p:cNvSpPr>
            <a:spLocks/>
          </p:cNvSpPr>
          <p:nvPr>
            <p:custDataLst>
              <p:tags r:id="rId29"/>
            </p:custDataLst>
          </p:nvPr>
        </p:nvSpPr>
        <p:spPr bwMode="auto">
          <a:xfrm>
            <a:off x="5921644" y="2243806"/>
            <a:ext cx="173381" cy="73182"/>
          </a:xfrm>
          <a:custGeom>
            <a:avLst/>
            <a:gdLst>
              <a:gd name="T0" fmla="*/ 23243066 w 292"/>
              <a:gd name="T1" fmla="*/ 0 h 99"/>
              <a:gd name="T2" fmla="*/ 28223508 w 292"/>
              <a:gd name="T3" fmla="*/ 0 h 99"/>
              <a:gd name="T4" fmla="*/ 36524389 w 292"/>
              <a:gd name="T5" fmla="*/ 333086 h 99"/>
              <a:gd name="T6" fmla="*/ 46116765 w 292"/>
              <a:gd name="T7" fmla="*/ 1999673 h 99"/>
              <a:gd name="T8" fmla="*/ 53864454 w 292"/>
              <a:gd name="T9" fmla="*/ 2332759 h 99"/>
              <a:gd name="T10" fmla="*/ 53495516 w 292"/>
              <a:gd name="T11" fmla="*/ 6664614 h 99"/>
              <a:gd name="T12" fmla="*/ 52573387 w 292"/>
              <a:gd name="T13" fmla="*/ 10997045 h 99"/>
              <a:gd name="T14" fmla="*/ 51466575 w 292"/>
              <a:gd name="T15" fmla="*/ 18328409 h 99"/>
              <a:gd name="T16" fmla="*/ 24903070 w 292"/>
              <a:gd name="T17" fmla="*/ 23327014 h 99"/>
              <a:gd name="T18" fmla="*/ 18262194 w 292"/>
              <a:gd name="T19" fmla="*/ 29658541 h 99"/>
              <a:gd name="T20" fmla="*/ 14572819 w 292"/>
              <a:gd name="T21" fmla="*/ 31991300 h 99"/>
              <a:gd name="T22" fmla="*/ 12174939 w 292"/>
              <a:gd name="T23" fmla="*/ 32658050 h 99"/>
              <a:gd name="T24" fmla="*/ 10145568 w 292"/>
              <a:gd name="T25" fmla="*/ 32658050 h 99"/>
              <a:gd name="T26" fmla="*/ 8300880 w 292"/>
              <a:gd name="T27" fmla="*/ 31325127 h 99"/>
              <a:gd name="T28" fmla="*/ 6087255 w 292"/>
              <a:gd name="T29" fmla="*/ 28658705 h 99"/>
              <a:gd name="T30" fmla="*/ 3689376 w 292"/>
              <a:gd name="T31" fmla="*/ 25659773 h 99"/>
              <a:gd name="T32" fmla="*/ 1291067 w 292"/>
              <a:gd name="T33" fmla="*/ 22993927 h 99"/>
              <a:gd name="T34" fmla="*/ 184254 w 292"/>
              <a:gd name="T35" fmla="*/ 18995159 h 99"/>
              <a:gd name="T36" fmla="*/ 0 w 292"/>
              <a:gd name="T37" fmla="*/ 13995977 h 99"/>
              <a:gd name="T38" fmla="*/ 184254 w 292"/>
              <a:gd name="T39" fmla="*/ 8331200 h 99"/>
              <a:gd name="T40" fmla="*/ 553192 w 292"/>
              <a:gd name="T41" fmla="*/ 6664614 h 99"/>
              <a:gd name="T42" fmla="*/ 1660004 w 292"/>
              <a:gd name="T43" fmla="*/ 5998441 h 99"/>
              <a:gd name="T44" fmla="*/ 2766817 w 292"/>
              <a:gd name="T45" fmla="*/ 6998277 h 99"/>
              <a:gd name="T46" fmla="*/ 4611505 w 292"/>
              <a:gd name="T47" fmla="*/ 9331036 h 99"/>
              <a:gd name="T48" fmla="*/ 6456193 w 292"/>
              <a:gd name="T49" fmla="*/ 10663959 h 99"/>
              <a:gd name="T50" fmla="*/ 8300880 w 292"/>
              <a:gd name="T51" fmla="*/ 11330132 h 99"/>
              <a:gd name="T52" fmla="*/ 9961314 w 292"/>
              <a:gd name="T53" fmla="*/ 10997045 h 99"/>
              <a:gd name="T54" fmla="*/ 12359193 w 292"/>
              <a:gd name="T55" fmla="*/ 9664123 h 99"/>
              <a:gd name="T56" fmla="*/ 14941756 w 292"/>
              <a:gd name="T57" fmla="*/ 6331527 h 99"/>
              <a:gd name="T58" fmla="*/ 16233253 w 292"/>
              <a:gd name="T59" fmla="*/ 3665682 h 99"/>
              <a:gd name="T60" fmla="*/ 17340065 w 292"/>
              <a:gd name="T61" fmla="*/ 1999673 h 99"/>
              <a:gd name="T62" fmla="*/ 20106882 w 292"/>
              <a:gd name="T63" fmla="*/ 333086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01" name="Freeform 595">
            <a:extLst>
              <a:ext uri="{FF2B5EF4-FFF2-40B4-BE49-F238E27FC236}">
                <a16:creationId xmlns:a16="http://schemas.microsoft.com/office/drawing/2014/main" id="{2DED5D8A-1D4B-4DA1-A94A-42E890C61FCF}"/>
              </a:ext>
            </a:extLst>
          </p:cNvPr>
          <p:cNvSpPr>
            <a:spLocks/>
          </p:cNvSpPr>
          <p:nvPr>
            <p:custDataLst>
              <p:tags r:id="rId30"/>
            </p:custDataLst>
          </p:nvPr>
        </p:nvSpPr>
        <p:spPr bwMode="auto">
          <a:xfrm>
            <a:off x="7122777" y="3180940"/>
            <a:ext cx="27155" cy="73182"/>
          </a:xfrm>
          <a:custGeom>
            <a:avLst/>
            <a:gdLst>
              <a:gd name="T0" fmla="*/ 7654556 w 43"/>
              <a:gd name="T1" fmla="*/ 35119597 h 93"/>
              <a:gd name="T2" fmla="*/ 6084481 w 43"/>
              <a:gd name="T3" fmla="*/ 34364356 h 93"/>
              <a:gd name="T4" fmla="*/ 5103185 w 43"/>
              <a:gd name="T5" fmla="*/ 33609116 h 93"/>
              <a:gd name="T6" fmla="*/ 4121445 w 43"/>
              <a:gd name="T7" fmla="*/ 32853876 h 93"/>
              <a:gd name="T8" fmla="*/ 3532667 w 43"/>
              <a:gd name="T9" fmla="*/ 31720708 h 93"/>
              <a:gd name="T10" fmla="*/ 2943890 w 43"/>
              <a:gd name="T11" fmla="*/ 29832915 h 93"/>
              <a:gd name="T12" fmla="*/ 2747630 w 43"/>
              <a:gd name="T13" fmla="*/ 27567194 h 93"/>
              <a:gd name="T14" fmla="*/ 2551371 w 43"/>
              <a:gd name="T15" fmla="*/ 24546232 h 93"/>
              <a:gd name="T16" fmla="*/ 2158852 w 43"/>
              <a:gd name="T17" fmla="*/ 20769416 h 93"/>
              <a:gd name="T18" fmla="*/ 2158852 w 43"/>
              <a:gd name="T19" fmla="*/ 18126382 h 93"/>
              <a:gd name="T20" fmla="*/ 1766334 w 43"/>
              <a:gd name="T21" fmla="*/ 15860661 h 93"/>
              <a:gd name="T22" fmla="*/ 1177556 w 43"/>
              <a:gd name="T23" fmla="*/ 14350181 h 93"/>
              <a:gd name="T24" fmla="*/ 785037 w 43"/>
              <a:gd name="T25" fmla="*/ 13594940 h 93"/>
              <a:gd name="T26" fmla="*/ 392519 w 43"/>
              <a:gd name="T27" fmla="*/ 12839700 h 93"/>
              <a:gd name="T28" fmla="*/ 0 w 43"/>
              <a:gd name="T29" fmla="*/ 12084460 h 93"/>
              <a:gd name="T30" fmla="*/ 392519 w 43"/>
              <a:gd name="T31" fmla="*/ 10951292 h 93"/>
              <a:gd name="T32" fmla="*/ 981297 w 43"/>
              <a:gd name="T33" fmla="*/ 9062884 h 93"/>
              <a:gd name="T34" fmla="*/ 1177556 w 43"/>
              <a:gd name="T35" fmla="*/ 10573365 h 93"/>
              <a:gd name="T36" fmla="*/ 1373815 w 43"/>
              <a:gd name="T37" fmla="*/ 10951292 h 93"/>
              <a:gd name="T38" fmla="*/ 1570074 w 43"/>
              <a:gd name="T39" fmla="*/ 11328605 h 93"/>
              <a:gd name="T40" fmla="*/ 1766334 w 43"/>
              <a:gd name="T41" fmla="*/ 10951292 h 93"/>
              <a:gd name="T42" fmla="*/ 2158852 w 43"/>
              <a:gd name="T43" fmla="*/ 9440811 h 93"/>
              <a:gd name="T44" fmla="*/ 2747630 w 43"/>
              <a:gd name="T45" fmla="*/ 7175090 h 93"/>
              <a:gd name="T46" fmla="*/ 3140149 w 43"/>
              <a:gd name="T47" fmla="*/ 4531442 h 93"/>
              <a:gd name="T48" fmla="*/ 3925186 w 43"/>
              <a:gd name="T49" fmla="*/ 2265721 h 93"/>
              <a:gd name="T50" fmla="*/ 4318148 w 43"/>
              <a:gd name="T51" fmla="*/ 1510481 h 93"/>
              <a:gd name="T52" fmla="*/ 4906926 w 43"/>
              <a:gd name="T53" fmla="*/ 755240 h 93"/>
              <a:gd name="T54" fmla="*/ 5495703 w 43"/>
              <a:gd name="T55" fmla="*/ 0 h 93"/>
              <a:gd name="T56" fmla="*/ 6280741 w 43"/>
              <a:gd name="T57" fmla="*/ 0 h 93"/>
              <a:gd name="T58" fmla="*/ 6477000 w 43"/>
              <a:gd name="T59" fmla="*/ 3776202 h 93"/>
              <a:gd name="T60" fmla="*/ 6477000 w 43"/>
              <a:gd name="T61" fmla="*/ 6041923 h 93"/>
              <a:gd name="T62" fmla="*/ 6477000 w 43"/>
              <a:gd name="T63" fmla="*/ 7552403 h 93"/>
              <a:gd name="T64" fmla="*/ 6280741 w 43"/>
              <a:gd name="T65" fmla="*/ 8685571 h 93"/>
              <a:gd name="T66" fmla="*/ 6280741 w 43"/>
              <a:gd name="T67" fmla="*/ 10196052 h 93"/>
              <a:gd name="T68" fmla="*/ 6280741 w 43"/>
              <a:gd name="T69" fmla="*/ 11706532 h 93"/>
              <a:gd name="T70" fmla="*/ 6869519 w 43"/>
              <a:gd name="T71" fmla="*/ 13594940 h 93"/>
              <a:gd name="T72" fmla="*/ 7654556 w 43"/>
              <a:gd name="T73" fmla="*/ 16237974 h 93"/>
              <a:gd name="T74" fmla="*/ 7458297 w 43"/>
              <a:gd name="T75" fmla="*/ 16615902 h 93"/>
              <a:gd name="T76" fmla="*/ 7262037 w 43"/>
              <a:gd name="T77" fmla="*/ 16993215 h 93"/>
              <a:gd name="T78" fmla="*/ 7262037 w 43"/>
              <a:gd name="T79" fmla="*/ 18126382 h 93"/>
              <a:gd name="T80" fmla="*/ 7458297 w 43"/>
              <a:gd name="T81" fmla="*/ 19258935 h 93"/>
              <a:gd name="T82" fmla="*/ 7654556 w 43"/>
              <a:gd name="T83" fmla="*/ 22279897 h 93"/>
              <a:gd name="T84" fmla="*/ 8047074 w 43"/>
              <a:gd name="T85" fmla="*/ 25678785 h 93"/>
              <a:gd name="T86" fmla="*/ 8243334 w 43"/>
              <a:gd name="T87" fmla="*/ 28699747 h 93"/>
              <a:gd name="T88" fmla="*/ 8439593 w 43"/>
              <a:gd name="T89" fmla="*/ 32098635 h 93"/>
              <a:gd name="T90" fmla="*/ 8439593 w 43"/>
              <a:gd name="T91" fmla="*/ 33231189 h 93"/>
              <a:gd name="T92" fmla="*/ 8243334 w 43"/>
              <a:gd name="T93" fmla="*/ 34364356 h 93"/>
              <a:gd name="T94" fmla="*/ 7850815 w 43"/>
              <a:gd name="T95" fmla="*/ 34741669 h 93"/>
              <a:gd name="T96" fmla="*/ 7654556 w 43"/>
              <a:gd name="T97" fmla="*/ 35119597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02" name="Freeform 596">
            <a:extLst>
              <a:ext uri="{FF2B5EF4-FFF2-40B4-BE49-F238E27FC236}">
                <a16:creationId xmlns:a16="http://schemas.microsoft.com/office/drawing/2014/main" id="{1865656B-8897-4222-AF26-3572085F02A0}"/>
              </a:ext>
            </a:extLst>
          </p:cNvPr>
          <p:cNvSpPr>
            <a:spLocks/>
          </p:cNvSpPr>
          <p:nvPr>
            <p:custDataLst>
              <p:tags r:id="rId31"/>
            </p:custDataLst>
          </p:nvPr>
        </p:nvSpPr>
        <p:spPr bwMode="auto">
          <a:xfrm>
            <a:off x="7287801" y="3187037"/>
            <a:ext cx="20889" cy="73182"/>
          </a:xfrm>
          <a:custGeom>
            <a:avLst/>
            <a:gdLst>
              <a:gd name="T0" fmla="*/ 5102959 w 40"/>
              <a:gd name="T1" fmla="*/ 58323616 h 56"/>
              <a:gd name="T2" fmla="*/ 4720068 w 40"/>
              <a:gd name="T3" fmla="*/ 47909049 h 56"/>
              <a:gd name="T4" fmla="*/ 4210022 w 40"/>
              <a:gd name="T5" fmla="*/ 39576375 h 56"/>
              <a:gd name="T6" fmla="*/ 3572107 w 40"/>
              <a:gd name="T7" fmla="*/ 33327635 h 56"/>
              <a:gd name="T8" fmla="*/ 2934193 w 40"/>
              <a:gd name="T9" fmla="*/ 29161808 h 56"/>
              <a:gd name="T10" fmla="*/ 1403341 w 40"/>
              <a:gd name="T11" fmla="*/ 21871101 h 56"/>
              <a:gd name="T12" fmla="*/ 0 w 40"/>
              <a:gd name="T13" fmla="*/ 12497480 h 56"/>
              <a:gd name="T14" fmla="*/ 1658364 w 40"/>
              <a:gd name="T15" fmla="*/ 4165827 h 56"/>
              <a:gd name="T16" fmla="*/ 2551658 w 40"/>
              <a:gd name="T17" fmla="*/ 0 h 56"/>
              <a:gd name="T18" fmla="*/ 3572107 w 40"/>
              <a:gd name="T19" fmla="*/ 12497480 h 56"/>
              <a:gd name="T20" fmla="*/ 4465045 w 40"/>
              <a:gd name="T21" fmla="*/ 22913068 h 56"/>
              <a:gd name="T22" fmla="*/ 4720068 w 40"/>
              <a:gd name="T23" fmla="*/ 26036928 h 56"/>
              <a:gd name="T24" fmla="*/ 4975448 w 40"/>
              <a:gd name="T25" fmla="*/ 30203775 h 56"/>
              <a:gd name="T26" fmla="*/ 4975448 w 40"/>
              <a:gd name="T27" fmla="*/ 34369602 h 56"/>
              <a:gd name="T28" fmla="*/ 5102959 w 40"/>
              <a:gd name="T29" fmla="*/ 38535429 h 56"/>
              <a:gd name="T30" fmla="*/ 5102959 w 40"/>
              <a:gd name="T31" fmla="*/ 45826136 h 56"/>
              <a:gd name="T32" fmla="*/ 5102959 w 40"/>
              <a:gd name="T33" fmla="*/ 47909049 h 56"/>
              <a:gd name="T34" fmla="*/ 5102959 w 40"/>
              <a:gd name="T35" fmla="*/ 51032909 h 56"/>
              <a:gd name="T36" fmla="*/ 5102959 w 40"/>
              <a:gd name="T37" fmla="*/ 58323616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03" name="Freeform 597">
            <a:extLst>
              <a:ext uri="{FF2B5EF4-FFF2-40B4-BE49-F238E27FC236}">
                <a16:creationId xmlns:a16="http://schemas.microsoft.com/office/drawing/2014/main" id="{E44047C0-32FF-47AF-89D2-FB613F02B81B}"/>
              </a:ext>
            </a:extLst>
          </p:cNvPr>
          <p:cNvSpPr>
            <a:spLocks/>
          </p:cNvSpPr>
          <p:nvPr>
            <p:custDataLst>
              <p:tags r:id="rId32"/>
            </p:custDataLst>
          </p:nvPr>
        </p:nvSpPr>
        <p:spPr bwMode="auto">
          <a:xfrm>
            <a:off x="9357927" y="4044889"/>
            <a:ext cx="62668" cy="75216"/>
          </a:xfrm>
          <a:custGeom>
            <a:avLst/>
            <a:gdLst>
              <a:gd name="T0" fmla="*/ 0 w 106"/>
              <a:gd name="T1" fmla="*/ 4535778 h 71"/>
              <a:gd name="T2" fmla="*/ 2110117 w 106"/>
              <a:gd name="T3" fmla="*/ 6478878 h 71"/>
              <a:gd name="T4" fmla="*/ 4220234 w 106"/>
              <a:gd name="T5" fmla="*/ 7774815 h 71"/>
              <a:gd name="T6" fmla="*/ 6154648 w 106"/>
              <a:gd name="T7" fmla="*/ 8422783 h 71"/>
              <a:gd name="T8" fmla="*/ 7912939 w 106"/>
              <a:gd name="T9" fmla="*/ 8422783 h 71"/>
              <a:gd name="T10" fmla="*/ 9495526 w 106"/>
              <a:gd name="T11" fmla="*/ 7126846 h 71"/>
              <a:gd name="T12" fmla="*/ 10726708 w 106"/>
              <a:gd name="T13" fmla="*/ 5182942 h 71"/>
              <a:gd name="T14" fmla="*/ 11957469 w 106"/>
              <a:gd name="T15" fmla="*/ 3239842 h 71"/>
              <a:gd name="T16" fmla="*/ 13012528 w 106"/>
              <a:gd name="T17" fmla="*/ 0 h 71"/>
              <a:gd name="T18" fmla="*/ 14771238 w 106"/>
              <a:gd name="T19" fmla="*/ 10366688 h 71"/>
              <a:gd name="T20" fmla="*/ 16529529 w 106"/>
              <a:gd name="T21" fmla="*/ 19437439 h 71"/>
              <a:gd name="T22" fmla="*/ 17760291 w 106"/>
              <a:gd name="T23" fmla="*/ 28508191 h 71"/>
              <a:gd name="T24" fmla="*/ 18463943 w 106"/>
              <a:gd name="T25" fmla="*/ 35635037 h 71"/>
              <a:gd name="T26" fmla="*/ 18639646 w 106"/>
              <a:gd name="T27" fmla="*/ 38874879 h 71"/>
              <a:gd name="T28" fmla="*/ 18639646 w 106"/>
              <a:gd name="T29" fmla="*/ 40818784 h 71"/>
              <a:gd name="T30" fmla="*/ 18463943 w 106"/>
              <a:gd name="T31" fmla="*/ 43409852 h 71"/>
              <a:gd name="T32" fmla="*/ 18112117 w 106"/>
              <a:gd name="T33" fmla="*/ 44705789 h 71"/>
              <a:gd name="T34" fmla="*/ 17760291 w 106"/>
              <a:gd name="T35" fmla="*/ 45353757 h 71"/>
              <a:gd name="T36" fmla="*/ 17232762 w 106"/>
              <a:gd name="T37" fmla="*/ 45353757 h 71"/>
              <a:gd name="T38" fmla="*/ 16177703 w 106"/>
              <a:gd name="T39" fmla="*/ 45353757 h 71"/>
              <a:gd name="T40" fmla="*/ 15298767 w 106"/>
              <a:gd name="T41" fmla="*/ 44057820 h 71"/>
              <a:gd name="T42" fmla="*/ 13012528 w 106"/>
              <a:gd name="T43" fmla="*/ 45353757 h 71"/>
              <a:gd name="T44" fmla="*/ 11078114 w 106"/>
              <a:gd name="T45" fmla="*/ 46001725 h 71"/>
              <a:gd name="T46" fmla="*/ 9319823 w 106"/>
              <a:gd name="T47" fmla="*/ 44705789 h 71"/>
              <a:gd name="T48" fmla="*/ 7912939 w 106"/>
              <a:gd name="T49" fmla="*/ 42761884 h 71"/>
              <a:gd name="T50" fmla="*/ 6506474 w 106"/>
              <a:gd name="T51" fmla="*/ 40170815 h 71"/>
              <a:gd name="T52" fmla="*/ 5627118 w 106"/>
              <a:gd name="T53" fmla="*/ 36930974 h 71"/>
              <a:gd name="T54" fmla="*/ 4747763 w 106"/>
              <a:gd name="T55" fmla="*/ 33043164 h 71"/>
              <a:gd name="T56" fmla="*/ 4220234 w 106"/>
              <a:gd name="T57" fmla="*/ 29156159 h 71"/>
              <a:gd name="T58" fmla="*/ 3692705 w 106"/>
              <a:gd name="T59" fmla="*/ 24620381 h 71"/>
              <a:gd name="T60" fmla="*/ 3517001 w 106"/>
              <a:gd name="T61" fmla="*/ 19437439 h 71"/>
              <a:gd name="T62" fmla="*/ 3340879 w 106"/>
              <a:gd name="T63" fmla="*/ 15549630 h 71"/>
              <a:gd name="T64" fmla="*/ 3165175 w 106"/>
              <a:gd name="T65" fmla="*/ 12310593 h 71"/>
              <a:gd name="T66" fmla="*/ 3165175 w 106"/>
              <a:gd name="T67" fmla="*/ 9070751 h 71"/>
              <a:gd name="T68" fmla="*/ 3340879 w 106"/>
              <a:gd name="T69" fmla="*/ 6478878 h 71"/>
              <a:gd name="T70" fmla="*/ 3517001 w 106"/>
              <a:gd name="T71" fmla="*/ 4535778 h 71"/>
              <a:gd name="T72" fmla="*/ 3692705 w 106"/>
              <a:gd name="T73" fmla="*/ 4535778 h 71"/>
              <a:gd name="T74" fmla="*/ 3517001 w 106"/>
              <a:gd name="T75" fmla="*/ 6478878 h 71"/>
              <a:gd name="T76" fmla="*/ 3340879 w 106"/>
              <a:gd name="T77" fmla="*/ 10366688 h 71"/>
              <a:gd name="T78" fmla="*/ 3340879 w 106"/>
              <a:gd name="T79" fmla="*/ 11014656 h 71"/>
              <a:gd name="T80" fmla="*/ 3340879 w 106"/>
              <a:gd name="T81" fmla="*/ 11014656 h 71"/>
              <a:gd name="T82" fmla="*/ 3517001 w 106"/>
              <a:gd name="T83" fmla="*/ 11014656 h 71"/>
              <a:gd name="T84" fmla="*/ 3692705 w 106"/>
              <a:gd name="T85" fmla="*/ 11014656 h 71"/>
              <a:gd name="T86" fmla="*/ 4044531 w 106"/>
              <a:gd name="T87" fmla="*/ 8422783 h 71"/>
              <a:gd name="T88" fmla="*/ 4747763 w 106"/>
              <a:gd name="T89" fmla="*/ 4535778 h 71"/>
              <a:gd name="T90" fmla="*/ 0 w 106"/>
              <a:gd name="T91" fmla="*/ 4535778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nvGrpSpPr>
          <p:cNvPr id="604" name="Group 1716">
            <a:extLst>
              <a:ext uri="{FF2B5EF4-FFF2-40B4-BE49-F238E27FC236}">
                <a16:creationId xmlns:a16="http://schemas.microsoft.com/office/drawing/2014/main" id="{73735F45-F8A3-4B12-A741-B11775F5DF71}"/>
              </a:ext>
            </a:extLst>
          </p:cNvPr>
          <p:cNvGrpSpPr>
            <a:grpSpLocks/>
          </p:cNvGrpSpPr>
          <p:nvPr>
            <p:custDataLst>
              <p:tags r:id="rId33"/>
            </p:custDataLst>
          </p:nvPr>
        </p:nvGrpSpPr>
        <p:grpSpPr bwMode="auto">
          <a:xfrm>
            <a:off x="3585452" y="6395837"/>
            <a:ext cx="90586" cy="72238"/>
            <a:chOff x="1654" y="3671"/>
            <a:chExt cx="49" cy="17"/>
          </a:xfrm>
          <a:solidFill>
            <a:schemeClr val="bg1">
              <a:lumMod val="65000"/>
            </a:schemeClr>
          </a:solidFill>
        </p:grpSpPr>
        <p:sp>
          <p:nvSpPr>
            <p:cNvPr id="1114" name="Freeform 39">
              <a:extLst>
                <a:ext uri="{FF2B5EF4-FFF2-40B4-BE49-F238E27FC236}">
                  <a16:creationId xmlns:a16="http://schemas.microsoft.com/office/drawing/2014/main" id="{1610109B-9478-4FC2-B876-7D2CBAAD8027}"/>
                </a:ext>
              </a:extLst>
            </p:cNvPr>
            <p:cNvSpPr>
              <a:spLocks/>
            </p:cNvSpPr>
            <p:nvPr/>
          </p:nvSpPr>
          <p:spPr bwMode="auto">
            <a:xfrm>
              <a:off x="1654" y="3672"/>
              <a:ext cx="20" cy="14"/>
            </a:xfrm>
            <a:custGeom>
              <a:avLst/>
              <a:gdLst>
                <a:gd name="T0" fmla="*/ 3 w 59"/>
                <a:gd name="T1" fmla="*/ 5 h 43"/>
                <a:gd name="T2" fmla="*/ 7 w 59"/>
                <a:gd name="T3" fmla="*/ 2 h 43"/>
                <a:gd name="T4" fmla="*/ 6 w 59"/>
                <a:gd name="T5" fmla="*/ 2 h 43"/>
                <a:gd name="T6" fmla="*/ 6 w 59"/>
                <a:gd name="T7" fmla="*/ 1 h 43"/>
                <a:gd name="T8" fmla="*/ 5 w 59"/>
                <a:gd name="T9" fmla="*/ 1 h 43"/>
                <a:gd name="T10" fmla="*/ 5 w 59"/>
                <a:gd name="T11" fmla="*/ 0 h 43"/>
                <a:gd name="T12" fmla="*/ 5 w 59"/>
                <a:gd name="T13" fmla="*/ 0 h 43"/>
                <a:gd name="T14" fmla="*/ 4 w 59"/>
                <a:gd name="T15" fmla="*/ 0 h 43"/>
                <a:gd name="T16" fmla="*/ 4 w 59"/>
                <a:gd name="T17" fmla="*/ 1 h 43"/>
                <a:gd name="T18" fmla="*/ 3 w 59"/>
                <a:gd name="T19" fmla="*/ 1 h 43"/>
                <a:gd name="T20" fmla="*/ 3 w 59"/>
                <a:gd name="T21" fmla="*/ 1 h 43"/>
                <a:gd name="T22" fmla="*/ 3 w 59"/>
                <a:gd name="T23" fmla="*/ 1 h 43"/>
                <a:gd name="T24" fmla="*/ 2 w 59"/>
                <a:gd name="T25" fmla="*/ 1 h 43"/>
                <a:gd name="T26" fmla="*/ 1 w 59"/>
                <a:gd name="T27" fmla="*/ 2 h 43"/>
                <a:gd name="T28" fmla="*/ 1 w 59"/>
                <a:gd name="T29" fmla="*/ 2 h 43"/>
                <a:gd name="T30" fmla="*/ 0 w 59"/>
                <a:gd name="T31" fmla="*/ 3 h 43"/>
                <a:gd name="T32" fmla="*/ 1 w 59"/>
                <a:gd name="T33" fmla="*/ 3 h 43"/>
                <a:gd name="T34" fmla="*/ 1 w 59"/>
                <a:gd name="T35" fmla="*/ 4 h 43"/>
                <a:gd name="T36" fmla="*/ 2 w 59"/>
                <a:gd name="T37" fmla="*/ 4 h 43"/>
                <a:gd name="T38" fmla="*/ 3 w 59"/>
                <a:gd name="T39" fmla="*/ 5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115" name="Freeform 40">
              <a:extLst>
                <a:ext uri="{FF2B5EF4-FFF2-40B4-BE49-F238E27FC236}">
                  <a16:creationId xmlns:a16="http://schemas.microsoft.com/office/drawing/2014/main" id="{AC38DA62-41A8-45EA-894D-89B010BCF865}"/>
                </a:ext>
              </a:extLst>
            </p:cNvPr>
            <p:cNvSpPr>
              <a:spLocks/>
            </p:cNvSpPr>
            <p:nvPr/>
          </p:nvSpPr>
          <p:spPr bwMode="auto">
            <a:xfrm>
              <a:off x="1683" y="3671"/>
              <a:ext cx="20" cy="17"/>
            </a:xfrm>
            <a:custGeom>
              <a:avLst/>
              <a:gdLst>
                <a:gd name="T0" fmla="*/ 0 w 67"/>
                <a:gd name="T1" fmla="*/ 0 h 51"/>
                <a:gd name="T2" fmla="*/ 3 w 67"/>
                <a:gd name="T3" fmla="*/ 0 h 51"/>
                <a:gd name="T4" fmla="*/ 4 w 67"/>
                <a:gd name="T5" fmla="*/ 0 h 51"/>
                <a:gd name="T6" fmla="*/ 5 w 67"/>
                <a:gd name="T7" fmla="*/ 0 h 51"/>
                <a:gd name="T8" fmla="*/ 6 w 67"/>
                <a:gd name="T9" fmla="*/ 0 h 51"/>
                <a:gd name="T10" fmla="*/ 6 w 67"/>
                <a:gd name="T11" fmla="*/ 0 h 51"/>
                <a:gd name="T12" fmla="*/ 7 w 67"/>
                <a:gd name="T13" fmla="*/ 1 h 51"/>
                <a:gd name="T14" fmla="*/ 6 w 67"/>
                <a:gd name="T15" fmla="*/ 1 h 51"/>
                <a:gd name="T16" fmla="*/ 5 w 67"/>
                <a:gd name="T17" fmla="*/ 2 h 51"/>
                <a:gd name="T18" fmla="*/ 5 w 67"/>
                <a:gd name="T19" fmla="*/ 2 h 51"/>
                <a:gd name="T20" fmla="*/ 4 w 67"/>
                <a:gd name="T21" fmla="*/ 3 h 51"/>
                <a:gd name="T22" fmla="*/ 3 w 67"/>
                <a:gd name="T23" fmla="*/ 3 h 51"/>
                <a:gd name="T24" fmla="*/ 2 w 67"/>
                <a:gd name="T25" fmla="*/ 3 h 51"/>
                <a:gd name="T26" fmla="*/ 3 w 67"/>
                <a:gd name="T27" fmla="*/ 3 h 51"/>
                <a:gd name="T28" fmla="*/ 4 w 67"/>
                <a:gd name="T29" fmla="*/ 3 h 51"/>
                <a:gd name="T30" fmla="*/ 3 w 67"/>
                <a:gd name="T31" fmla="*/ 4 h 51"/>
                <a:gd name="T32" fmla="*/ 3 w 67"/>
                <a:gd name="T33" fmla="*/ 4 h 51"/>
                <a:gd name="T34" fmla="*/ 2 w 67"/>
                <a:gd name="T35" fmla="*/ 5 h 51"/>
                <a:gd name="T36" fmla="*/ 2 w 67"/>
                <a:gd name="T37" fmla="*/ 5 h 51"/>
                <a:gd name="T38" fmla="*/ 1 w 67"/>
                <a:gd name="T39" fmla="*/ 5 h 51"/>
                <a:gd name="T40" fmla="*/ 0 w 67"/>
                <a:gd name="T41" fmla="*/ 6 h 51"/>
                <a:gd name="T42" fmla="*/ 0 w 67"/>
                <a:gd name="T43" fmla="*/ 0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sp>
        <p:nvSpPr>
          <p:cNvPr id="605" name="Freeform 41">
            <a:extLst>
              <a:ext uri="{FF2B5EF4-FFF2-40B4-BE49-F238E27FC236}">
                <a16:creationId xmlns:a16="http://schemas.microsoft.com/office/drawing/2014/main" id="{F200EC8D-575F-4E38-A993-C72FEBF618DE}"/>
              </a:ext>
            </a:extLst>
          </p:cNvPr>
          <p:cNvSpPr>
            <a:spLocks/>
          </p:cNvSpPr>
          <p:nvPr>
            <p:custDataLst>
              <p:tags r:id="rId34"/>
            </p:custDataLst>
          </p:nvPr>
        </p:nvSpPr>
        <p:spPr bwMode="auto">
          <a:xfrm>
            <a:off x="3095329" y="3528552"/>
            <a:ext cx="43867" cy="77247"/>
          </a:xfrm>
          <a:custGeom>
            <a:avLst/>
            <a:gdLst>
              <a:gd name="T0" fmla="*/ 0 w 80"/>
              <a:gd name="T1" fmla="*/ 44766232 h 34"/>
              <a:gd name="T2" fmla="*/ 157559 w 80"/>
              <a:gd name="T3" fmla="*/ 56705391 h 34"/>
              <a:gd name="T4" fmla="*/ 315119 w 80"/>
              <a:gd name="T5" fmla="*/ 62674107 h 34"/>
              <a:gd name="T6" fmla="*/ 630238 w 80"/>
              <a:gd name="T7" fmla="*/ 71626316 h 34"/>
              <a:gd name="T8" fmla="*/ 1102519 w 80"/>
              <a:gd name="T9" fmla="*/ 77596760 h 34"/>
              <a:gd name="T10" fmla="*/ 2047478 w 80"/>
              <a:gd name="T11" fmla="*/ 86548970 h 34"/>
              <a:gd name="T12" fmla="*/ 3465116 w 80"/>
              <a:gd name="T13" fmla="*/ 92517685 h 34"/>
              <a:gd name="T14" fmla="*/ 6300391 w 80"/>
              <a:gd name="T15" fmla="*/ 98486401 h 34"/>
              <a:gd name="T16" fmla="*/ 8505428 w 80"/>
              <a:gd name="T17" fmla="*/ 101471623 h 34"/>
              <a:gd name="T18" fmla="*/ 9135666 w 80"/>
              <a:gd name="T19" fmla="*/ 98486401 h 34"/>
              <a:gd name="T20" fmla="*/ 9765506 w 80"/>
              <a:gd name="T21" fmla="*/ 95502907 h 34"/>
              <a:gd name="T22" fmla="*/ 10238184 w 80"/>
              <a:gd name="T23" fmla="*/ 86548970 h 34"/>
              <a:gd name="T24" fmla="*/ 10553303 w 80"/>
              <a:gd name="T25" fmla="*/ 80580254 h 34"/>
              <a:gd name="T26" fmla="*/ 11498263 w 80"/>
              <a:gd name="T27" fmla="*/ 62674107 h 34"/>
              <a:gd name="T28" fmla="*/ 12600781 w 80"/>
              <a:gd name="T29" fmla="*/ 44766232 h 34"/>
              <a:gd name="T30" fmla="*/ 11813381 w 80"/>
              <a:gd name="T31" fmla="*/ 29845306 h 34"/>
              <a:gd name="T32" fmla="*/ 11025584 w 80"/>
              <a:gd name="T33" fmla="*/ 20891369 h 34"/>
              <a:gd name="T34" fmla="*/ 10238184 w 80"/>
              <a:gd name="T35" fmla="*/ 11937431 h 34"/>
              <a:gd name="T36" fmla="*/ 9450784 w 80"/>
              <a:gd name="T37" fmla="*/ 5968716 h 34"/>
              <a:gd name="T38" fmla="*/ 8662988 w 80"/>
              <a:gd name="T39" fmla="*/ 0 h 34"/>
              <a:gd name="T40" fmla="*/ 8033147 w 80"/>
              <a:gd name="T41" fmla="*/ 0 h 34"/>
              <a:gd name="T42" fmla="*/ 7087791 w 80"/>
              <a:gd name="T43" fmla="*/ 2985222 h 34"/>
              <a:gd name="T44" fmla="*/ 6457950 w 80"/>
              <a:gd name="T45" fmla="*/ 5968716 h 34"/>
              <a:gd name="T46" fmla="*/ 5355431 w 80"/>
              <a:gd name="T47" fmla="*/ 5968716 h 34"/>
              <a:gd name="T48" fmla="*/ 3307556 w 80"/>
              <a:gd name="T49" fmla="*/ 5968716 h 34"/>
              <a:gd name="T50" fmla="*/ 2047478 w 80"/>
              <a:gd name="T51" fmla="*/ 8953937 h 34"/>
              <a:gd name="T52" fmla="*/ 1102519 w 80"/>
              <a:gd name="T53" fmla="*/ 14922653 h 34"/>
              <a:gd name="T54" fmla="*/ 630238 w 80"/>
              <a:gd name="T55" fmla="*/ 20891369 h 34"/>
              <a:gd name="T56" fmla="*/ 315119 w 80"/>
              <a:gd name="T57" fmla="*/ 26860085 h 34"/>
              <a:gd name="T58" fmla="*/ 157559 w 80"/>
              <a:gd name="T59" fmla="*/ 32828800 h 34"/>
              <a:gd name="T60" fmla="*/ 0 w 80"/>
              <a:gd name="T61" fmla="*/ 44766232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06" name="Freeform 42">
            <a:extLst>
              <a:ext uri="{FF2B5EF4-FFF2-40B4-BE49-F238E27FC236}">
                <a16:creationId xmlns:a16="http://schemas.microsoft.com/office/drawing/2014/main" id="{E002DECD-3EB9-4515-83E8-BCF9920DF56C}"/>
              </a:ext>
            </a:extLst>
          </p:cNvPr>
          <p:cNvSpPr>
            <a:spLocks/>
          </p:cNvSpPr>
          <p:nvPr>
            <p:custDataLst>
              <p:tags r:id="rId35"/>
            </p:custDataLst>
          </p:nvPr>
        </p:nvSpPr>
        <p:spPr bwMode="auto">
          <a:xfrm>
            <a:off x="3172619" y="3536683"/>
            <a:ext cx="2089" cy="77247"/>
          </a:xfrm>
          <a:custGeom>
            <a:avLst/>
            <a:gdLst>
              <a:gd name="T0" fmla="*/ 0 w 7"/>
              <a:gd name="T1" fmla="*/ 0 h 13"/>
              <a:gd name="T2" fmla="*/ 360249 w 7"/>
              <a:gd name="T3" fmla="*/ 265387321 h 13"/>
              <a:gd name="T4" fmla="*/ 360249 w 7"/>
              <a:gd name="T5" fmla="*/ 142902603 h 13"/>
              <a:gd name="T6" fmla="*/ 0 60000 65536"/>
              <a:gd name="T7" fmla="*/ 0 60000 65536"/>
              <a:gd name="T8" fmla="*/ 0 60000 65536"/>
            </a:gdLst>
            <a:ahLst/>
            <a:cxnLst>
              <a:cxn ang="T6">
                <a:pos x="T0" y="T1"/>
              </a:cxn>
              <a:cxn ang="T7">
                <a:pos x="T2" y="T3"/>
              </a:cxn>
              <a:cxn ang="T8">
                <a:pos x="T4" y="T5"/>
              </a:cxn>
            </a:cxnLst>
            <a:rect l="0" t="0" r="r" b="b"/>
            <a:pathLst>
              <a:path w="7" h="13">
                <a:moveTo>
                  <a:pt x="0" y="0"/>
                </a:moveTo>
                <a:lnTo>
                  <a:pt x="7" y="13"/>
                </a:lnTo>
                <a:lnTo>
                  <a:pt x="7" y="7"/>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07" name="Freeform 43">
            <a:extLst>
              <a:ext uri="{FF2B5EF4-FFF2-40B4-BE49-F238E27FC236}">
                <a16:creationId xmlns:a16="http://schemas.microsoft.com/office/drawing/2014/main" id="{A7E08A82-EA00-4380-A3F2-324B772F13CD}"/>
              </a:ext>
            </a:extLst>
          </p:cNvPr>
          <p:cNvSpPr>
            <a:spLocks/>
          </p:cNvSpPr>
          <p:nvPr>
            <p:custDataLst>
              <p:tags r:id="rId36"/>
            </p:custDataLst>
          </p:nvPr>
        </p:nvSpPr>
        <p:spPr bwMode="auto">
          <a:xfrm>
            <a:off x="3189331" y="3538717"/>
            <a:ext cx="10446" cy="77247"/>
          </a:xfrm>
          <a:custGeom>
            <a:avLst/>
            <a:gdLst>
              <a:gd name="T0" fmla="*/ 0 w 20"/>
              <a:gd name="T1" fmla="*/ 0 h 6"/>
              <a:gd name="T2" fmla="*/ 705803 w 20"/>
              <a:gd name="T3" fmla="*/ 287512720 h 6"/>
              <a:gd name="T4" fmla="*/ 2016125 w 20"/>
              <a:gd name="T5" fmla="*/ 575025441 h 6"/>
              <a:gd name="T6" fmla="*/ 0 w 2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6">
                <a:moveTo>
                  <a:pt x="0" y="0"/>
                </a:moveTo>
                <a:lnTo>
                  <a:pt x="7" y="3"/>
                </a:lnTo>
                <a:lnTo>
                  <a:pt x="20" y="6"/>
                </a:lnTo>
                <a:lnTo>
                  <a:pt x="0"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08" name="Freeform 44">
            <a:extLst>
              <a:ext uri="{FF2B5EF4-FFF2-40B4-BE49-F238E27FC236}">
                <a16:creationId xmlns:a16="http://schemas.microsoft.com/office/drawing/2014/main" id="{B182675E-A8BD-4F96-AFF7-E691F3B492A8}"/>
              </a:ext>
            </a:extLst>
          </p:cNvPr>
          <p:cNvSpPr>
            <a:spLocks/>
          </p:cNvSpPr>
          <p:nvPr>
            <p:custDataLst>
              <p:tags r:id="rId37"/>
            </p:custDataLst>
          </p:nvPr>
        </p:nvSpPr>
        <p:spPr bwMode="auto">
          <a:xfrm>
            <a:off x="3210220" y="3526520"/>
            <a:ext cx="10446" cy="75213"/>
          </a:xfrm>
          <a:custGeom>
            <a:avLst/>
            <a:gdLst>
              <a:gd name="T0" fmla="*/ 0 w 14"/>
              <a:gd name="T1" fmla="*/ 272176875 h 12"/>
              <a:gd name="T2" fmla="*/ 4499712 w 14"/>
              <a:gd name="T3" fmla="*/ 0 h 12"/>
              <a:gd name="T4" fmla="*/ 0 w 14"/>
              <a:gd name="T5" fmla="*/ 272176875 h 12"/>
              <a:gd name="T6" fmla="*/ 0 60000 65536"/>
              <a:gd name="T7" fmla="*/ 0 60000 65536"/>
              <a:gd name="T8" fmla="*/ 0 60000 65536"/>
            </a:gdLst>
            <a:ahLst/>
            <a:cxnLst>
              <a:cxn ang="T6">
                <a:pos x="T0" y="T1"/>
              </a:cxn>
              <a:cxn ang="T7">
                <a:pos x="T2" y="T3"/>
              </a:cxn>
              <a:cxn ang="T8">
                <a:pos x="T4" y="T5"/>
              </a:cxn>
            </a:cxnLst>
            <a:rect l="0" t="0" r="r" b="b"/>
            <a:pathLst>
              <a:path w="14" h="12">
                <a:moveTo>
                  <a:pt x="0" y="12"/>
                </a:moveTo>
                <a:lnTo>
                  <a:pt x="14" y="0"/>
                </a:lnTo>
                <a:lnTo>
                  <a:pt x="0" y="12"/>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09" name="Freeform 45">
            <a:extLst>
              <a:ext uri="{FF2B5EF4-FFF2-40B4-BE49-F238E27FC236}">
                <a16:creationId xmlns:a16="http://schemas.microsoft.com/office/drawing/2014/main" id="{CF8CB3BD-8714-4298-9FF4-0EC48B3801D3}"/>
              </a:ext>
            </a:extLst>
          </p:cNvPr>
          <p:cNvSpPr>
            <a:spLocks/>
          </p:cNvSpPr>
          <p:nvPr>
            <p:custDataLst>
              <p:tags r:id="rId38"/>
            </p:custDataLst>
          </p:nvPr>
        </p:nvSpPr>
        <p:spPr bwMode="auto">
          <a:xfrm>
            <a:off x="3180975" y="3516356"/>
            <a:ext cx="14623" cy="77247"/>
          </a:xfrm>
          <a:custGeom>
            <a:avLst/>
            <a:gdLst>
              <a:gd name="T0" fmla="*/ 0 w 27"/>
              <a:gd name="T1" fmla="*/ 0 h 7"/>
              <a:gd name="T2" fmla="*/ 0 w 27"/>
              <a:gd name="T3" fmla="*/ 281635524 h 7"/>
              <a:gd name="T4" fmla="*/ 338741 w 27"/>
              <a:gd name="T5" fmla="*/ 422453286 h 7"/>
              <a:gd name="T6" fmla="*/ 1185798 w 27"/>
              <a:gd name="T7" fmla="*/ 492862167 h 7"/>
              <a:gd name="T8" fmla="*/ 1694115 w 27"/>
              <a:gd name="T9" fmla="*/ 492862167 h 7"/>
              <a:gd name="T10" fmla="*/ 2541173 w 27"/>
              <a:gd name="T11" fmla="*/ 422453286 h 7"/>
              <a:gd name="T12" fmla="*/ 3218654 w 27"/>
              <a:gd name="T13" fmla="*/ 281635524 h 7"/>
              <a:gd name="T14" fmla="*/ 3896547 w 27"/>
              <a:gd name="T15" fmla="*/ 140817762 h 7"/>
              <a:gd name="T16" fmla="*/ 4574028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10" name="Freeform 46">
            <a:extLst>
              <a:ext uri="{FF2B5EF4-FFF2-40B4-BE49-F238E27FC236}">
                <a16:creationId xmlns:a16="http://schemas.microsoft.com/office/drawing/2014/main" id="{FA8C92D7-7D85-4513-A4DC-AA0B314EF172}"/>
              </a:ext>
            </a:extLst>
          </p:cNvPr>
          <p:cNvSpPr>
            <a:spLocks/>
          </p:cNvSpPr>
          <p:nvPr>
            <p:custDataLst>
              <p:tags r:id="rId39"/>
            </p:custDataLst>
          </p:nvPr>
        </p:nvSpPr>
        <p:spPr bwMode="auto">
          <a:xfrm>
            <a:off x="3249911" y="3552946"/>
            <a:ext cx="18800" cy="79280"/>
          </a:xfrm>
          <a:custGeom>
            <a:avLst/>
            <a:gdLst>
              <a:gd name="T0" fmla="*/ 0 w 27"/>
              <a:gd name="T1" fmla="*/ 0 h 6"/>
              <a:gd name="T2" fmla="*/ 3080171 w 27"/>
              <a:gd name="T3" fmla="*/ 303263829 h 6"/>
              <a:gd name="T4" fmla="*/ 7559940 w 27"/>
              <a:gd name="T5" fmla="*/ 606517604 h 6"/>
              <a:gd name="T6" fmla="*/ 0 60000 65536"/>
              <a:gd name="T7" fmla="*/ 0 60000 65536"/>
              <a:gd name="T8" fmla="*/ 0 60000 65536"/>
            </a:gdLst>
            <a:ahLst/>
            <a:cxnLst>
              <a:cxn ang="T6">
                <a:pos x="T0" y="T1"/>
              </a:cxn>
              <a:cxn ang="T7">
                <a:pos x="T2" y="T3"/>
              </a:cxn>
              <a:cxn ang="T8">
                <a:pos x="T4" y="T5"/>
              </a:cxn>
            </a:cxnLst>
            <a:rect l="0" t="0" r="r" b="b"/>
            <a:pathLst>
              <a:path w="27" h="6">
                <a:moveTo>
                  <a:pt x="0" y="0"/>
                </a:moveTo>
                <a:lnTo>
                  <a:pt x="11" y="3"/>
                </a:lnTo>
                <a:lnTo>
                  <a:pt x="27" y="6"/>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11" name="Line 47">
            <a:extLst>
              <a:ext uri="{FF2B5EF4-FFF2-40B4-BE49-F238E27FC236}">
                <a16:creationId xmlns:a16="http://schemas.microsoft.com/office/drawing/2014/main" id="{84253A81-64CC-4D2A-9653-E09332B1BA81}"/>
              </a:ext>
            </a:extLst>
          </p:cNvPr>
          <p:cNvSpPr>
            <a:spLocks noChangeShapeType="1"/>
          </p:cNvSpPr>
          <p:nvPr>
            <p:custDataLst>
              <p:tags r:id="rId40"/>
            </p:custDataLst>
          </p:nvPr>
        </p:nvSpPr>
        <p:spPr bwMode="auto">
          <a:xfrm flipH="1" flipV="1">
            <a:off x="3260354" y="3548880"/>
            <a:ext cx="8355" cy="12197"/>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12" name="Line 48">
            <a:extLst>
              <a:ext uri="{FF2B5EF4-FFF2-40B4-BE49-F238E27FC236}">
                <a16:creationId xmlns:a16="http://schemas.microsoft.com/office/drawing/2014/main" id="{21EDB32F-AD91-4915-8932-B7A4F823F949}"/>
              </a:ext>
            </a:extLst>
          </p:cNvPr>
          <p:cNvSpPr>
            <a:spLocks noChangeShapeType="1"/>
          </p:cNvSpPr>
          <p:nvPr>
            <p:custDataLst>
              <p:tags r:id="rId41"/>
            </p:custDataLst>
          </p:nvPr>
        </p:nvSpPr>
        <p:spPr bwMode="auto">
          <a:xfrm flipH="1">
            <a:off x="3260354" y="3583439"/>
            <a:ext cx="8355" cy="14229"/>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13" name="Freeform 49">
            <a:extLst>
              <a:ext uri="{FF2B5EF4-FFF2-40B4-BE49-F238E27FC236}">
                <a16:creationId xmlns:a16="http://schemas.microsoft.com/office/drawing/2014/main" id="{BF1550DC-FDED-45D8-9249-D4915E023E36}"/>
              </a:ext>
            </a:extLst>
          </p:cNvPr>
          <p:cNvSpPr>
            <a:spLocks/>
          </p:cNvSpPr>
          <p:nvPr>
            <p:custDataLst>
              <p:tags r:id="rId42"/>
            </p:custDataLst>
          </p:nvPr>
        </p:nvSpPr>
        <p:spPr bwMode="auto">
          <a:xfrm>
            <a:off x="3260354" y="3577340"/>
            <a:ext cx="16712" cy="75216"/>
          </a:xfrm>
          <a:custGeom>
            <a:avLst/>
            <a:gdLst>
              <a:gd name="T0" fmla="*/ 0 w 20"/>
              <a:gd name="T1" fmla="*/ 143756360 h 24"/>
              <a:gd name="T2" fmla="*/ 617327 w 20"/>
              <a:gd name="T3" fmla="*/ 143756360 h 24"/>
              <a:gd name="T4" fmla="*/ 1852537 w 20"/>
              <a:gd name="T5" fmla="*/ 131776256 h 24"/>
              <a:gd name="T6" fmla="*/ 2778806 w 20"/>
              <a:gd name="T7" fmla="*/ 119796151 h 24"/>
              <a:gd name="T8" fmla="*/ 3705074 w 20"/>
              <a:gd name="T9" fmla="*/ 95838389 h 24"/>
              <a:gd name="T10" fmla="*/ 4631343 w 20"/>
              <a:gd name="T11" fmla="*/ 77867009 h 24"/>
              <a:gd name="T12" fmla="*/ 5557611 w 20"/>
              <a:gd name="T13" fmla="*/ 53909247 h 24"/>
              <a:gd name="T14" fmla="*/ 5865997 w 20"/>
              <a:gd name="T15" fmla="*/ 23960209 h 24"/>
              <a:gd name="T16" fmla="*/ 6174938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14" name="Freeform 50">
            <a:extLst>
              <a:ext uri="{FF2B5EF4-FFF2-40B4-BE49-F238E27FC236}">
                <a16:creationId xmlns:a16="http://schemas.microsoft.com/office/drawing/2014/main" id="{081BBC0E-7658-4CE6-B511-BDDF728BF9FC}"/>
              </a:ext>
            </a:extLst>
          </p:cNvPr>
          <p:cNvSpPr>
            <a:spLocks/>
          </p:cNvSpPr>
          <p:nvPr>
            <p:custDataLst>
              <p:tags r:id="rId43"/>
            </p:custDataLst>
          </p:nvPr>
        </p:nvSpPr>
        <p:spPr bwMode="auto">
          <a:xfrm>
            <a:off x="3268710" y="3613930"/>
            <a:ext cx="25067" cy="71150"/>
          </a:xfrm>
          <a:custGeom>
            <a:avLst/>
            <a:gdLst>
              <a:gd name="T0" fmla="*/ 3640242 w 33"/>
              <a:gd name="T1" fmla="*/ 34577966 h 25"/>
              <a:gd name="T2" fmla="*/ 0 w 33"/>
              <a:gd name="T3" fmla="*/ 93852575 h 25"/>
              <a:gd name="T4" fmla="*/ 2800430 w 33"/>
              <a:gd name="T5" fmla="*/ 98791014 h 25"/>
              <a:gd name="T6" fmla="*/ 5320394 w 33"/>
              <a:gd name="T7" fmla="*/ 108670115 h 25"/>
              <a:gd name="T8" fmla="*/ 7560950 w 33"/>
              <a:gd name="T9" fmla="*/ 123489879 h 25"/>
              <a:gd name="T10" fmla="*/ 9241102 w 33"/>
              <a:gd name="T11" fmla="*/ 123489879 h 25"/>
              <a:gd name="T12" fmla="*/ 9241102 w 33"/>
              <a:gd name="T13" fmla="*/ 0 h 25"/>
              <a:gd name="T14" fmla="*/ 7560950 w 33"/>
              <a:gd name="T15" fmla="*/ 0 h 25"/>
              <a:gd name="T16" fmla="*/ 3640242 w 33"/>
              <a:gd name="T17" fmla="*/ 34577966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15" name="Freeform 51">
            <a:extLst>
              <a:ext uri="{FF2B5EF4-FFF2-40B4-BE49-F238E27FC236}">
                <a16:creationId xmlns:a16="http://schemas.microsoft.com/office/drawing/2014/main" id="{F6F8925E-FBC6-48FA-8AB1-26BDF32E7A62}"/>
              </a:ext>
            </a:extLst>
          </p:cNvPr>
          <p:cNvSpPr>
            <a:spLocks/>
          </p:cNvSpPr>
          <p:nvPr>
            <p:custDataLst>
              <p:tags r:id="rId44"/>
            </p:custDataLst>
          </p:nvPr>
        </p:nvSpPr>
        <p:spPr bwMode="auto">
          <a:xfrm>
            <a:off x="3279155" y="3674915"/>
            <a:ext cx="20889" cy="75216"/>
          </a:xfrm>
          <a:custGeom>
            <a:avLst/>
            <a:gdLst>
              <a:gd name="T0" fmla="*/ 0 w 40"/>
              <a:gd name="T1" fmla="*/ 0 h 18"/>
              <a:gd name="T2" fmla="*/ 472678 w 40"/>
              <a:gd name="T3" fmla="*/ 60483750 h 18"/>
              <a:gd name="T4" fmla="*/ 944959 w 40"/>
              <a:gd name="T5" fmla="*/ 110886875 h 18"/>
              <a:gd name="T6" fmla="*/ 1575197 w 40"/>
              <a:gd name="T7" fmla="*/ 141128750 h 18"/>
              <a:gd name="T8" fmla="*/ 2362597 w 40"/>
              <a:gd name="T9" fmla="*/ 161290000 h 18"/>
              <a:gd name="T10" fmla="*/ 4252913 w 40"/>
              <a:gd name="T11" fmla="*/ 181451250 h 18"/>
              <a:gd name="T12" fmla="*/ 6300391 w 40"/>
              <a:gd name="T13" fmla="*/ 181451250 h 18"/>
              <a:gd name="T14" fmla="*/ 6300391 w 40"/>
              <a:gd name="T15" fmla="*/ 0 h 18"/>
              <a:gd name="T16" fmla="*/ 4725194 w 40"/>
              <a:gd name="T17" fmla="*/ 0 h 18"/>
              <a:gd name="T18" fmla="*/ 3150394 w 40"/>
              <a:gd name="T19" fmla="*/ 0 h 18"/>
              <a:gd name="T20" fmla="*/ 1575197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16" name="Freeform 52">
            <a:extLst>
              <a:ext uri="{FF2B5EF4-FFF2-40B4-BE49-F238E27FC236}">
                <a16:creationId xmlns:a16="http://schemas.microsoft.com/office/drawing/2014/main" id="{C2A68A91-2D04-4D9B-8AC6-EA0EFCB9FCFC}"/>
              </a:ext>
            </a:extLst>
          </p:cNvPr>
          <p:cNvSpPr>
            <a:spLocks/>
          </p:cNvSpPr>
          <p:nvPr>
            <p:custDataLst>
              <p:tags r:id="rId45"/>
            </p:custDataLst>
          </p:nvPr>
        </p:nvSpPr>
        <p:spPr bwMode="auto">
          <a:xfrm>
            <a:off x="3291689" y="3709475"/>
            <a:ext cx="4178" cy="73182"/>
          </a:xfrm>
          <a:custGeom>
            <a:avLst/>
            <a:gdLst>
              <a:gd name="T0" fmla="*/ 333375 w 11"/>
              <a:gd name="T1" fmla="*/ 102066328 h 32"/>
              <a:gd name="T2" fmla="*/ 499918 w 11"/>
              <a:gd name="T3" fmla="*/ 89307591 h 32"/>
              <a:gd name="T4" fmla="*/ 666461 w 11"/>
              <a:gd name="T5" fmla="*/ 79738538 h 32"/>
              <a:gd name="T6" fmla="*/ 749877 w 11"/>
              <a:gd name="T7" fmla="*/ 70171270 h 32"/>
              <a:gd name="T8" fmla="*/ 833005 w 11"/>
              <a:gd name="T9" fmla="*/ 57412533 h 32"/>
              <a:gd name="T10" fmla="*/ 916420 w 11"/>
              <a:gd name="T11" fmla="*/ 28705373 h 32"/>
              <a:gd name="T12" fmla="*/ 916420 w 11"/>
              <a:gd name="T13" fmla="*/ 0 h 32"/>
              <a:gd name="T14" fmla="*/ 499918 w 11"/>
              <a:gd name="T15" fmla="*/ 9569053 h 32"/>
              <a:gd name="T16" fmla="*/ 249959 w 11"/>
              <a:gd name="T17" fmla="*/ 22327791 h 32"/>
              <a:gd name="T18" fmla="*/ 83416 w 11"/>
              <a:gd name="T19" fmla="*/ 35084742 h 32"/>
              <a:gd name="T20" fmla="*/ 0 w 11"/>
              <a:gd name="T21" fmla="*/ 51033164 h 32"/>
              <a:gd name="T22" fmla="*/ 0 w 11"/>
              <a:gd name="T23" fmla="*/ 63791902 h 32"/>
              <a:gd name="T24" fmla="*/ 83416 w 11"/>
              <a:gd name="T25" fmla="*/ 76550639 h 32"/>
              <a:gd name="T26" fmla="*/ 166543 w 11"/>
              <a:gd name="T27" fmla="*/ 89307591 h 32"/>
              <a:gd name="T28" fmla="*/ 333375 w 11"/>
              <a:gd name="T29" fmla="*/ 102066328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17" name="Freeform 53">
            <a:extLst>
              <a:ext uri="{FF2B5EF4-FFF2-40B4-BE49-F238E27FC236}">
                <a16:creationId xmlns:a16="http://schemas.microsoft.com/office/drawing/2014/main" id="{3318B1C1-2B61-4556-A373-76A236DC46ED}"/>
              </a:ext>
            </a:extLst>
          </p:cNvPr>
          <p:cNvSpPr>
            <a:spLocks/>
          </p:cNvSpPr>
          <p:nvPr>
            <p:custDataLst>
              <p:tags r:id="rId46"/>
            </p:custDataLst>
          </p:nvPr>
        </p:nvSpPr>
        <p:spPr bwMode="auto">
          <a:xfrm>
            <a:off x="3323022" y="3748097"/>
            <a:ext cx="2089" cy="71150"/>
          </a:xfrm>
          <a:custGeom>
            <a:avLst/>
            <a:gdLst>
              <a:gd name="T0" fmla="*/ 0 w 14"/>
              <a:gd name="T1" fmla="*/ 0 h 24"/>
              <a:gd name="T2" fmla="*/ 0 w 14"/>
              <a:gd name="T3" fmla="*/ 128630660 h 24"/>
              <a:gd name="T4" fmla="*/ 180125 w 14"/>
              <a:gd name="T5" fmla="*/ 64315330 h 24"/>
              <a:gd name="T6" fmla="*/ 0 w 14"/>
              <a:gd name="T7" fmla="*/ 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4">
                <a:moveTo>
                  <a:pt x="0" y="0"/>
                </a:moveTo>
                <a:lnTo>
                  <a:pt x="0" y="24"/>
                </a:lnTo>
                <a:lnTo>
                  <a:pt x="14" y="12"/>
                </a:lnTo>
                <a:lnTo>
                  <a:pt x="0"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18" name="Freeform 54">
            <a:extLst>
              <a:ext uri="{FF2B5EF4-FFF2-40B4-BE49-F238E27FC236}">
                <a16:creationId xmlns:a16="http://schemas.microsoft.com/office/drawing/2014/main" id="{CB36162B-D940-4914-B75F-4F4E38E7EF6D}"/>
              </a:ext>
            </a:extLst>
          </p:cNvPr>
          <p:cNvSpPr>
            <a:spLocks/>
          </p:cNvSpPr>
          <p:nvPr>
            <p:custDataLst>
              <p:tags r:id="rId47"/>
            </p:custDataLst>
          </p:nvPr>
        </p:nvSpPr>
        <p:spPr bwMode="auto">
          <a:xfrm>
            <a:off x="3268710" y="3764360"/>
            <a:ext cx="22979" cy="77247"/>
          </a:xfrm>
          <a:custGeom>
            <a:avLst/>
            <a:gdLst>
              <a:gd name="T0" fmla="*/ 0 w 27"/>
              <a:gd name="T1" fmla="*/ 127779080 h 18"/>
              <a:gd name="T2" fmla="*/ 2420056 w 27"/>
              <a:gd name="T3" fmla="*/ 159725482 h 18"/>
              <a:gd name="T4" fmla="*/ 4494389 w 27"/>
              <a:gd name="T5" fmla="*/ 191668621 h 18"/>
              <a:gd name="T6" fmla="*/ 7605301 w 27"/>
              <a:gd name="T7" fmla="*/ 74537253 h 18"/>
              <a:gd name="T8" fmla="*/ 9333912 w 27"/>
              <a:gd name="T9" fmla="*/ 0 h 18"/>
              <a:gd name="T10" fmla="*/ 7605301 w 27"/>
              <a:gd name="T11" fmla="*/ 0 h 18"/>
              <a:gd name="T12" fmla="*/ 6222412 w 27"/>
              <a:gd name="T13" fmla="*/ 10647713 h 18"/>
              <a:gd name="T14" fmla="*/ 4494389 w 27"/>
              <a:gd name="T15" fmla="*/ 21295426 h 18"/>
              <a:gd name="T16" fmla="*/ 3457222 w 27"/>
              <a:gd name="T17" fmla="*/ 42594115 h 18"/>
              <a:gd name="T18" fmla="*/ 1728611 w 27"/>
              <a:gd name="T19" fmla="*/ 85184966 h 18"/>
              <a:gd name="T20" fmla="*/ 0 w 27"/>
              <a:gd name="T21" fmla="*/ 127779080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19" name="Freeform 55">
            <a:extLst>
              <a:ext uri="{FF2B5EF4-FFF2-40B4-BE49-F238E27FC236}">
                <a16:creationId xmlns:a16="http://schemas.microsoft.com/office/drawing/2014/main" id="{6ADE297A-C822-487B-9C60-A06D40BBB0D9}"/>
              </a:ext>
            </a:extLst>
          </p:cNvPr>
          <p:cNvSpPr>
            <a:spLocks/>
          </p:cNvSpPr>
          <p:nvPr>
            <p:custDataLst>
              <p:tags r:id="rId48"/>
            </p:custDataLst>
          </p:nvPr>
        </p:nvSpPr>
        <p:spPr bwMode="auto">
          <a:xfrm>
            <a:off x="3249911" y="3849738"/>
            <a:ext cx="33423" cy="73182"/>
          </a:xfrm>
          <a:custGeom>
            <a:avLst/>
            <a:gdLst>
              <a:gd name="T0" fmla="*/ 0 w 47"/>
              <a:gd name="T1" fmla="*/ 48971718 h 49"/>
              <a:gd name="T2" fmla="*/ 256866 w 47"/>
              <a:gd name="T3" fmla="*/ 53052695 h 49"/>
              <a:gd name="T4" fmla="*/ 513225 w 47"/>
              <a:gd name="T5" fmla="*/ 55772568 h 49"/>
              <a:gd name="T6" fmla="*/ 1026956 w 47"/>
              <a:gd name="T7" fmla="*/ 58493608 h 49"/>
              <a:gd name="T8" fmla="*/ 1540180 w 47"/>
              <a:gd name="T9" fmla="*/ 61214648 h 49"/>
              <a:gd name="T10" fmla="*/ 3080361 w 47"/>
              <a:gd name="T11" fmla="*/ 65295624 h 49"/>
              <a:gd name="T12" fmla="*/ 3593585 w 47"/>
              <a:gd name="T13" fmla="*/ 66655561 h 49"/>
              <a:gd name="T14" fmla="*/ 4620035 w 47"/>
              <a:gd name="T15" fmla="*/ 66655561 h 49"/>
              <a:gd name="T16" fmla="*/ 6160215 w 47"/>
              <a:gd name="T17" fmla="*/ 62574585 h 49"/>
              <a:gd name="T18" fmla="*/ 7444037 w 47"/>
              <a:gd name="T19" fmla="*/ 57133671 h 49"/>
              <a:gd name="T20" fmla="*/ 8983710 w 47"/>
              <a:gd name="T21" fmla="*/ 53052695 h 49"/>
              <a:gd name="T22" fmla="*/ 10010666 w 47"/>
              <a:gd name="T23" fmla="*/ 47610615 h 49"/>
              <a:gd name="T24" fmla="*/ 11293981 w 47"/>
              <a:gd name="T25" fmla="*/ 42169702 h 49"/>
              <a:gd name="T26" fmla="*/ 11807206 w 47"/>
              <a:gd name="T27" fmla="*/ 36728789 h 49"/>
              <a:gd name="T28" fmla="*/ 12064071 w 47"/>
              <a:gd name="T29" fmla="*/ 32647812 h 49"/>
              <a:gd name="T30" fmla="*/ 12064071 w 47"/>
              <a:gd name="T31" fmla="*/ 16323906 h 49"/>
              <a:gd name="T32" fmla="*/ 12064071 w 47"/>
              <a:gd name="T33" fmla="*/ 0 h 49"/>
              <a:gd name="T34" fmla="*/ 6930305 w 47"/>
              <a:gd name="T35" fmla="*/ 0 h 49"/>
              <a:gd name="T36" fmla="*/ 4363676 w 47"/>
              <a:gd name="T37" fmla="*/ 10882993 h 49"/>
              <a:gd name="T38" fmla="*/ 2310271 w 47"/>
              <a:gd name="T39" fmla="*/ 21764819 h 49"/>
              <a:gd name="T40" fmla="*/ 1283315 w 47"/>
              <a:gd name="T41" fmla="*/ 27206899 h 49"/>
              <a:gd name="T42" fmla="*/ 513225 w 47"/>
              <a:gd name="T43" fmla="*/ 34007749 h 49"/>
              <a:gd name="T44" fmla="*/ 256866 w 47"/>
              <a:gd name="T45" fmla="*/ 40809765 h 49"/>
              <a:gd name="T46" fmla="*/ 0 w 47"/>
              <a:gd name="T47" fmla="*/ 48971718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20" name="Freeform 56">
            <a:extLst>
              <a:ext uri="{FF2B5EF4-FFF2-40B4-BE49-F238E27FC236}">
                <a16:creationId xmlns:a16="http://schemas.microsoft.com/office/drawing/2014/main" id="{CBA48DF1-9282-4517-996B-A782A57441DA}"/>
              </a:ext>
            </a:extLst>
          </p:cNvPr>
          <p:cNvSpPr>
            <a:spLocks/>
          </p:cNvSpPr>
          <p:nvPr>
            <p:custDataLst>
              <p:tags r:id="rId49"/>
            </p:custDataLst>
          </p:nvPr>
        </p:nvSpPr>
        <p:spPr bwMode="auto">
          <a:xfrm>
            <a:off x="3270800" y="3746065"/>
            <a:ext cx="16712" cy="73182"/>
          </a:xfrm>
          <a:custGeom>
            <a:avLst/>
            <a:gdLst>
              <a:gd name="T0" fmla="*/ 0 w 26"/>
              <a:gd name="T1" fmla="*/ 0 h 9"/>
              <a:gd name="T2" fmla="*/ 0 w 26"/>
              <a:gd name="T3" fmla="*/ 161290000 h 9"/>
              <a:gd name="T4" fmla="*/ 715596 w 26"/>
              <a:gd name="T5" fmla="*/ 282257500 h 9"/>
              <a:gd name="T6" fmla="*/ 1431681 w 26"/>
              <a:gd name="T7" fmla="*/ 322580000 h 9"/>
              <a:gd name="T8" fmla="*/ 2624504 w 26"/>
              <a:gd name="T9" fmla="*/ 362902500 h 9"/>
              <a:gd name="T10" fmla="*/ 3578958 w 26"/>
              <a:gd name="T11" fmla="*/ 322580000 h 9"/>
              <a:gd name="T12" fmla="*/ 4771781 w 26"/>
              <a:gd name="T13" fmla="*/ 282257500 h 9"/>
              <a:gd name="T14" fmla="*/ 5487865 w 26"/>
              <a:gd name="T15" fmla="*/ 161290000 h 9"/>
              <a:gd name="T16" fmla="*/ 6203462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0872A6"/>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21" name="Freeform 57">
            <a:extLst>
              <a:ext uri="{FF2B5EF4-FFF2-40B4-BE49-F238E27FC236}">
                <a16:creationId xmlns:a16="http://schemas.microsoft.com/office/drawing/2014/main" id="{414E7C6E-7C73-4DDA-A1EF-9F97C38AA6D1}"/>
              </a:ext>
            </a:extLst>
          </p:cNvPr>
          <p:cNvSpPr>
            <a:spLocks/>
          </p:cNvSpPr>
          <p:nvPr>
            <p:custDataLst>
              <p:tags r:id="rId50"/>
            </p:custDataLst>
          </p:nvPr>
        </p:nvSpPr>
        <p:spPr bwMode="auto">
          <a:xfrm>
            <a:off x="2556387" y="3390320"/>
            <a:ext cx="20889" cy="75216"/>
          </a:xfrm>
          <a:custGeom>
            <a:avLst/>
            <a:gdLst>
              <a:gd name="T0" fmla="*/ 0 w 39"/>
              <a:gd name="T1" fmla="*/ 0 h 18"/>
              <a:gd name="T2" fmla="*/ 0 w 39"/>
              <a:gd name="T3" fmla="*/ 181451250 h 18"/>
              <a:gd name="T4" fmla="*/ 994019 w 39"/>
              <a:gd name="T5" fmla="*/ 181451250 h 18"/>
              <a:gd name="T6" fmla="*/ 2154115 w 39"/>
              <a:gd name="T7" fmla="*/ 181451250 h 18"/>
              <a:gd name="T8" fmla="*/ 3810814 w 39"/>
              <a:gd name="T9" fmla="*/ 171370625 h 18"/>
              <a:gd name="T10" fmla="*/ 4970910 w 39"/>
              <a:gd name="T11" fmla="*/ 141128750 h 18"/>
              <a:gd name="T12" fmla="*/ 5633590 w 39"/>
              <a:gd name="T13" fmla="*/ 120967500 h 18"/>
              <a:gd name="T14" fmla="*/ 6130599 w 39"/>
              <a:gd name="T15" fmla="*/ 100806250 h 18"/>
              <a:gd name="T16" fmla="*/ 6296269 w 39"/>
              <a:gd name="T17" fmla="*/ 80645000 h 18"/>
              <a:gd name="T18" fmla="*/ 6461939 w 39"/>
              <a:gd name="T19" fmla="*/ 60483750 h 18"/>
              <a:gd name="T20" fmla="*/ 4804833 w 39"/>
              <a:gd name="T21" fmla="*/ 50403125 h 18"/>
              <a:gd name="T22" fmla="*/ 3148135 w 39"/>
              <a:gd name="T23" fmla="*/ 30241875 h 18"/>
              <a:gd name="T24" fmla="*/ 1657106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nvGrpSpPr>
          <p:cNvPr id="622" name="Group 58">
            <a:extLst>
              <a:ext uri="{FF2B5EF4-FFF2-40B4-BE49-F238E27FC236}">
                <a16:creationId xmlns:a16="http://schemas.microsoft.com/office/drawing/2014/main" id="{DAFBA259-16DC-476F-8C63-904790089B5B}"/>
              </a:ext>
            </a:extLst>
          </p:cNvPr>
          <p:cNvGrpSpPr>
            <a:grpSpLocks/>
          </p:cNvGrpSpPr>
          <p:nvPr>
            <p:custDataLst>
              <p:tags r:id="rId51"/>
            </p:custDataLst>
          </p:nvPr>
        </p:nvGrpSpPr>
        <p:grpSpPr bwMode="auto">
          <a:xfrm>
            <a:off x="2730397" y="3174062"/>
            <a:ext cx="183385" cy="253861"/>
            <a:chOff x="1199" y="2121"/>
            <a:chExt cx="97" cy="123"/>
          </a:xfrm>
          <a:solidFill>
            <a:schemeClr val="bg1">
              <a:lumMod val="65000"/>
            </a:schemeClr>
          </a:solidFill>
        </p:grpSpPr>
        <p:sp>
          <p:nvSpPr>
            <p:cNvPr id="1104" name="Freeform 59">
              <a:extLst>
                <a:ext uri="{FF2B5EF4-FFF2-40B4-BE49-F238E27FC236}">
                  <a16:creationId xmlns:a16="http://schemas.microsoft.com/office/drawing/2014/main" id="{5F8E47C9-E928-4A31-9DEA-E277FD6FB7D3}"/>
                </a:ext>
              </a:extLst>
            </p:cNvPr>
            <p:cNvSpPr>
              <a:spLocks/>
            </p:cNvSpPr>
            <p:nvPr/>
          </p:nvSpPr>
          <p:spPr bwMode="auto">
            <a:xfrm>
              <a:off x="1274" y="2236"/>
              <a:ext cx="16" cy="8"/>
            </a:xfrm>
            <a:custGeom>
              <a:avLst/>
              <a:gdLst>
                <a:gd name="T0" fmla="*/ 0 w 52"/>
                <a:gd name="T1" fmla="*/ 3 h 25"/>
                <a:gd name="T2" fmla="*/ 1 w 52"/>
                <a:gd name="T3" fmla="*/ 3 h 25"/>
                <a:gd name="T4" fmla="*/ 2 w 52"/>
                <a:gd name="T5" fmla="*/ 3 h 25"/>
                <a:gd name="T6" fmla="*/ 2 w 52"/>
                <a:gd name="T7" fmla="*/ 2 h 25"/>
                <a:gd name="T8" fmla="*/ 3 w 52"/>
                <a:gd name="T9" fmla="*/ 2 h 25"/>
                <a:gd name="T10" fmla="*/ 4 w 52"/>
                <a:gd name="T11" fmla="*/ 2 h 25"/>
                <a:gd name="T12" fmla="*/ 4 w 52"/>
                <a:gd name="T13" fmla="*/ 1 h 25"/>
                <a:gd name="T14" fmla="*/ 5 w 52"/>
                <a:gd name="T15" fmla="*/ 1 h 25"/>
                <a:gd name="T16" fmla="*/ 5 w 52"/>
                <a:gd name="T17" fmla="*/ 0 h 25"/>
                <a:gd name="T18" fmla="*/ 4 w 52"/>
                <a:gd name="T19" fmla="*/ 0 h 25"/>
                <a:gd name="T20" fmla="*/ 3 w 52"/>
                <a:gd name="T21" fmla="*/ 0 h 25"/>
                <a:gd name="T22" fmla="*/ 2 w 52"/>
                <a:gd name="T23" fmla="*/ 0 h 25"/>
                <a:gd name="T24" fmla="*/ 2 w 52"/>
                <a:gd name="T25" fmla="*/ 0 h 25"/>
                <a:gd name="T26" fmla="*/ 1 w 52"/>
                <a:gd name="T27" fmla="*/ 1 h 25"/>
                <a:gd name="T28" fmla="*/ 1 w 52"/>
                <a:gd name="T29" fmla="*/ 1 h 25"/>
                <a:gd name="T30" fmla="*/ 0 w 52"/>
                <a:gd name="T31" fmla="*/ 2 h 25"/>
                <a:gd name="T32" fmla="*/ 0 w 52"/>
                <a:gd name="T33" fmla="*/ 3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105" name="Freeform 60">
              <a:extLst>
                <a:ext uri="{FF2B5EF4-FFF2-40B4-BE49-F238E27FC236}">
                  <a16:creationId xmlns:a16="http://schemas.microsoft.com/office/drawing/2014/main" id="{E4BFE394-4EA2-4FBD-83A3-F5E5013FF793}"/>
                </a:ext>
              </a:extLst>
            </p:cNvPr>
            <p:cNvSpPr>
              <a:spLocks/>
            </p:cNvSpPr>
            <p:nvPr/>
          </p:nvSpPr>
          <p:spPr bwMode="auto">
            <a:xfrm>
              <a:off x="1199" y="2131"/>
              <a:ext cx="11" cy="4"/>
            </a:xfrm>
            <a:custGeom>
              <a:avLst/>
              <a:gdLst>
                <a:gd name="T0" fmla="*/ 0 w 33"/>
                <a:gd name="T1" fmla="*/ 0 h 13"/>
                <a:gd name="T2" fmla="*/ 0 w 33"/>
                <a:gd name="T3" fmla="*/ 1 h 13"/>
                <a:gd name="T4" fmla="*/ 0 w 33"/>
                <a:gd name="T5" fmla="*/ 1 h 13"/>
                <a:gd name="T6" fmla="*/ 1 w 33"/>
                <a:gd name="T7" fmla="*/ 1 h 13"/>
                <a:gd name="T8" fmla="*/ 2 w 33"/>
                <a:gd name="T9" fmla="*/ 1 h 13"/>
                <a:gd name="T10" fmla="*/ 3 w 33"/>
                <a:gd name="T11" fmla="*/ 1 h 13"/>
                <a:gd name="T12" fmla="*/ 4 w 33"/>
                <a:gd name="T13" fmla="*/ 1 h 13"/>
                <a:gd name="T14" fmla="*/ 3 w 33"/>
                <a:gd name="T15" fmla="*/ 0 h 13"/>
                <a:gd name="T16" fmla="*/ 2 w 33"/>
                <a:gd name="T17" fmla="*/ 0 h 13"/>
                <a:gd name="T18" fmla="*/ 1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106" name="Freeform 61">
              <a:extLst>
                <a:ext uri="{FF2B5EF4-FFF2-40B4-BE49-F238E27FC236}">
                  <a16:creationId xmlns:a16="http://schemas.microsoft.com/office/drawing/2014/main" id="{E1007061-7039-400D-BB37-74E7A0A9266E}"/>
                </a:ext>
              </a:extLst>
            </p:cNvPr>
            <p:cNvSpPr>
              <a:spLocks/>
            </p:cNvSpPr>
            <p:nvPr/>
          </p:nvSpPr>
          <p:spPr bwMode="auto">
            <a:xfrm>
              <a:off x="1210" y="2121"/>
              <a:ext cx="20" cy="28"/>
            </a:xfrm>
            <a:custGeom>
              <a:avLst/>
              <a:gdLst>
                <a:gd name="T0" fmla="*/ 2 w 67"/>
                <a:gd name="T1" fmla="*/ 2 h 86"/>
                <a:gd name="T2" fmla="*/ 0 w 67"/>
                <a:gd name="T3" fmla="*/ 0 h 86"/>
                <a:gd name="T4" fmla="*/ 2 w 67"/>
                <a:gd name="T5" fmla="*/ 0 h 86"/>
                <a:gd name="T6" fmla="*/ 3 w 67"/>
                <a:gd name="T7" fmla="*/ 0 h 86"/>
                <a:gd name="T8" fmla="*/ 3 w 67"/>
                <a:gd name="T9" fmla="*/ 1 h 86"/>
                <a:gd name="T10" fmla="*/ 3 w 67"/>
                <a:gd name="T11" fmla="*/ 1 h 86"/>
                <a:gd name="T12" fmla="*/ 4 w 67"/>
                <a:gd name="T13" fmla="*/ 2 h 86"/>
                <a:gd name="T14" fmla="*/ 4 w 67"/>
                <a:gd name="T15" fmla="*/ 2 h 86"/>
                <a:gd name="T16" fmla="*/ 5 w 67"/>
                <a:gd name="T17" fmla="*/ 2 h 86"/>
                <a:gd name="T18" fmla="*/ 5 w 67"/>
                <a:gd name="T19" fmla="*/ 3 h 86"/>
                <a:gd name="T20" fmla="*/ 6 w 67"/>
                <a:gd name="T21" fmla="*/ 4 h 86"/>
                <a:gd name="T22" fmla="*/ 6 w 67"/>
                <a:gd name="T23" fmla="*/ 5 h 86"/>
                <a:gd name="T24" fmla="*/ 6 w 67"/>
                <a:gd name="T25" fmla="*/ 5 h 86"/>
                <a:gd name="T26" fmla="*/ 6 w 67"/>
                <a:gd name="T27" fmla="*/ 6 h 86"/>
                <a:gd name="T28" fmla="*/ 6 w 67"/>
                <a:gd name="T29" fmla="*/ 7 h 86"/>
                <a:gd name="T30" fmla="*/ 6 w 67"/>
                <a:gd name="T31" fmla="*/ 8 h 86"/>
                <a:gd name="T32" fmla="*/ 5 w 67"/>
                <a:gd name="T33" fmla="*/ 9 h 86"/>
                <a:gd name="T34" fmla="*/ 5 w 67"/>
                <a:gd name="T35" fmla="*/ 7 h 86"/>
                <a:gd name="T36" fmla="*/ 4 w 67"/>
                <a:gd name="T37" fmla="*/ 6 h 86"/>
                <a:gd name="T38" fmla="*/ 4 w 67"/>
                <a:gd name="T39" fmla="*/ 5 h 86"/>
                <a:gd name="T40" fmla="*/ 4 w 67"/>
                <a:gd name="T41" fmla="*/ 4 h 86"/>
                <a:gd name="T42" fmla="*/ 4 w 67"/>
                <a:gd name="T43" fmla="*/ 4 h 86"/>
                <a:gd name="T44" fmla="*/ 5 w 67"/>
                <a:gd name="T45" fmla="*/ 3 h 86"/>
                <a:gd name="T46" fmla="*/ 4 w 67"/>
                <a:gd name="T47" fmla="*/ 3 h 86"/>
                <a:gd name="T48" fmla="*/ 3 w 67"/>
                <a:gd name="T49" fmla="*/ 3 h 86"/>
                <a:gd name="T50" fmla="*/ 3 w 67"/>
                <a:gd name="T51" fmla="*/ 3 h 86"/>
                <a:gd name="T52" fmla="*/ 2 w 67"/>
                <a:gd name="T53" fmla="*/ 3 h 86"/>
                <a:gd name="T54" fmla="*/ 2 w 67"/>
                <a:gd name="T55" fmla="*/ 2 h 86"/>
                <a:gd name="T56" fmla="*/ 2 w 67"/>
                <a:gd name="T57" fmla="*/ 2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107" name="Freeform 62">
              <a:extLst>
                <a:ext uri="{FF2B5EF4-FFF2-40B4-BE49-F238E27FC236}">
                  <a16:creationId xmlns:a16="http://schemas.microsoft.com/office/drawing/2014/main" id="{9D85E236-B5F1-4309-BFBA-10323CA34C28}"/>
                </a:ext>
              </a:extLst>
            </p:cNvPr>
            <p:cNvSpPr>
              <a:spLocks/>
            </p:cNvSpPr>
            <p:nvPr/>
          </p:nvSpPr>
          <p:spPr bwMode="auto">
            <a:xfrm>
              <a:off x="1201" y="2159"/>
              <a:ext cx="16" cy="28"/>
            </a:xfrm>
            <a:custGeom>
              <a:avLst/>
              <a:gdLst>
                <a:gd name="T0" fmla="*/ 3 w 49"/>
                <a:gd name="T1" fmla="*/ 1 h 86"/>
                <a:gd name="T2" fmla="*/ 2 w 49"/>
                <a:gd name="T3" fmla="*/ 1 h 86"/>
                <a:gd name="T4" fmla="*/ 2 w 49"/>
                <a:gd name="T5" fmla="*/ 0 h 86"/>
                <a:gd name="T6" fmla="*/ 1 w 49"/>
                <a:gd name="T7" fmla="*/ 1 h 86"/>
                <a:gd name="T8" fmla="*/ 1 w 49"/>
                <a:gd name="T9" fmla="*/ 1 h 86"/>
                <a:gd name="T10" fmla="*/ 0 w 49"/>
                <a:gd name="T11" fmla="*/ 2 h 86"/>
                <a:gd name="T12" fmla="*/ 0 w 49"/>
                <a:gd name="T13" fmla="*/ 3 h 86"/>
                <a:gd name="T14" fmla="*/ 0 w 49"/>
                <a:gd name="T15" fmla="*/ 4 h 86"/>
                <a:gd name="T16" fmla="*/ 0 w 49"/>
                <a:gd name="T17" fmla="*/ 5 h 86"/>
                <a:gd name="T18" fmla="*/ 1 w 49"/>
                <a:gd name="T19" fmla="*/ 5 h 86"/>
                <a:gd name="T20" fmla="*/ 1 w 49"/>
                <a:gd name="T21" fmla="*/ 6 h 86"/>
                <a:gd name="T22" fmla="*/ 1 w 49"/>
                <a:gd name="T23" fmla="*/ 7 h 86"/>
                <a:gd name="T24" fmla="*/ 2 w 49"/>
                <a:gd name="T25" fmla="*/ 8 h 86"/>
                <a:gd name="T26" fmla="*/ 2 w 49"/>
                <a:gd name="T27" fmla="*/ 8 h 86"/>
                <a:gd name="T28" fmla="*/ 3 w 49"/>
                <a:gd name="T29" fmla="*/ 9 h 86"/>
                <a:gd name="T30" fmla="*/ 3 w 49"/>
                <a:gd name="T31" fmla="*/ 8 h 86"/>
                <a:gd name="T32" fmla="*/ 4 w 49"/>
                <a:gd name="T33" fmla="*/ 7 h 86"/>
                <a:gd name="T34" fmla="*/ 5 w 49"/>
                <a:gd name="T35" fmla="*/ 6 h 86"/>
                <a:gd name="T36" fmla="*/ 5 w 49"/>
                <a:gd name="T37" fmla="*/ 5 h 86"/>
                <a:gd name="T38" fmla="*/ 5 w 49"/>
                <a:gd name="T39" fmla="*/ 4 h 86"/>
                <a:gd name="T40" fmla="*/ 5 w 49"/>
                <a:gd name="T41" fmla="*/ 4 h 86"/>
                <a:gd name="T42" fmla="*/ 5 w 49"/>
                <a:gd name="T43" fmla="*/ 3 h 86"/>
                <a:gd name="T44" fmla="*/ 5 w 49"/>
                <a:gd name="T45" fmla="*/ 2 h 86"/>
                <a:gd name="T46" fmla="*/ 5 w 49"/>
                <a:gd name="T47" fmla="*/ 2 h 86"/>
                <a:gd name="T48" fmla="*/ 4 w 49"/>
                <a:gd name="T49" fmla="*/ 2 h 86"/>
                <a:gd name="T50" fmla="*/ 4 w 49"/>
                <a:gd name="T51" fmla="*/ 1 h 86"/>
                <a:gd name="T52" fmla="*/ 3 w 49"/>
                <a:gd name="T53" fmla="*/ 1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108" name="Freeform 63">
              <a:extLst>
                <a:ext uri="{FF2B5EF4-FFF2-40B4-BE49-F238E27FC236}">
                  <a16:creationId xmlns:a16="http://schemas.microsoft.com/office/drawing/2014/main" id="{4FF355E0-6786-4C6D-B8DB-0DDC8C46ABD9}"/>
                </a:ext>
              </a:extLst>
            </p:cNvPr>
            <p:cNvSpPr>
              <a:spLocks/>
            </p:cNvSpPr>
            <p:nvPr/>
          </p:nvSpPr>
          <p:spPr bwMode="auto">
            <a:xfrm>
              <a:off x="1226" y="2161"/>
              <a:ext cx="2" cy="4"/>
            </a:xfrm>
            <a:custGeom>
              <a:avLst/>
              <a:gdLst>
                <a:gd name="T0" fmla="*/ 0 w 6"/>
                <a:gd name="T1" fmla="*/ 1 h 12"/>
                <a:gd name="T2" fmla="*/ 1 w 6"/>
                <a:gd name="T3" fmla="*/ 0 h 12"/>
                <a:gd name="T4" fmla="*/ 0 w 6"/>
                <a:gd name="T5" fmla="*/ 0 h 12"/>
                <a:gd name="T6" fmla="*/ 0 w 6"/>
                <a:gd name="T7" fmla="*/ 0 h 12"/>
                <a:gd name="T8" fmla="*/ 0 w 6"/>
                <a:gd name="T9" fmla="*/ 0 h 12"/>
                <a:gd name="T10" fmla="*/ 0 w 6"/>
                <a:gd name="T11" fmla="*/ 1 h 12"/>
                <a:gd name="T12" fmla="*/ 0 w 6"/>
                <a:gd name="T13" fmla="*/ 1 h 12"/>
                <a:gd name="T14" fmla="*/ 0 w 6"/>
                <a:gd name="T15" fmla="*/ 1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12">
                  <a:moveTo>
                    <a:pt x="0" y="12"/>
                  </a:moveTo>
                  <a:lnTo>
                    <a:pt x="6" y="0"/>
                  </a:lnTo>
                  <a:lnTo>
                    <a:pt x="4" y="0"/>
                  </a:lnTo>
                  <a:lnTo>
                    <a:pt x="2" y="2"/>
                  </a:lnTo>
                  <a:lnTo>
                    <a:pt x="1" y="4"/>
                  </a:lnTo>
                  <a:lnTo>
                    <a:pt x="0" y="6"/>
                  </a:lnTo>
                  <a:lnTo>
                    <a:pt x="0" y="10"/>
                  </a:lnTo>
                  <a:lnTo>
                    <a:pt x="0" y="12"/>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109" name="Freeform 64">
              <a:extLst>
                <a:ext uri="{FF2B5EF4-FFF2-40B4-BE49-F238E27FC236}">
                  <a16:creationId xmlns:a16="http://schemas.microsoft.com/office/drawing/2014/main" id="{36C7F6D5-DC62-4C3F-B071-DA2B51BD6271}"/>
                </a:ext>
              </a:extLst>
            </p:cNvPr>
            <p:cNvSpPr>
              <a:spLocks/>
            </p:cNvSpPr>
            <p:nvPr/>
          </p:nvSpPr>
          <p:spPr bwMode="auto">
            <a:xfrm>
              <a:off x="1230" y="2154"/>
              <a:ext cx="13" cy="15"/>
            </a:xfrm>
            <a:custGeom>
              <a:avLst/>
              <a:gdLst>
                <a:gd name="T0" fmla="*/ 0 w 39"/>
                <a:gd name="T1" fmla="*/ 0 h 48"/>
                <a:gd name="T2" fmla="*/ 1 w 39"/>
                <a:gd name="T3" fmla="*/ 1 h 48"/>
                <a:gd name="T4" fmla="*/ 2 w 39"/>
                <a:gd name="T5" fmla="*/ 2 h 48"/>
                <a:gd name="T6" fmla="*/ 4 w 39"/>
                <a:gd name="T7" fmla="*/ 3 h 48"/>
                <a:gd name="T8" fmla="*/ 4 w 39"/>
                <a:gd name="T9" fmla="*/ 3 h 48"/>
                <a:gd name="T10" fmla="*/ 4 w 39"/>
                <a:gd name="T11" fmla="*/ 4 h 48"/>
                <a:gd name="T12" fmla="*/ 4 w 39"/>
                <a:gd name="T13" fmla="*/ 5 h 48"/>
                <a:gd name="T14" fmla="*/ 2 w 39"/>
                <a:gd name="T15" fmla="*/ 3 h 48"/>
                <a:gd name="T16" fmla="*/ 1 w 39"/>
                <a:gd name="T17" fmla="*/ 3 h 48"/>
                <a:gd name="T18" fmla="*/ 0 w 39"/>
                <a:gd name="T19" fmla="*/ 2 h 48"/>
                <a:gd name="T20" fmla="*/ 0 w 39"/>
                <a:gd name="T21" fmla="*/ 2 h 48"/>
                <a:gd name="T22" fmla="*/ 0 w 39"/>
                <a:gd name="T23" fmla="*/ 1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110" name="Freeform 65">
              <a:extLst>
                <a:ext uri="{FF2B5EF4-FFF2-40B4-BE49-F238E27FC236}">
                  <a16:creationId xmlns:a16="http://schemas.microsoft.com/office/drawing/2014/main" id="{66296767-F7F3-4436-B86D-175EE18D4B69}"/>
                </a:ext>
              </a:extLst>
            </p:cNvPr>
            <p:cNvSpPr>
              <a:spLocks/>
            </p:cNvSpPr>
            <p:nvPr/>
          </p:nvSpPr>
          <p:spPr bwMode="auto">
            <a:xfrm>
              <a:off x="1247" y="2167"/>
              <a:ext cx="6" cy="14"/>
            </a:xfrm>
            <a:custGeom>
              <a:avLst/>
              <a:gdLst>
                <a:gd name="T0" fmla="*/ 1 w 16"/>
                <a:gd name="T1" fmla="*/ 0 h 43"/>
                <a:gd name="T2" fmla="*/ 2 w 16"/>
                <a:gd name="T3" fmla="*/ 1 h 43"/>
                <a:gd name="T4" fmla="*/ 2 w 16"/>
                <a:gd name="T5" fmla="*/ 2 h 43"/>
                <a:gd name="T6" fmla="*/ 2 w 16"/>
                <a:gd name="T7" fmla="*/ 2 h 43"/>
                <a:gd name="T8" fmla="*/ 2 w 16"/>
                <a:gd name="T9" fmla="*/ 3 h 43"/>
                <a:gd name="T10" fmla="*/ 2 w 16"/>
                <a:gd name="T11" fmla="*/ 3 h 43"/>
                <a:gd name="T12" fmla="*/ 2 w 16"/>
                <a:gd name="T13" fmla="*/ 4 h 43"/>
                <a:gd name="T14" fmla="*/ 1 w 16"/>
                <a:gd name="T15" fmla="*/ 4 h 43"/>
                <a:gd name="T16" fmla="*/ 0 w 16"/>
                <a:gd name="T17" fmla="*/ 5 h 43"/>
                <a:gd name="T18" fmla="*/ 0 w 16"/>
                <a:gd name="T19" fmla="*/ 3 h 43"/>
                <a:gd name="T20" fmla="*/ 1 w 16"/>
                <a:gd name="T21" fmla="*/ 2 h 43"/>
                <a:gd name="T22" fmla="*/ 1 w 16"/>
                <a:gd name="T23" fmla="*/ 1 h 43"/>
                <a:gd name="T24" fmla="*/ 1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111" name="Freeform 66">
              <a:extLst>
                <a:ext uri="{FF2B5EF4-FFF2-40B4-BE49-F238E27FC236}">
                  <a16:creationId xmlns:a16="http://schemas.microsoft.com/office/drawing/2014/main" id="{A44750C1-EB4D-41C6-899B-B112CCA12ADE}"/>
                </a:ext>
              </a:extLst>
            </p:cNvPr>
            <p:cNvSpPr>
              <a:spLocks/>
            </p:cNvSpPr>
            <p:nvPr/>
          </p:nvSpPr>
          <p:spPr bwMode="auto">
            <a:xfrm>
              <a:off x="1248" y="2190"/>
              <a:ext cx="8" cy="12"/>
            </a:xfrm>
            <a:custGeom>
              <a:avLst/>
              <a:gdLst>
                <a:gd name="T0" fmla="*/ 3 w 24"/>
                <a:gd name="T1" fmla="*/ 4 h 37"/>
                <a:gd name="T2" fmla="*/ 2 w 24"/>
                <a:gd name="T3" fmla="*/ 3 h 37"/>
                <a:gd name="T4" fmla="*/ 2 w 24"/>
                <a:gd name="T5" fmla="*/ 2 h 37"/>
                <a:gd name="T6" fmla="*/ 1 w 24"/>
                <a:gd name="T7" fmla="*/ 1 h 37"/>
                <a:gd name="T8" fmla="*/ 1 w 24"/>
                <a:gd name="T9" fmla="*/ 0 h 37"/>
                <a:gd name="T10" fmla="*/ 1 w 24"/>
                <a:gd name="T11" fmla="*/ 1 h 37"/>
                <a:gd name="T12" fmla="*/ 0 w 24"/>
                <a:gd name="T13" fmla="*/ 2 h 37"/>
                <a:gd name="T14" fmla="*/ 0 w 24"/>
                <a:gd name="T15" fmla="*/ 3 h 37"/>
                <a:gd name="T16" fmla="*/ 0 w 24"/>
                <a:gd name="T17" fmla="*/ 3 h 37"/>
                <a:gd name="T18" fmla="*/ 0 w 24"/>
                <a:gd name="T19" fmla="*/ 4 h 37"/>
                <a:gd name="T20" fmla="*/ 0 w 24"/>
                <a:gd name="T21" fmla="*/ 4 h 37"/>
                <a:gd name="T22" fmla="*/ 0 w 24"/>
                <a:gd name="T23" fmla="*/ 4 h 37"/>
                <a:gd name="T24" fmla="*/ 1 w 24"/>
                <a:gd name="T25" fmla="*/ 4 h 37"/>
                <a:gd name="T26" fmla="*/ 2 w 24"/>
                <a:gd name="T27" fmla="*/ 4 h 37"/>
                <a:gd name="T28" fmla="*/ 3 w 24"/>
                <a:gd name="T29" fmla="*/ 4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112" name="Freeform 67">
              <a:extLst>
                <a:ext uri="{FF2B5EF4-FFF2-40B4-BE49-F238E27FC236}">
                  <a16:creationId xmlns:a16="http://schemas.microsoft.com/office/drawing/2014/main" id="{AB8BF375-8319-4604-B06B-1D19C2BC7424}"/>
                </a:ext>
              </a:extLst>
            </p:cNvPr>
            <p:cNvSpPr>
              <a:spLocks/>
            </p:cNvSpPr>
            <p:nvPr/>
          </p:nvSpPr>
          <p:spPr bwMode="auto">
            <a:xfrm>
              <a:off x="1265" y="2204"/>
              <a:ext cx="11" cy="17"/>
            </a:xfrm>
            <a:custGeom>
              <a:avLst/>
              <a:gdLst>
                <a:gd name="T0" fmla="*/ 4 w 34"/>
                <a:gd name="T1" fmla="*/ 0 h 55"/>
                <a:gd name="T2" fmla="*/ 4 w 34"/>
                <a:gd name="T3" fmla="*/ 1 h 55"/>
                <a:gd name="T4" fmla="*/ 4 w 34"/>
                <a:gd name="T5" fmla="*/ 2 h 55"/>
                <a:gd name="T6" fmla="*/ 4 w 34"/>
                <a:gd name="T7" fmla="*/ 3 h 55"/>
                <a:gd name="T8" fmla="*/ 3 w 34"/>
                <a:gd name="T9" fmla="*/ 4 h 55"/>
                <a:gd name="T10" fmla="*/ 3 w 34"/>
                <a:gd name="T11" fmla="*/ 4 h 55"/>
                <a:gd name="T12" fmla="*/ 3 w 34"/>
                <a:gd name="T13" fmla="*/ 5 h 55"/>
                <a:gd name="T14" fmla="*/ 2 w 34"/>
                <a:gd name="T15" fmla="*/ 5 h 55"/>
                <a:gd name="T16" fmla="*/ 2 w 34"/>
                <a:gd name="T17" fmla="*/ 5 h 55"/>
                <a:gd name="T18" fmla="*/ 1 w 34"/>
                <a:gd name="T19" fmla="*/ 5 h 55"/>
                <a:gd name="T20" fmla="*/ 0 w 34"/>
                <a:gd name="T21" fmla="*/ 5 h 55"/>
                <a:gd name="T22" fmla="*/ 1 w 34"/>
                <a:gd name="T23" fmla="*/ 3 h 55"/>
                <a:gd name="T24" fmla="*/ 2 w 34"/>
                <a:gd name="T25" fmla="*/ 2 h 55"/>
                <a:gd name="T26" fmla="*/ 2 w 34"/>
                <a:gd name="T27" fmla="*/ 2 h 55"/>
                <a:gd name="T28" fmla="*/ 2 w 34"/>
                <a:gd name="T29" fmla="*/ 1 h 55"/>
                <a:gd name="T30" fmla="*/ 3 w 34"/>
                <a:gd name="T31" fmla="*/ 1 h 55"/>
                <a:gd name="T32" fmla="*/ 4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113" name="Freeform 68">
              <a:extLst>
                <a:ext uri="{FF2B5EF4-FFF2-40B4-BE49-F238E27FC236}">
                  <a16:creationId xmlns:a16="http://schemas.microsoft.com/office/drawing/2014/main" id="{4FB55C16-D78C-4290-A456-84FB95D2444F}"/>
                </a:ext>
              </a:extLst>
            </p:cNvPr>
            <p:cNvSpPr>
              <a:spLocks/>
            </p:cNvSpPr>
            <p:nvPr/>
          </p:nvSpPr>
          <p:spPr bwMode="auto">
            <a:xfrm>
              <a:off x="1285" y="2215"/>
              <a:ext cx="11" cy="4"/>
            </a:xfrm>
            <a:custGeom>
              <a:avLst/>
              <a:gdLst>
                <a:gd name="T0" fmla="*/ 0 w 33"/>
                <a:gd name="T1" fmla="*/ 0 h 12"/>
                <a:gd name="T2" fmla="*/ 0 w 33"/>
                <a:gd name="T3" fmla="*/ 0 h 12"/>
                <a:gd name="T4" fmla="*/ 1 w 33"/>
                <a:gd name="T5" fmla="*/ 1 h 12"/>
                <a:gd name="T6" fmla="*/ 1 w 33"/>
                <a:gd name="T7" fmla="*/ 1 h 12"/>
                <a:gd name="T8" fmla="*/ 2 w 33"/>
                <a:gd name="T9" fmla="*/ 1 h 12"/>
                <a:gd name="T10" fmla="*/ 3 w 33"/>
                <a:gd name="T11" fmla="*/ 1 h 12"/>
                <a:gd name="T12" fmla="*/ 4 w 33"/>
                <a:gd name="T13" fmla="*/ 1 h 12"/>
                <a:gd name="T14" fmla="*/ 3 w 33"/>
                <a:gd name="T15" fmla="*/ 1 h 12"/>
                <a:gd name="T16" fmla="*/ 2 w 33"/>
                <a:gd name="T17" fmla="*/ 0 h 12"/>
                <a:gd name="T18" fmla="*/ 1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sp>
        <p:nvSpPr>
          <p:cNvPr id="623" name="Freeform 69">
            <a:extLst>
              <a:ext uri="{FF2B5EF4-FFF2-40B4-BE49-F238E27FC236}">
                <a16:creationId xmlns:a16="http://schemas.microsoft.com/office/drawing/2014/main" id="{2B666F37-53BE-4D6A-9E09-0E127236F6C2}"/>
              </a:ext>
            </a:extLst>
          </p:cNvPr>
          <p:cNvSpPr>
            <a:spLocks/>
          </p:cNvSpPr>
          <p:nvPr>
            <p:custDataLst>
              <p:tags r:id="rId52"/>
            </p:custDataLst>
          </p:nvPr>
        </p:nvSpPr>
        <p:spPr bwMode="auto">
          <a:xfrm>
            <a:off x="10822262" y="5028778"/>
            <a:ext cx="16712" cy="75216"/>
          </a:xfrm>
          <a:custGeom>
            <a:avLst/>
            <a:gdLst>
              <a:gd name="T0" fmla="*/ 0 w 33"/>
              <a:gd name="T1" fmla="*/ 52679395 h 62"/>
              <a:gd name="T2" fmla="*/ 0 w 33"/>
              <a:gd name="T3" fmla="*/ 45032356 h 62"/>
              <a:gd name="T4" fmla="*/ 0 w 33"/>
              <a:gd name="T5" fmla="*/ 38235194 h 62"/>
              <a:gd name="T6" fmla="*/ 0 w 33"/>
              <a:gd name="T7" fmla="*/ 31438031 h 62"/>
              <a:gd name="T8" fmla="*/ 0 w 33"/>
              <a:gd name="T9" fmla="*/ 26339698 h 62"/>
              <a:gd name="T10" fmla="*/ 0 w 33"/>
              <a:gd name="T11" fmla="*/ 22091240 h 62"/>
              <a:gd name="T12" fmla="*/ 296333 w 33"/>
              <a:gd name="T13" fmla="*/ 18692659 h 62"/>
              <a:gd name="T14" fmla="*/ 592282 w 33"/>
              <a:gd name="T15" fmla="*/ 14444202 h 62"/>
              <a:gd name="T16" fmla="*/ 1184948 w 33"/>
              <a:gd name="T17" fmla="*/ 11045620 h 62"/>
              <a:gd name="T18" fmla="*/ 2073564 w 33"/>
              <a:gd name="T19" fmla="*/ 5098333 h 62"/>
              <a:gd name="T20" fmla="*/ 2962179 w 33"/>
              <a:gd name="T21" fmla="*/ 0 h 62"/>
              <a:gd name="T22" fmla="*/ 3850794 w 33"/>
              <a:gd name="T23" fmla="*/ 5098333 h 62"/>
              <a:gd name="T24" fmla="*/ 4887576 w 33"/>
              <a:gd name="T25" fmla="*/ 11045620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24" name="Freeform 70">
            <a:extLst>
              <a:ext uri="{FF2B5EF4-FFF2-40B4-BE49-F238E27FC236}">
                <a16:creationId xmlns:a16="http://schemas.microsoft.com/office/drawing/2014/main" id="{AB5C7888-3626-49D1-8D2B-45C6D1EEE850}"/>
              </a:ext>
            </a:extLst>
          </p:cNvPr>
          <p:cNvSpPr>
            <a:spLocks/>
          </p:cNvSpPr>
          <p:nvPr>
            <p:custDataLst>
              <p:tags r:id="rId53"/>
            </p:custDataLst>
          </p:nvPr>
        </p:nvSpPr>
        <p:spPr bwMode="auto">
          <a:xfrm>
            <a:off x="10834795" y="5146682"/>
            <a:ext cx="12534" cy="77247"/>
          </a:xfrm>
          <a:custGeom>
            <a:avLst/>
            <a:gdLst>
              <a:gd name="T0" fmla="*/ 0 w 26"/>
              <a:gd name="T1" fmla="*/ 191668621 h 18"/>
              <a:gd name="T2" fmla="*/ 0 w 26"/>
              <a:gd name="T3" fmla="*/ 0 h 18"/>
              <a:gd name="T4" fmla="*/ 3489447 w 26"/>
              <a:gd name="T5" fmla="*/ 0 h 18"/>
              <a:gd name="T6" fmla="*/ 805229 w 26"/>
              <a:gd name="T7" fmla="*/ 127779080 h 18"/>
              <a:gd name="T8" fmla="*/ 805229 w 26"/>
              <a:gd name="T9" fmla="*/ 6388954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8">
                <a:moveTo>
                  <a:pt x="0" y="18"/>
                </a:moveTo>
                <a:lnTo>
                  <a:pt x="0" y="0"/>
                </a:lnTo>
                <a:lnTo>
                  <a:pt x="26" y="0"/>
                </a:lnTo>
                <a:lnTo>
                  <a:pt x="6" y="12"/>
                </a:lnTo>
                <a:lnTo>
                  <a:pt x="6" y="6"/>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25" name="Freeform 71">
            <a:extLst>
              <a:ext uri="{FF2B5EF4-FFF2-40B4-BE49-F238E27FC236}">
                <a16:creationId xmlns:a16="http://schemas.microsoft.com/office/drawing/2014/main" id="{7F683C98-D7D7-4ECB-BFBE-16721F7CC7E8}"/>
              </a:ext>
            </a:extLst>
          </p:cNvPr>
          <p:cNvSpPr>
            <a:spLocks/>
          </p:cNvSpPr>
          <p:nvPr>
            <p:custDataLst>
              <p:tags r:id="rId54"/>
            </p:custDataLst>
          </p:nvPr>
        </p:nvSpPr>
        <p:spPr bwMode="auto">
          <a:xfrm>
            <a:off x="10993554" y="5028778"/>
            <a:ext cx="108624" cy="170758"/>
          </a:xfrm>
          <a:custGeom>
            <a:avLst/>
            <a:gdLst>
              <a:gd name="T0" fmla="*/ 33616516 w 180"/>
              <a:gd name="T1" fmla="*/ 65310967 h 240"/>
              <a:gd name="T2" fmla="*/ 32682628 w 180"/>
              <a:gd name="T3" fmla="*/ 65604946 h 240"/>
              <a:gd name="T4" fmla="*/ 31935863 w 180"/>
              <a:gd name="T5" fmla="*/ 65604946 h 240"/>
              <a:gd name="T6" fmla="*/ 31188666 w 180"/>
              <a:gd name="T7" fmla="*/ 66193445 h 240"/>
              <a:gd name="T8" fmla="*/ 30628593 w 180"/>
              <a:gd name="T9" fmla="*/ 66781945 h 240"/>
              <a:gd name="T10" fmla="*/ 29508013 w 180"/>
              <a:gd name="T11" fmla="*/ 68252922 h 240"/>
              <a:gd name="T12" fmla="*/ 28574125 w 180"/>
              <a:gd name="T13" fmla="*/ 70606378 h 240"/>
              <a:gd name="T14" fmla="*/ 26146275 w 180"/>
              <a:gd name="T15" fmla="*/ 68252922 h 240"/>
              <a:gd name="T16" fmla="*/ 24465190 w 180"/>
              <a:gd name="T17" fmla="*/ 65604946 h 240"/>
              <a:gd name="T18" fmla="*/ 22971229 w 180"/>
              <a:gd name="T19" fmla="*/ 62957512 h 240"/>
              <a:gd name="T20" fmla="*/ 22037340 w 180"/>
              <a:gd name="T21" fmla="*/ 60604056 h 240"/>
              <a:gd name="T22" fmla="*/ 20916761 w 180"/>
              <a:gd name="T23" fmla="*/ 57367580 h 240"/>
              <a:gd name="T24" fmla="*/ 19796182 w 180"/>
              <a:gd name="T25" fmla="*/ 54425625 h 240"/>
              <a:gd name="T26" fmla="*/ 18302220 w 180"/>
              <a:gd name="T27" fmla="*/ 51189692 h 240"/>
              <a:gd name="T28" fmla="*/ 16248185 w 180"/>
              <a:gd name="T29" fmla="*/ 47365259 h 240"/>
              <a:gd name="T30" fmla="*/ 15314296 w 180"/>
              <a:gd name="T31" fmla="*/ 45011803 h 240"/>
              <a:gd name="T32" fmla="*/ 14007026 w 180"/>
              <a:gd name="T33" fmla="*/ 42952326 h 240"/>
              <a:gd name="T34" fmla="*/ 13073138 w 180"/>
              <a:gd name="T35" fmla="*/ 40892849 h 240"/>
              <a:gd name="T36" fmla="*/ 11579176 w 180"/>
              <a:gd name="T37" fmla="*/ 39127893 h 240"/>
              <a:gd name="T38" fmla="*/ 8964203 w 180"/>
              <a:gd name="T39" fmla="*/ 35597439 h 240"/>
              <a:gd name="T40" fmla="*/ 6162970 w 180"/>
              <a:gd name="T41" fmla="*/ 32361505 h 240"/>
              <a:gd name="T42" fmla="*/ 5042391 w 180"/>
              <a:gd name="T43" fmla="*/ 30596007 h 240"/>
              <a:gd name="T44" fmla="*/ 3921812 w 180"/>
              <a:gd name="T45" fmla="*/ 28831051 h 240"/>
              <a:gd name="T46" fmla="*/ 2801232 w 180"/>
              <a:gd name="T47" fmla="*/ 27065552 h 240"/>
              <a:gd name="T48" fmla="*/ 1867776 w 180"/>
              <a:gd name="T49" fmla="*/ 24712097 h 240"/>
              <a:gd name="T50" fmla="*/ 1120579 w 180"/>
              <a:gd name="T51" fmla="*/ 22652620 h 240"/>
              <a:gd name="T52" fmla="*/ 747197 w 180"/>
              <a:gd name="T53" fmla="*/ 20005186 h 240"/>
              <a:gd name="T54" fmla="*/ 186691 w 180"/>
              <a:gd name="T55" fmla="*/ 17651730 h 240"/>
              <a:gd name="T56" fmla="*/ 0 w 180"/>
              <a:gd name="T57" fmla="*/ 14709775 h 240"/>
              <a:gd name="T58" fmla="*/ 0 w 180"/>
              <a:gd name="T59" fmla="*/ 10296843 h 240"/>
              <a:gd name="T60" fmla="*/ 0 w 180"/>
              <a:gd name="T61" fmla="*/ 7354888 h 240"/>
              <a:gd name="T62" fmla="*/ 0 w 180"/>
              <a:gd name="T63" fmla="*/ 4412933 h 240"/>
              <a:gd name="T64" fmla="*/ 0 w 180"/>
              <a:gd name="T65" fmla="*/ 0 h 240"/>
              <a:gd name="T66" fmla="*/ 1867776 w 180"/>
              <a:gd name="T67" fmla="*/ 2353456 h 240"/>
              <a:gd name="T68" fmla="*/ 3548429 w 180"/>
              <a:gd name="T69" fmla="*/ 5001432 h 240"/>
              <a:gd name="T70" fmla="*/ 5042391 w 180"/>
              <a:gd name="T71" fmla="*/ 7943387 h 240"/>
              <a:gd name="T72" fmla="*/ 6349662 w 180"/>
              <a:gd name="T73" fmla="*/ 11179321 h 240"/>
              <a:gd name="T74" fmla="*/ 7656932 w 180"/>
              <a:gd name="T75" fmla="*/ 14121276 h 240"/>
              <a:gd name="T76" fmla="*/ 8590820 w 180"/>
              <a:gd name="T77" fmla="*/ 17063231 h 240"/>
              <a:gd name="T78" fmla="*/ 9524708 w 180"/>
              <a:gd name="T79" fmla="*/ 19416686 h 240"/>
              <a:gd name="T80" fmla="*/ 10084782 w 180"/>
              <a:gd name="T81" fmla="*/ 21770142 h 240"/>
              <a:gd name="T82" fmla="*/ 11205361 w 180"/>
              <a:gd name="T83" fmla="*/ 25300596 h 240"/>
              <a:gd name="T84" fmla="*/ 12325941 w 180"/>
              <a:gd name="T85" fmla="*/ 28831051 h 240"/>
              <a:gd name="T86" fmla="*/ 13820335 w 180"/>
              <a:gd name="T87" fmla="*/ 31478485 h 240"/>
              <a:gd name="T88" fmla="*/ 15314296 w 180"/>
              <a:gd name="T89" fmla="*/ 34126461 h 240"/>
              <a:gd name="T90" fmla="*/ 18676034 w 180"/>
              <a:gd name="T91" fmla="*/ 39127893 h 240"/>
              <a:gd name="T92" fmla="*/ 22224464 w 180"/>
              <a:gd name="T93" fmla="*/ 43834804 h 240"/>
              <a:gd name="T94" fmla="*/ 25959584 w 180"/>
              <a:gd name="T95" fmla="*/ 48247737 h 240"/>
              <a:gd name="T96" fmla="*/ 28947508 w 180"/>
              <a:gd name="T97" fmla="*/ 52954648 h 240"/>
              <a:gd name="T98" fmla="*/ 30441469 w 180"/>
              <a:gd name="T99" fmla="*/ 55602624 h 240"/>
              <a:gd name="T100" fmla="*/ 31562049 w 180"/>
              <a:gd name="T101" fmla="*/ 58544579 h 240"/>
              <a:gd name="T102" fmla="*/ 32682628 w 180"/>
              <a:gd name="T103" fmla="*/ 61780513 h 240"/>
              <a:gd name="T104" fmla="*/ 33616516 w 180"/>
              <a:gd name="T105" fmla="*/ 65310967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0872A6"/>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26" name="Freeform 72">
            <a:extLst>
              <a:ext uri="{FF2B5EF4-FFF2-40B4-BE49-F238E27FC236}">
                <a16:creationId xmlns:a16="http://schemas.microsoft.com/office/drawing/2014/main" id="{C8A2E6D6-12B4-4C2B-B73B-80F206780FDF}"/>
              </a:ext>
            </a:extLst>
          </p:cNvPr>
          <p:cNvSpPr>
            <a:spLocks/>
          </p:cNvSpPr>
          <p:nvPr>
            <p:custDataLst>
              <p:tags r:id="rId55"/>
            </p:custDataLst>
          </p:nvPr>
        </p:nvSpPr>
        <p:spPr bwMode="auto">
          <a:xfrm>
            <a:off x="10993554" y="4994220"/>
            <a:ext cx="20889" cy="75213"/>
          </a:xfrm>
          <a:custGeom>
            <a:avLst/>
            <a:gdLst>
              <a:gd name="T0" fmla="*/ 0 w 27"/>
              <a:gd name="T1" fmla="*/ 0 h 30"/>
              <a:gd name="T2" fmla="*/ 279939 w 27"/>
              <a:gd name="T3" fmla="*/ 18145125 h 30"/>
              <a:gd name="T4" fmla="*/ 840346 w 27"/>
              <a:gd name="T5" fmla="*/ 39919275 h 30"/>
              <a:gd name="T6" fmla="*/ 1120285 w 27"/>
              <a:gd name="T7" fmla="*/ 50806350 h 30"/>
              <a:gd name="T8" fmla="*/ 1120285 w 27"/>
              <a:gd name="T9" fmla="*/ 68951475 h 30"/>
              <a:gd name="T10" fmla="*/ 840346 w 27"/>
              <a:gd name="T11" fmla="*/ 87096600 h 30"/>
              <a:gd name="T12" fmla="*/ 0 w 27"/>
              <a:gd name="T13" fmla="*/ 108870750 h 30"/>
              <a:gd name="T14" fmla="*/ 4760550 w 27"/>
              <a:gd name="T15" fmla="*/ 97983675 h 30"/>
              <a:gd name="T16" fmla="*/ 7560998 w 27"/>
              <a:gd name="T17" fmla="*/ 87096600 h 30"/>
              <a:gd name="T18" fmla="*/ 6440713 w 27"/>
              <a:gd name="T19" fmla="*/ 72580500 h 30"/>
              <a:gd name="T20" fmla="*/ 4760550 w 27"/>
              <a:gd name="T21" fmla="*/ 43548300 h 30"/>
              <a:gd name="T22" fmla="*/ 3080387 w 27"/>
              <a:gd name="T23" fmla="*/ 29032200 h 30"/>
              <a:gd name="T24" fmla="*/ 1960102 w 27"/>
              <a:gd name="T25" fmla="*/ 14516100 h 30"/>
              <a:gd name="T26" fmla="*/ 1120285 w 27"/>
              <a:gd name="T27" fmla="*/ 3629025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nvGrpSpPr>
          <p:cNvPr id="627" name="Group 73">
            <a:extLst>
              <a:ext uri="{FF2B5EF4-FFF2-40B4-BE49-F238E27FC236}">
                <a16:creationId xmlns:a16="http://schemas.microsoft.com/office/drawing/2014/main" id="{B5D75A77-79FA-43D3-ACAE-C3038F3B6667}"/>
              </a:ext>
            </a:extLst>
          </p:cNvPr>
          <p:cNvGrpSpPr>
            <a:grpSpLocks/>
          </p:cNvGrpSpPr>
          <p:nvPr>
            <p:custDataLst>
              <p:tags r:id="rId56"/>
            </p:custDataLst>
          </p:nvPr>
        </p:nvGrpSpPr>
        <p:grpSpPr bwMode="auto">
          <a:xfrm>
            <a:off x="10562872" y="5671403"/>
            <a:ext cx="638528" cy="526299"/>
            <a:chOff x="5372" y="3323"/>
            <a:chExt cx="341" cy="253"/>
          </a:xfrm>
          <a:solidFill>
            <a:schemeClr val="bg1">
              <a:lumMod val="65000"/>
            </a:schemeClr>
          </a:solidFill>
        </p:grpSpPr>
        <p:sp>
          <p:nvSpPr>
            <p:cNvPr id="1101" name="Freeform 74">
              <a:extLst>
                <a:ext uri="{FF2B5EF4-FFF2-40B4-BE49-F238E27FC236}">
                  <a16:creationId xmlns:a16="http://schemas.microsoft.com/office/drawing/2014/main" id="{32F08502-FE99-4879-9277-524B12D33B5E}"/>
                </a:ext>
              </a:extLst>
            </p:cNvPr>
            <p:cNvSpPr>
              <a:spLocks/>
            </p:cNvSpPr>
            <p:nvPr/>
          </p:nvSpPr>
          <p:spPr bwMode="auto">
            <a:xfrm>
              <a:off x="5372" y="3565"/>
              <a:ext cx="16" cy="11"/>
            </a:xfrm>
            <a:custGeom>
              <a:avLst/>
              <a:gdLst>
                <a:gd name="T0" fmla="*/ 0 w 53"/>
                <a:gd name="T1" fmla="*/ 3 h 33"/>
                <a:gd name="T2" fmla="*/ 0 w 53"/>
                <a:gd name="T3" fmla="*/ 3 h 33"/>
                <a:gd name="T4" fmla="*/ 1 w 53"/>
                <a:gd name="T5" fmla="*/ 2 h 33"/>
                <a:gd name="T6" fmla="*/ 2 w 53"/>
                <a:gd name="T7" fmla="*/ 2 h 33"/>
                <a:gd name="T8" fmla="*/ 2 w 53"/>
                <a:gd name="T9" fmla="*/ 1 h 33"/>
                <a:gd name="T10" fmla="*/ 3 w 53"/>
                <a:gd name="T11" fmla="*/ 1 h 33"/>
                <a:gd name="T12" fmla="*/ 3 w 53"/>
                <a:gd name="T13" fmla="*/ 0 h 33"/>
                <a:gd name="T14" fmla="*/ 4 w 53"/>
                <a:gd name="T15" fmla="*/ 0 h 33"/>
                <a:gd name="T16" fmla="*/ 5 w 53"/>
                <a:gd name="T17" fmla="*/ 0 h 33"/>
                <a:gd name="T18" fmla="*/ 5 w 53"/>
                <a:gd name="T19" fmla="*/ 2 h 33"/>
                <a:gd name="T20" fmla="*/ 3 w 53"/>
                <a:gd name="T21" fmla="*/ 3 h 33"/>
                <a:gd name="T22" fmla="*/ 2 w 53"/>
                <a:gd name="T23" fmla="*/ 3 h 33"/>
                <a:gd name="T24" fmla="*/ 2 w 53"/>
                <a:gd name="T25" fmla="*/ 4 h 33"/>
                <a:gd name="T26" fmla="*/ 2 w 53"/>
                <a:gd name="T27" fmla="*/ 4 h 33"/>
                <a:gd name="T28" fmla="*/ 1 w 53"/>
                <a:gd name="T29" fmla="*/ 4 h 33"/>
                <a:gd name="T30" fmla="*/ 0 w 53"/>
                <a:gd name="T31" fmla="*/ 3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102" name="Freeform 75">
              <a:extLst>
                <a:ext uri="{FF2B5EF4-FFF2-40B4-BE49-F238E27FC236}">
                  <a16:creationId xmlns:a16="http://schemas.microsoft.com/office/drawing/2014/main" id="{A2BB8958-53AD-4240-849A-AF0A58DED465}"/>
                </a:ext>
              </a:extLst>
            </p:cNvPr>
            <p:cNvSpPr>
              <a:spLocks/>
            </p:cNvSpPr>
            <p:nvPr/>
          </p:nvSpPr>
          <p:spPr bwMode="auto">
            <a:xfrm>
              <a:off x="5379" y="3446"/>
              <a:ext cx="202" cy="117"/>
            </a:xfrm>
            <a:custGeom>
              <a:avLst/>
              <a:gdLst>
                <a:gd name="T0" fmla="*/ 3 w 631"/>
                <a:gd name="T1" fmla="*/ 32 h 358"/>
                <a:gd name="T2" fmla="*/ 5 w 631"/>
                <a:gd name="T3" fmla="*/ 31 h 358"/>
                <a:gd name="T4" fmla="*/ 7 w 631"/>
                <a:gd name="T5" fmla="*/ 30 h 358"/>
                <a:gd name="T6" fmla="*/ 8 w 631"/>
                <a:gd name="T7" fmla="*/ 27 h 358"/>
                <a:gd name="T8" fmla="*/ 10 w 631"/>
                <a:gd name="T9" fmla="*/ 27 h 358"/>
                <a:gd name="T10" fmla="*/ 13 w 631"/>
                <a:gd name="T11" fmla="*/ 27 h 358"/>
                <a:gd name="T12" fmla="*/ 14 w 631"/>
                <a:gd name="T13" fmla="*/ 26 h 358"/>
                <a:gd name="T14" fmla="*/ 17 w 631"/>
                <a:gd name="T15" fmla="*/ 25 h 358"/>
                <a:gd name="T16" fmla="*/ 19 w 631"/>
                <a:gd name="T17" fmla="*/ 22 h 358"/>
                <a:gd name="T18" fmla="*/ 22 w 631"/>
                <a:gd name="T19" fmla="*/ 21 h 358"/>
                <a:gd name="T20" fmla="*/ 27 w 631"/>
                <a:gd name="T21" fmla="*/ 19 h 358"/>
                <a:gd name="T22" fmla="*/ 34 w 631"/>
                <a:gd name="T23" fmla="*/ 16 h 358"/>
                <a:gd name="T24" fmla="*/ 37 w 631"/>
                <a:gd name="T25" fmla="*/ 15 h 358"/>
                <a:gd name="T26" fmla="*/ 40 w 631"/>
                <a:gd name="T27" fmla="*/ 14 h 358"/>
                <a:gd name="T28" fmla="*/ 42 w 631"/>
                <a:gd name="T29" fmla="*/ 14 h 358"/>
                <a:gd name="T30" fmla="*/ 45 w 631"/>
                <a:gd name="T31" fmla="*/ 11 h 358"/>
                <a:gd name="T32" fmla="*/ 48 w 631"/>
                <a:gd name="T33" fmla="*/ 8 h 358"/>
                <a:gd name="T34" fmla="*/ 49 w 631"/>
                <a:gd name="T35" fmla="*/ 7 h 358"/>
                <a:gd name="T36" fmla="*/ 52 w 631"/>
                <a:gd name="T37" fmla="*/ 6 h 358"/>
                <a:gd name="T38" fmla="*/ 55 w 631"/>
                <a:gd name="T39" fmla="*/ 4 h 358"/>
                <a:gd name="T40" fmla="*/ 58 w 631"/>
                <a:gd name="T41" fmla="*/ 1 h 358"/>
                <a:gd name="T42" fmla="*/ 61 w 631"/>
                <a:gd name="T43" fmla="*/ 0 h 358"/>
                <a:gd name="T44" fmla="*/ 62 w 631"/>
                <a:gd name="T45" fmla="*/ 2 h 358"/>
                <a:gd name="T46" fmla="*/ 63 w 631"/>
                <a:gd name="T47" fmla="*/ 3 h 358"/>
                <a:gd name="T48" fmla="*/ 64 w 631"/>
                <a:gd name="T49" fmla="*/ 5 h 358"/>
                <a:gd name="T50" fmla="*/ 61 w 631"/>
                <a:gd name="T51" fmla="*/ 9 h 358"/>
                <a:gd name="T52" fmla="*/ 58 w 631"/>
                <a:gd name="T53" fmla="*/ 13 h 358"/>
                <a:gd name="T54" fmla="*/ 54 w 631"/>
                <a:gd name="T55" fmla="*/ 16 h 358"/>
                <a:gd name="T56" fmla="*/ 50 w 631"/>
                <a:gd name="T57" fmla="*/ 19 h 358"/>
                <a:gd name="T58" fmla="*/ 45 w 631"/>
                <a:gd name="T59" fmla="*/ 19 h 358"/>
                <a:gd name="T60" fmla="*/ 45 w 631"/>
                <a:gd name="T61" fmla="*/ 21 h 358"/>
                <a:gd name="T62" fmla="*/ 44 w 631"/>
                <a:gd name="T63" fmla="*/ 21 h 358"/>
                <a:gd name="T64" fmla="*/ 40 w 631"/>
                <a:gd name="T65" fmla="*/ 21 h 358"/>
                <a:gd name="T66" fmla="*/ 37 w 631"/>
                <a:gd name="T67" fmla="*/ 23 h 358"/>
                <a:gd name="T68" fmla="*/ 36 w 631"/>
                <a:gd name="T69" fmla="*/ 23 h 358"/>
                <a:gd name="T70" fmla="*/ 35 w 631"/>
                <a:gd name="T71" fmla="*/ 22 h 358"/>
                <a:gd name="T72" fmla="*/ 32 w 631"/>
                <a:gd name="T73" fmla="*/ 26 h 358"/>
                <a:gd name="T74" fmla="*/ 28 w 631"/>
                <a:gd name="T75" fmla="*/ 30 h 358"/>
                <a:gd name="T76" fmla="*/ 22 w 631"/>
                <a:gd name="T77" fmla="*/ 34 h 358"/>
                <a:gd name="T78" fmla="*/ 17 w 631"/>
                <a:gd name="T79" fmla="*/ 37 h 358"/>
                <a:gd name="T80" fmla="*/ 11 w 631"/>
                <a:gd name="T81" fmla="*/ 38 h 358"/>
                <a:gd name="T82" fmla="*/ 7 w 631"/>
                <a:gd name="T83" fmla="*/ 38 h 358"/>
                <a:gd name="T84" fmla="*/ 6 w 631"/>
                <a:gd name="T85" fmla="*/ 37 h 358"/>
                <a:gd name="T86" fmla="*/ 4 w 631"/>
                <a:gd name="T87" fmla="*/ 36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103" name="Freeform 76">
              <a:extLst>
                <a:ext uri="{FF2B5EF4-FFF2-40B4-BE49-F238E27FC236}">
                  <a16:creationId xmlns:a16="http://schemas.microsoft.com/office/drawing/2014/main" id="{BC89A5AE-A0D9-48AB-A0D3-172D67430409}"/>
                </a:ext>
              </a:extLst>
            </p:cNvPr>
            <p:cNvSpPr>
              <a:spLocks/>
            </p:cNvSpPr>
            <p:nvPr/>
          </p:nvSpPr>
          <p:spPr bwMode="auto">
            <a:xfrm>
              <a:off x="5594" y="3323"/>
              <a:ext cx="114" cy="141"/>
            </a:xfrm>
            <a:custGeom>
              <a:avLst/>
              <a:gdLst>
                <a:gd name="T0" fmla="*/ 6 w 359"/>
                <a:gd name="T1" fmla="*/ 31 h 431"/>
                <a:gd name="T2" fmla="*/ 10 w 359"/>
                <a:gd name="T3" fmla="*/ 29 h 431"/>
                <a:gd name="T4" fmla="*/ 17 w 359"/>
                <a:gd name="T5" fmla="*/ 22 h 431"/>
                <a:gd name="T6" fmla="*/ 18 w 359"/>
                <a:gd name="T7" fmla="*/ 18 h 431"/>
                <a:gd name="T8" fmla="*/ 19 w 359"/>
                <a:gd name="T9" fmla="*/ 16 h 431"/>
                <a:gd name="T10" fmla="*/ 20 w 359"/>
                <a:gd name="T11" fmla="*/ 15 h 431"/>
                <a:gd name="T12" fmla="*/ 20 w 359"/>
                <a:gd name="T13" fmla="*/ 13 h 431"/>
                <a:gd name="T14" fmla="*/ 19 w 359"/>
                <a:gd name="T15" fmla="*/ 10 h 431"/>
                <a:gd name="T16" fmla="*/ 18 w 359"/>
                <a:gd name="T17" fmla="*/ 4 h 431"/>
                <a:gd name="T18" fmla="*/ 19 w 359"/>
                <a:gd name="T19" fmla="*/ 0 h 431"/>
                <a:gd name="T20" fmla="*/ 20 w 359"/>
                <a:gd name="T21" fmla="*/ 1 h 431"/>
                <a:gd name="T22" fmla="*/ 22 w 359"/>
                <a:gd name="T23" fmla="*/ 3 h 431"/>
                <a:gd name="T24" fmla="*/ 24 w 359"/>
                <a:gd name="T25" fmla="*/ 6 h 431"/>
                <a:gd name="T26" fmla="*/ 25 w 359"/>
                <a:gd name="T27" fmla="*/ 8 h 431"/>
                <a:gd name="T28" fmla="*/ 25 w 359"/>
                <a:gd name="T29" fmla="*/ 9 h 431"/>
                <a:gd name="T30" fmla="*/ 24 w 359"/>
                <a:gd name="T31" fmla="*/ 11 h 431"/>
                <a:gd name="T32" fmla="*/ 21 w 359"/>
                <a:gd name="T33" fmla="*/ 13 h 431"/>
                <a:gd name="T34" fmla="*/ 21 w 359"/>
                <a:gd name="T35" fmla="*/ 14 h 431"/>
                <a:gd name="T36" fmla="*/ 21 w 359"/>
                <a:gd name="T37" fmla="*/ 16 h 431"/>
                <a:gd name="T38" fmla="*/ 21 w 359"/>
                <a:gd name="T39" fmla="*/ 17 h 431"/>
                <a:gd name="T40" fmla="*/ 24 w 359"/>
                <a:gd name="T41" fmla="*/ 17 h 431"/>
                <a:gd name="T42" fmla="*/ 24 w 359"/>
                <a:gd name="T43" fmla="*/ 16 h 431"/>
                <a:gd name="T44" fmla="*/ 24 w 359"/>
                <a:gd name="T45" fmla="*/ 14 h 431"/>
                <a:gd name="T46" fmla="*/ 27 w 359"/>
                <a:gd name="T47" fmla="*/ 21 h 431"/>
                <a:gd name="T48" fmla="*/ 28 w 359"/>
                <a:gd name="T49" fmla="*/ 22 h 431"/>
                <a:gd name="T50" fmla="*/ 30 w 359"/>
                <a:gd name="T51" fmla="*/ 24 h 431"/>
                <a:gd name="T52" fmla="*/ 31 w 359"/>
                <a:gd name="T53" fmla="*/ 23 h 431"/>
                <a:gd name="T54" fmla="*/ 33 w 359"/>
                <a:gd name="T55" fmla="*/ 22 h 431"/>
                <a:gd name="T56" fmla="*/ 36 w 359"/>
                <a:gd name="T57" fmla="*/ 21 h 431"/>
                <a:gd name="T58" fmla="*/ 37 w 359"/>
                <a:gd name="T59" fmla="*/ 22 h 431"/>
                <a:gd name="T60" fmla="*/ 36 w 359"/>
                <a:gd name="T61" fmla="*/ 26 h 431"/>
                <a:gd name="T62" fmla="*/ 34 w 359"/>
                <a:gd name="T63" fmla="*/ 28 h 431"/>
                <a:gd name="T64" fmla="*/ 31 w 359"/>
                <a:gd name="T65" fmla="*/ 29 h 431"/>
                <a:gd name="T66" fmla="*/ 26 w 359"/>
                <a:gd name="T67" fmla="*/ 31 h 431"/>
                <a:gd name="T68" fmla="*/ 22 w 359"/>
                <a:gd name="T69" fmla="*/ 32 h 431"/>
                <a:gd name="T70" fmla="*/ 20 w 359"/>
                <a:gd name="T71" fmla="*/ 33 h 431"/>
                <a:gd name="T72" fmla="*/ 19 w 359"/>
                <a:gd name="T73" fmla="*/ 36 h 431"/>
                <a:gd name="T74" fmla="*/ 17 w 359"/>
                <a:gd name="T75" fmla="*/ 38 h 431"/>
                <a:gd name="T76" fmla="*/ 11 w 359"/>
                <a:gd name="T77" fmla="*/ 42 h 431"/>
                <a:gd name="T78" fmla="*/ 5 w 359"/>
                <a:gd name="T79" fmla="*/ 45 h 431"/>
                <a:gd name="T80" fmla="*/ 2 w 359"/>
                <a:gd name="T81" fmla="*/ 46 h 431"/>
                <a:gd name="T82" fmla="*/ 1 w 359"/>
                <a:gd name="T83" fmla="*/ 45 h 431"/>
                <a:gd name="T84" fmla="*/ 0 w 359"/>
                <a:gd name="T85" fmla="*/ 44 h 431"/>
                <a:gd name="T86" fmla="*/ 0 w 359"/>
                <a:gd name="T87" fmla="*/ 43 h 431"/>
                <a:gd name="T88" fmla="*/ 1 w 359"/>
                <a:gd name="T89" fmla="*/ 42 h 431"/>
                <a:gd name="T90" fmla="*/ 6 w 359"/>
                <a:gd name="T91" fmla="*/ 40 h 431"/>
                <a:gd name="T92" fmla="*/ 8 w 359"/>
                <a:gd name="T93" fmla="*/ 38 h 431"/>
                <a:gd name="T94" fmla="*/ 7 w 359"/>
                <a:gd name="T95" fmla="*/ 36 h 431"/>
                <a:gd name="T96" fmla="*/ 7 w 359"/>
                <a:gd name="T97" fmla="*/ 35 h 431"/>
                <a:gd name="T98" fmla="*/ 5 w 359"/>
                <a:gd name="T99" fmla="*/ 34 h 431"/>
                <a:gd name="T100" fmla="*/ 2 w 359"/>
                <a:gd name="T101" fmla="*/ 34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sp>
        <p:nvSpPr>
          <p:cNvPr id="628" name="Freeform 77">
            <a:extLst>
              <a:ext uri="{FF2B5EF4-FFF2-40B4-BE49-F238E27FC236}">
                <a16:creationId xmlns:a16="http://schemas.microsoft.com/office/drawing/2014/main" id="{D225F1C7-13BD-4C0F-A48F-6BCAA5388FB3}"/>
              </a:ext>
            </a:extLst>
          </p:cNvPr>
          <p:cNvSpPr>
            <a:spLocks/>
          </p:cNvSpPr>
          <p:nvPr>
            <p:custDataLst>
              <p:tags r:id="rId57"/>
            </p:custDataLst>
          </p:nvPr>
        </p:nvSpPr>
        <p:spPr bwMode="auto">
          <a:xfrm>
            <a:off x="10066071" y="3924954"/>
            <a:ext cx="12534" cy="75213"/>
          </a:xfrm>
          <a:custGeom>
            <a:avLst/>
            <a:gdLst>
              <a:gd name="T0" fmla="*/ 0 w 21"/>
              <a:gd name="T1" fmla="*/ 36535442 h 62"/>
              <a:gd name="T2" fmla="*/ 205921 w 21"/>
              <a:gd name="T3" fmla="*/ 24639946 h 62"/>
              <a:gd name="T4" fmla="*/ 617311 w 21"/>
              <a:gd name="T5" fmla="*/ 14444202 h 62"/>
              <a:gd name="T6" fmla="*/ 822779 w 21"/>
              <a:gd name="T7" fmla="*/ 9346790 h 62"/>
              <a:gd name="T8" fmla="*/ 1234168 w 21"/>
              <a:gd name="T9" fmla="*/ 5947287 h 62"/>
              <a:gd name="T10" fmla="*/ 1851479 w 21"/>
              <a:gd name="T11" fmla="*/ 2548706 h 62"/>
              <a:gd name="T12" fmla="*/ 3086100 w 21"/>
              <a:gd name="T13" fmla="*/ 0 h 62"/>
              <a:gd name="T14" fmla="*/ 3086100 w 21"/>
              <a:gd name="T15" fmla="*/ 12745372 h 62"/>
              <a:gd name="T16" fmla="*/ 3702957 w 21"/>
              <a:gd name="T17" fmla="*/ 26339698 h 62"/>
              <a:gd name="T18" fmla="*/ 4114346 w 21"/>
              <a:gd name="T19" fmla="*/ 37385318 h 62"/>
              <a:gd name="T20" fmla="*/ 4320268 w 21"/>
              <a:gd name="T21" fmla="*/ 41633775 h 62"/>
              <a:gd name="T22" fmla="*/ 2057400 w 21"/>
              <a:gd name="T23" fmla="*/ 46732108 h 62"/>
              <a:gd name="T24" fmla="*/ 0 w 21"/>
              <a:gd name="T25" fmla="*/ 52679395 h 62"/>
              <a:gd name="T26" fmla="*/ 0 w 21"/>
              <a:gd name="T27" fmla="*/ 36535442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29" name="Freeform 78">
            <a:extLst>
              <a:ext uri="{FF2B5EF4-FFF2-40B4-BE49-F238E27FC236}">
                <a16:creationId xmlns:a16="http://schemas.microsoft.com/office/drawing/2014/main" id="{3275F845-3954-46B7-9968-98616F53030A}"/>
              </a:ext>
            </a:extLst>
          </p:cNvPr>
          <p:cNvSpPr>
            <a:spLocks/>
          </p:cNvSpPr>
          <p:nvPr>
            <p:custDataLst>
              <p:tags r:id="rId58"/>
            </p:custDataLst>
          </p:nvPr>
        </p:nvSpPr>
        <p:spPr bwMode="auto">
          <a:xfrm>
            <a:off x="11077111" y="5097894"/>
            <a:ext cx="20889" cy="73182"/>
          </a:xfrm>
          <a:custGeom>
            <a:avLst/>
            <a:gdLst>
              <a:gd name="T0" fmla="*/ 0 w 33"/>
              <a:gd name="T1" fmla="*/ 0 h 24"/>
              <a:gd name="T2" fmla="*/ 937379 w 33"/>
              <a:gd name="T3" fmla="*/ 28351163 h 24"/>
              <a:gd name="T4" fmla="*/ 1874759 w 33"/>
              <a:gd name="T5" fmla="*/ 56704706 h 24"/>
              <a:gd name="T6" fmla="*/ 2062235 w 33"/>
              <a:gd name="T7" fmla="*/ 73713975 h 24"/>
              <a:gd name="T8" fmla="*/ 2249711 w 33"/>
              <a:gd name="T9" fmla="*/ 90725625 h 24"/>
              <a:gd name="T10" fmla="*/ 2437186 w 33"/>
              <a:gd name="T11" fmla="*/ 113407031 h 24"/>
              <a:gd name="T12" fmla="*/ 2437186 w 33"/>
              <a:gd name="T13" fmla="*/ 136088438 h 24"/>
              <a:gd name="T14" fmla="*/ 6186271 w 33"/>
              <a:gd name="T15" fmla="*/ 0 h 24"/>
              <a:gd name="T16" fmla="*/ 4498988 w 33"/>
              <a:gd name="T17" fmla="*/ 0 h 24"/>
              <a:gd name="T18" fmla="*/ 2999614 w 33"/>
              <a:gd name="T19" fmla="*/ 0 h 24"/>
              <a:gd name="T20" fmla="*/ 1687283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0872A6"/>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30" name="Freeform 79">
            <a:extLst>
              <a:ext uri="{FF2B5EF4-FFF2-40B4-BE49-F238E27FC236}">
                <a16:creationId xmlns:a16="http://schemas.microsoft.com/office/drawing/2014/main" id="{A8440520-8684-401C-9EA5-993283268F01}"/>
              </a:ext>
            </a:extLst>
          </p:cNvPr>
          <p:cNvSpPr>
            <a:spLocks/>
          </p:cNvSpPr>
          <p:nvPr>
            <p:custDataLst>
              <p:tags r:id="rId59"/>
            </p:custDataLst>
          </p:nvPr>
        </p:nvSpPr>
        <p:spPr bwMode="auto">
          <a:xfrm>
            <a:off x="11108445" y="5110091"/>
            <a:ext cx="25067" cy="77247"/>
          </a:xfrm>
          <a:custGeom>
            <a:avLst/>
            <a:gdLst>
              <a:gd name="T0" fmla="*/ 7281013 w 33"/>
              <a:gd name="T1" fmla="*/ 138001407 h 25"/>
              <a:gd name="T2" fmla="*/ 8120824 w 33"/>
              <a:gd name="T3" fmla="*/ 121442272 h 25"/>
              <a:gd name="T4" fmla="*/ 9241102 w 33"/>
              <a:gd name="T5" fmla="*/ 99361859 h 25"/>
              <a:gd name="T6" fmla="*/ 9241102 w 33"/>
              <a:gd name="T7" fmla="*/ 0 h 25"/>
              <a:gd name="T8" fmla="*/ 7001075 w 33"/>
              <a:gd name="T9" fmla="*/ 0 h 25"/>
              <a:gd name="T10" fmla="*/ 4480582 w 33"/>
              <a:gd name="T11" fmla="*/ 0 h 25"/>
              <a:gd name="T12" fmla="*/ 1680152 w 33"/>
              <a:gd name="T13" fmla="*/ 0 h 25"/>
              <a:gd name="T14" fmla="*/ 0 w 33"/>
              <a:gd name="T15" fmla="*/ 0 h 25"/>
              <a:gd name="T16" fmla="*/ 7281013 w 33"/>
              <a:gd name="T17" fmla="*/ 13800140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31" name="Freeform 80">
            <a:extLst>
              <a:ext uri="{FF2B5EF4-FFF2-40B4-BE49-F238E27FC236}">
                <a16:creationId xmlns:a16="http://schemas.microsoft.com/office/drawing/2014/main" id="{C89CAAA9-AD08-4CD7-84AC-00294710EB4B}"/>
              </a:ext>
            </a:extLst>
          </p:cNvPr>
          <p:cNvSpPr>
            <a:spLocks/>
          </p:cNvSpPr>
          <p:nvPr>
            <p:custDataLst>
              <p:tags r:id="rId60"/>
            </p:custDataLst>
          </p:nvPr>
        </p:nvSpPr>
        <p:spPr bwMode="auto">
          <a:xfrm>
            <a:off x="10153806" y="3910723"/>
            <a:ext cx="2089" cy="73182"/>
          </a:xfrm>
          <a:custGeom>
            <a:avLst/>
            <a:gdLst>
              <a:gd name="T0" fmla="*/ 0 w 7"/>
              <a:gd name="T1" fmla="*/ 0 h 55563"/>
              <a:gd name="T2" fmla="*/ 360249 w 7"/>
              <a:gd name="T3" fmla="*/ 0 h 55563"/>
              <a:gd name="T4" fmla="*/ 0 w 7"/>
              <a:gd name="T5" fmla="*/ 0 h 55563"/>
              <a:gd name="T6" fmla="*/ 0 60000 65536"/>
              <a:gd name="T7" fmla="*/ 0 60000 65536"/>
              <a:gd name="T8" fmla="*/ 0 60000 65536"/>
            </a:gdLst>
            <a:ahLst/>
            <a:cxnLst>
              <a:cxn ang="T6">
                <a:pos x="T0" y="T1"/>
              </a:cxn>
              <a:cxn ang="T7">
                <a:pos x="T2" y="T3"/>
              </a:cxn>
              <a:cxn ang="T8">
                <a:pos x="T4" y="T5"/>
              </a:cxn>
            </a:cxnLst>
            <a:rect l="0" t="0" r="r" b="b"/>
            <a:pathLst>
              <a:path w="7" h="55563">
                <a:moveTo>
                  <a:pt x="0" y="0"/>
                </a:moveTo>
                <a:lnTo>
                  <a:pt x="7" y="0"/>
                </a:lnTo>
                <a:lnTo>
                  <a:pt x="0"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32" name="Freeform 81">
            <a:extLst>
              <a:ext uri="{FF2B5EF4-FFF2-40B4-BE49-F238E27FC236}">
                <a16:creationId xmlns:a16="http://schemas.microsoft.com/office/drawing/2014/main" id="{25081C03-5431-4103-B11A-0165213D1FB7}"/>
              </a:ext>
            </a:extLst>
          </p:cNvPr>
          <p:cNvSpPr>
            <a:spLocks/>
          </p:cNvSpPr>
          <p:nvPr>
            <p:custDataLst>
              <p:tags r:id="rId61"/>
            </p:custDataLst>
          </p:nvPr>
        </p:nvSpPr>
        <p:spPr bwMode="auto">
          <a:xfrm>
            <a:off x="10235274" y="3839575"/>
            <a:ext cx="10444" cy="73182"/>
          </a:xfrm>
          <a:custGeom>
            <a:avLst/>
            <a:gdLst>
              <a:gd name="T0" fmla="*/ 2520156 w 16"/>
              <a:gd name="T1" fmla="*/ 0 h 25"/>
              <a:gd name="T2" fmla="*/ 2520156 w 16"/>
              <a:gd name="T3" fmla="*/ 31354776 h 25"/>
              <a:gd name="T4" fmla="*/ 2205038 w 16"/>
              <a:gd name="T5" fmla="*/ 67935348 h 25"/>
              <a:gd name="T6" fmla="*/ 2047478 w 16"/>
              <a:gd name="T7" fmla="*/ 83612736 h 25"/>
              <a:gd name="T8" fmla="*/ 1732756 w 16"/>
              <a:gd name="T9" fmla="*/ 104515920 h 25"/>
              <a:gd name="T10" fmla="*/ 1102519 w 16"/>
              <a:gd name="T11" fmla="*/ 120193308 h 25"/>
              <a:gd name="T12" fmla="*/ 472678 w 16"/>
              <a:gd name="T13" fmla="*/ 130644900 h 25"/>
              <a:gd name="T14" fmla="*/ 157559 w 16"/>
              <a:gd name="T15" fmla="*/ 125419104 h 25"/>
              <a:gd name="T16" fmla="*/ 0 w 16"/>
              <a:gd name="T17" fmla="*/ 109741716 h 25"/>
              <a:gd name="T18" fmla="*/ 157559 w 16"/>
              <a:gd name="T19" fmla="*/ 94064328 h 25"/>
              <a:gd name="T20" fmla="*/ 315119 w 16"/>
              <a:gd name="T21" fmla="*/ 67935348 h 25"/>
              <a:gd name="T22" fmla="*/ 630238 w 16"/>
              <a:gd name="T23" fmla="*/ 47032164 h 25"/>
              <a:gd name="T24" fmla="*/ 1102519 w 16"/>
              <a:gd name="T25" fmla="*/ 20903184 h 25"/>
              <a:gd name="T26" fmla="*/ 1732756 w 16"/>
              <a:gd name="T27" fmla="*/ 5225796 h 25"/>
              <a:gd name="T28" fmla="*/ 2520156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33" name="Freeform 82">
            <a:extLst>
              <a:ext uri="{FF2B5EF4-FFF2-40B4-BE49-F238E27FC236}">
                <a16:creationId xmlns:a16="http://schemas.microsoft.com/office/drawing/2014/main" id="{DF2CEA34-824C-4EFD-B607-0A2136729D00}"/>
              </a:ext>
            </a:extLst>
          </p:cNvPr>
          <p:cNvSpPr>
            <a:spLocks/>
          </p:cNvSpPr>
          <p:nvPr>
            <p:custDataLst>
              <p:tags r:id="rId62"/>
            </p:custDataLst>
          </p:nvPr>
        </p:nvSpPr>
        <p:spPr bwMode="auto">
          <a:xfrm>
            <a:off x="10391943" y="3693212"/>
            <a:ext cx="8355" cy="75213"/>
          </a:xfrm>
          <a:custGeom>
            <a:avLst/>
            <a:gdLst>
              <a:gd name="T0" fmla="*/ 0 w 14"/>
              <a:gd name="T1" fmla="*/ 0 h 18"/>
              <a:gd name="T2" fmla="*/ 347359 w 14"/>
              <a:gd name="T3" fmla="*/ 10080625 h 18"/>
              <a:gd name="T4" fmla="*/ 578705 w 14"/>
              <a:gd name="T5" fmla="*/ 20161250 h 18"/>
              <a:gd name="T6" fmla="*/ 810390 w 14"/>
              <a:gd name="T7" fmla="*/ 40322500 h 18"/>
              <a:gd name="T8" fmla="*/ 1041736 w 14"/>
              <a:gd name="T9" fmla="*/ 70564375 h 18"/>
              <a:gd name="T10" fmla="*/ 1504768 w 14"/>
              <a:gd name="T11" fmla="*/ 131048125 h 18"/>
              <a:gd name="T12" fmla="*/ 1620441 w 14"/>
              <a:gd name="T13" fmla="*/ 181451250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34" name="Freeform 83">
            <a:extLst>
              <a:ext uri="{FF2B5EF4-FFF2-40B4-BE49-F238E27FC236}">
                <a16:creationId xmlns:a16="http://schemas.microsoft.com/office/drawing/2014/main" id="{CEFF2B5B-4565-4863-B29C-34431B2B847D}"/>
              </a:ext>
            </a:extLst>
          </p:cNvPr>
          <p:cNvSpPr>
            <a:spLocks/>
          </p:cNvSpPr>
          <p:nvPr>
            <p:custDataLst>
              <p:tags r:id="rId63"/>
            </p:custDataLst>
          </p:nvPr>
        </p:nvSpPr>
        <p:spPr bwMode="auto">
          <a:xfrm>
            <a:off x="10605013" y="4601884"/>
            <a:ext cx="37601" cy="77247"/>
          </a:xfrm>
          <a:custGeom>
            <a:avLst/>
            <a:gdLst>
              <a:gd name="T0" fmla="*/ 0 w 67"/>
              <a:gd name="T1" fmla="*/ 0 h 74"/>
              <a:gd name="T2" fmla="*/ 162331 w 67"/>
              <a:gd name="T3" fmla="*/ 10710771 h 74"/>
              <a:gd name="T4" fmla="*/ 486590 w 67"/>
              <a:gd name="T5" fmla="*/ 18900614 h 74"/>
              <a:gd name="T6" fmla="*/ 1135913 w 67"/>
              <a:gd name="T7" fmla="*/ 25830786 h 74"/>
              <a:gd name="T8" fmla="*/ 1947164 w 67"/>
              <a:gd name="T9" fmla="*/ 31501288 h 74"/>
              <a:gd name="T10" fmla="*/ 2758415 w 67"/>
              <a:gd name="T11" fmla="*/ 36541558 h 74"/>
              <a:gd name="T12" fmla="*/ 3731997 w 67"/>
              <a:gd name="T13" fmla="*/ 40322157 h 74"/>
              <a:gd name="T14" fmla="*/ 4543249 w 67"/>
              <a:gd name="T15" fmla="*/ 43471730 h 74"/>
              <a:gd name="T16" fmla="*/ 5354500 w 67"/>
              <a:gd name="T17" fmla="*/ 46622097 h 74"/>
              <a:gd name="T18" fmla="*/ 7138930 w 67"/>
              <a:gd name="T19" fmla="*/ 40951595 h 74"/>
              <a:gd name="T20" fmla="*/ 8923763 w 67"/>
              <a:gd name="T21" fmla="*/ 34651655 h 74"/>
              <a:gd name="T22" fmla="*/ 9573087 w 67"/>
              <a:gd name="T23" fmla="*/ 30871056 h 74"/>
              <a:gd name="T24" fmla="*/ 10222007 w 67"/>
              <a:gd name="T25" fmla="*/ 27091251 h 74"/>
              <a:gd name="T26" fmla="*/ 10708597 w 67"/>
              <a:gd name="T27" fmla="*/ 23311445 h 74"/>
              <a:gd name="T28" fmla="*/ 10870928 w 67"/>
              <a:gd name="T29" fmla="*/ 18900614 h 74"/>
              <a:gd name="T30" fmla="*/ 10870928 w 67"/>
              <a:gd name="T31" fmla="*/ 15751041 h 74"/>
              <a:gd name="T32" fmla="*/ 10870928 w 67"/>
              <a:gd name="T33" fmla="*/ 11340210 h 74"/>
              <a:gd name="T34" fmla="*/ 10870928 w 67"/>
              <a:gd name="T35" fmla="*/ 5670502 h 74"/>
              <a:gd name="T36" fmla="*/ 10870928 w 67"/>
              <a:gd name="T37" fmla="*/ 0 h 74"/>
              <a:gd name="T38" fmla="*/ 7788253 w 67"/>
              <a:gd name="T39" fmla="*/ 0 h 74"/>
              <a:gd name="T40" fmla="*/ 5354500 w 67"/>
              <a:gd name="T41" fmla="*/ 0 h 74"/>
              <a:gd name="T42" fmla="*/ 2758415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35" name="Freeform 84">
            <a:extLst>
              <a:ext uri="{FF2B5EF4-FFF2-40B4-BE49-F238E27FC236}">
                <a16:creationId xmlns:a16="http://schemas.microsoft.com/office/drawing/2014/main" id="{EACF3417-6B0D-4B4C-8DBF-195F9A89D23A}"/>
              </a:ext>
            </a:extLst>
          </p:cNvPr>
          <p:cNvSpPr>
            <a:spLocks/>
          </p:cNvSpPr>
          <p:nvPr>
            <p:custDataLst>
              <p:tags r:id="rId64"/>
            </p:custDataLst>
          </p:nvPr>
        </p:nvSpPr>
        <p:spPr bwMode="auto">
          <a:xfrm>
            <a:off x="10692749" y="4620180"/>
            <a:ext cx="18801" cy="75213"/>
          </a:xfrm>
          <a:custGeom>
            <a:avLst/>
            <a:gdLst>
              <a:gd name="T0" fmla="*/ 0 w 34"/>
              <a:gd name="T1" fmla="*/ 0 h 38"/>
              <a:gd name="T2" fmla="*/ 279026 w 34"/>
              <a:gd name="T3" fmla="*/ 6785811 h 38"/>
              <a:gd name="T4" fmla="*/ 558053 w 34"/>
              <a:gd name="T5" fmla="*/ 15833558 h 38"/>
              <a:gd name="T6" fmla="*/ 697753 w 34"/>
              <a:gd name="T7" fmla="*/ 24879801 h 38"/>
              <a:gd name="T8" fmla="*/ 837079 w 34"/>
              <a:gd name="T9" fmla="*/ 36189486 h 38"/>
              <a:gd name="T10" fmla="*/ 1395132 w 34"/>
              <a:gd name="T11" fmla="*/ 63332728 h 38"/>
              <a:gd name="T12" fmla="*/ 1813859 w 34"/>
              <a:gd name="T13" fmla="*/ 85950592 h 38"/>
              <a:gd name="T14" fmla="*/ 2232212 w 34"/>
              <a:gd name="T15" fmla="*/ 83688655 h 38"/>
              <a:gd name="T16" fmla="*/ 2790638 w 34"/>
              <a:gd name="T17" fmla="*/ 81426718 h 38"/>
              <a:gd name="T18" fmla="*/ 3208991 w 34"/>
              <a:gd name="T19" fmla="*/ 76902845 h 38"/>
              <a:gd name="T20" fmla="*/ 3627718 w 34"/>
              <a:gd name="T21" fmla="*/ 70117034 h 38"/>
              <a:gd name="T22" fmla="*/ 3906744 w 34"/>
              <a:gd name="T23" fmla="*/ 63332728 h 38"/>
              <a:gd name="T24" fmla="*/ 4464797 w 34"/>
              <a:gd name="T25" fmla="*/ 54284980 h 38"/>
              <a:gd name="T26" fmla="*/ 4604124 w 34"/>
              <a:gd name="T27" fmla="*/ 47499170 h 38"/>
              <a:gd name="T28" fmla="*/ 4743824 w 34"/>
              <a:gd name="T29" fmla="*/ 42975296 h 38"/>
              <a:gd name="T30" fmla="*/ 4325097 w 34"/>
              <a:gd name="T31" fmla="*/ 40713359 h 38"/>
              <a:gd name="T32" fmla="*/ 3906744 w 34"/>
              <a:gd name="T33" fmla="*/ 38451422 h 38"/>
              <a:gd name="T34" fmla="*/ 3627718 w 34"/>
              <a:gd name="T35" fmla="*/ 31665612 h 38"/>
              <a:gd name="T36" fmla="*/ 3348691 w 34"/>
              <a:gd name="T37" fmla="*/ 27141738 h 38"/>
              <a:gd name="T38" fmla="*/ 2650938 w 34"/>
              <a:gd name="T39" fmla="*/ 13571621 h 38"/>
              <a:gd name="T40" fmla="*/ 1813859 w 34"/>
              <a:gd name="T41" fmla="*/ 0 h 38"/>
              <a:gd name="T42" fmla="*/ 837079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36" name="Freeform 85">
            <a:extLst>
              <a:ext uri="{FF2B5EF4-FFF2-40B4-BE49-F238E27FC236}">
                <a16:creationId xmlns:a16="http://schemas.microsoft.com/office/drawing/2014/main" id="{53652268-CEE9-4EAC-9A77-9D9187199024}"/>
              </a:ext>
            </a:extLst>
          </p:cNvPr>
          <p:cNvSpPr>
            <a:spLocks/>
          </p:cNvSpPr>
          <p:nvPr>
            <p:custDataLst>
              <p:tags r:id="rId65"/>
            </p:custDataLst>
          </p:nvPr>
        </p:nvSpPr>
        <p:spPr bwMode="auto">
          <a:xfrm>
            <a:off x="10494301" y="4329486"/>
            <a:ext cx="35511" cy="73182"/>
          </a:xfrm>
          <a:custGeom>
            <a:avLst/>
            <a:gdLst>
              <a:gd name="T0" fmla="*/ 12172830 w 53"/>
              <a:gd name="T1" fmla="*/ 134223298 h 23"/>
              <a:gd name="T2" fmla="*/ 12172830 w 53"/>
              <a:gd name="T3" fmla="*/ 23343287 h 23"/>
              <a:gd name="T4" fmla="*/ 11254117 w 53"/>
              <a:gd name="T5" fmla="*/ 11670436 h 23"/>
              <a:gd name="T6" fmla="*/ 10335404 w 53"/>
              <a:gd name="T7" fmla="*/ 5836426 h 23"/>
              <a:gd name="T8" fmla="*/ 9646249 w 53"/>
              <a:gd name="T9" fmla="*/ 0 h 23"/>
              <a:gd name="T10" fmla="*/ 8727536 w 53"/>
              <a:gd name="T11" fmla="*/ 0 h 23"/>
              <a:gd name="T12" fmla="*/ 7120147 w 53"/>
              <a:gd name="T13" fmla="*/ 5836426 h 23"/>
              <a:gd name="T14" fmla="*/ 5512279 w 53"/>
              <a:gd name="T15" fmla="*/ 23343287 h 23"/>
              <a:gd name="T16" fmla="*/ 2526581 w 53"/>
              <a:gd name="T17" fmla="*/ 75866287 h 23"/>
              <a:gd name="T18" fmla="*/ 0 w 53"/>
              <a:gd name="T19" fmla="*/ 134223298 h 23"/>
              <a:gd name="T20" fmla="*/ 12172830 w 53"/>
              <a:gd name="T21" fmla="*/ 134223298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37" name="Freeform 86">
            <a:extLst>
              <a:ext uri="{FF2B5EF4-FFF2-40B4-BE49-F238E27FC236}">
                <a16:creationId xmlns:a16="http://schemas.microsoft.com/office/drawing/2014/main" id="{657394CC-111D-4D27-BE41-597110F97638}"/>
              </a:ext>
            </a:extLst>
          </p:cNvPr>
          <p:cNvSpPr>
            <a:spLocks/>
          </p:cNvSpPr>
          <p:nvPr>
            <p:custDataLst>
              <p:tags r:id="rId66"/>
            </p:custDataLst>
          </p:nvPr>
        </p:nvSpPr>
        <p:spPr bwMode="auto">
          <a:xfrm>
            <a:off x="10414922" y="4296960"/>
            <a:ext cx="14622" cy="73182"/>
          </a:xfrm>
          <a:custGeom>
            <a:avLst/>
            <a:gdLst>
              <a:gd name="T0" fmla="*/ 0 w 26"/>
              <a:gd name="T1" fmla="*/ 0 h 12"/>
              <a:gd name="T2" fmla="*/ 730893 w 26"/>
              <a:gd name="T3" fmla="*/ 90725625 h 12"/>
              <a:gd name="T4" fmla="*/ 2009743 w 26"/>
              <a:gd name="T5" fmla="*/ 181451250 h 12"/>
              <a:gd name="T6" fmla="*/ 2557700 w 26"/>
              <a:gd name="T7" fmla="*/ 204135038 h 12"/>
              <a:gd name="T8" fmla="*/ 3288593 w 26"/>
              <a:gd name="T9" fmla="*/ 249497850 h 12"/>
              <a:gd name="T10" fmla="*/ 4019059 w 26"/>
              <a:gd name="T11" fmla="*/ 249497850 h 12"/>
              <a:gd name="T12" fmla="*/ 4749953 w 26"/>
              <a:gd name="T13" fmla="*/ 272176875 h 12"/>
              <a:gd name="T14" fmla="*/ 3836550 w 26"/>
              <a:gd name="T15" fmla="*/ 158772225 h 12"/>
              <a:gd name="T16" fmla="*/ 2375190 w 26"/>
              <a:gd name="T17" fmla="*/ 68046600 h 12"/>
              <a:gd name="T18" fmla="*/ 913403 w 26"/>
              <a:gd name="T19" fmla="*/ 22683788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38" name="Freeform 87">
            <a:extLst>
              <a:ext uri="{FF2B5EF4-FFF2-40B4-BE49-F238E27FC236}">
                <a16:creationId xmlns:a16="http://schemas.microsoft.com/office/drawing/2014/main" id="{62087A1D-3E0B-4BB8-B8C7-CDFF602A4743}"/>
              </a:ext>
            </a:extLst>
          </p:cNvPr>
          <p:cNvSpPr>
            <a:spLocks/>
          </p:cNvSpPr>
          <p:nvPr>
            <p:custDataLst>
              <p:tags r:id="rId67"/>
            </p:custDataLst>
          </p:nvPr>
        </p:nvSpPr>
        <p:spPr bwMode="auto">
          <a:xfrm>
            <a:off x="10692749" y="4727919"/>
            <a:ext cx="43868" cy="75216"/>
          </a:xfrm>
          <a:custGeom>
            <a:avLst/>
            <a:gdLst>
              <a:gd name="T0" fmla="*/ 0 w 73"/>
              <a:gd name="T1" fmla="*/ 0 h 57150"/>
              <a:gd name="T2" fmla="*/ 3783469 w 73"/>
              <a:gd name="T3" fmla="*/ 0 h 57150"/>
              <a:gd name="T4" fmla="*/ 6998918 w 73"/>
              <a:gd name="T5" fmla="*/ 0 h 57150"/>
              <a:gd name="T6" fmla="*/ 10403997 w 73"/>
              <a:gd name="T7" fmla="*/ 0 h 57150"/>
              <a:gd name="T8" fmla="*/ 13809075 w 73"/>
              <a:gd name="T9" fmla="*/ 0 h 571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3" h="57150">
                <a:moveTo>
                  <a:pt x="0" y="0"/>
                </a:moveTo>
                <a:lnTo>
                  <a:pt x="20" y="0"/>
                </a:lnTo>
                <a:lnTo>
                  <a:pt x="37" y="0"/>
                </a:lnTo>
                <a:lnTo>
                  <a:pt x="55" y="0"/>
                </a:lnTo>
                <a:lnTo>
                  <a:pt x="73"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39" name="Freeform 88">
            <a:extLst>
              <a:ext uri="{FF2B5EF4-FFF2-40B4-BE49-F238E27FC236}">
                <a16:creationId xmlns:a16="http://schemas.microsoft.com/office/drawing/2014/main" id="{487E671B-3C58-4886-841C-C08FC5E37F50}"/>
              </a:ext>
            </a:extLst>
          </p:cNvPr>
          <p:cNvSpPr>
            <a:spLocks/>
          </p:cNvSpPr>
          <p:nvPr>
            <p:custDataLst>
              <p:tags r:id="rId68"/>
            </p:custDataLst>
          </p:nvPr>
        </p:nvSpPr>
        <p:spPr bwMode="auto">
          <a:xfrm>
            <a:off x="10632170" y="4713690"/>
            <a:ext cx="29245" cy="75213"/>
          </a:xfrm>
          <a:custGeom>
            <a:avLst/>
            <a:gdLst>
              <a:gd name="T0" fmla="*/ 0 w 53"/>
              <a:gd name="T1" fmla="*/ 0 h 3"/>
              <a:gd name="T2" fmla="*/ 2461943 w 53"/>
              <a:gd name="T3" fmla="*/ 0 h 3"/>
              <a:gd name="T4" fmla="*/ 4747763 w 53"/>
              <a:gd name="T5" fmla="*/ 1088707500 h 3"/>
              <a:gd name="T6" fmla="*/ 5627118 w 53"/>
              <a:gd name="T7" fmla="*/ 1088707500 h 3"/>
              <a:gd name="T8" fmla="*/ 6857880 w 53"/>
              <a:gd name="T9" fmla="*/ 1088707500 h 3"/>
              <a:gd name="T10" fmla="*/ 7912939 w 53"/>
              <a:gd name="T11" fmla="*/ 362902500 h 3"/>
              <a:gd name="T12" fmla="*/ 9319823 w 53"/>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3" h="3">
                <a:moveTo>
                  <a:pt x="0" y="0"/>
                </a:moveTo>
                <a:lnTo>
                  <a:pt x="14" y="0"/>
                </a:lnTo>
                <a:lnTo>
                  <a:pt x="27" y="3"/>
                </a:lnTo>
                <a:lnTo>
                  <a:pt x="32" y="3"/>
                </a:lnTo>
                <a:lnTo>
                  <a:pt x="39" y="3"/>
                </a:lnTo>
                <a:lnTo>
                  <a:pt x="45" y="1"/>
                </a:lnTo>
                <a:lnTo>
                  <a:pt x="53"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40" name="Line 89">
            <a:extLst>
              <a:ext uri="{FF2B5EF4-FFF2-40B4-BE49-F238E27FC236}">
                <a16:creationId xmlns:a16="http://schemas.microsoft.com/office/drawing/2014/main" id="{14115F0F-8E86-4A47-9A25-4B9752493999}"/>
              </a:ext>
            </a:extLst>
          </p:cNvPr>
          <p:cNvSpPr>
            <a:spLocks noChangeShapeType="1"/>
          </p:cNvSpPr>
          <p:nvPr>
            <p:custDataLst>
              <p:tags r:id="rId69"/>
            </p:custDataLst>
          </p:nvPr>
        </p:nvSpPr>
        <p:spPr bwMode="auto">
          <a:xfrm>
            <a:off x="10678126" y="4695395"/>
            <a:ext cx="29245" cy="8131"/>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41" name="Freeform 90">
            <a:extLst>
              <a:ext uri="{FF2B5EF4-FFF2-40B4-BE49-F238E27FC236}">
                <a16:creationId xmlns:a16="http://schemas.microsoft.com/office/drawing/2014/main" id="{7394F79B-699F-4E6B-887B-2B7BF9280D60}"/>
              </a:ext>
            </a:extLst>
          </p:cNvPr>
          <p:cNvSpPr>
            <a:spLocks/>
          </p:cNvSpPr>
          <p:nvPr>
            <p:custDataLst>
              <p:tags r:id="rId70"/>
            </p:custDataLst>
          </p:nvPr>
        </p:nvSpPr>
        <p:spPr bwMode="auto">
          <a:xfrm>
            <a:off x="10707371" y="4703526"/>
            <a:ext cx="2088" cy="75216"/>
          </a:xfrm>
          <a:custGeom>
            <a:avLst/>
            <a:gdLst>
              <a:gd name="T0" fmla="*/ 0 w 1588"/>
              <a:gd name="T1" fmla="*/ 0 h 13"/>
              <a:gd name="T2" fmla="*/ 0 w 1588"/>
              <a:gd name="T3" fmla="*/ 115957350 h 13"/>
              <a:gd name="T4" fmla="*/ 0 w 1588"/>
              <a:gd name="T5" fmla="*/ 251240192 h 13"/>
              <a:gd name="T6" fmla="*/ 0 60000 65536"/>
              <a:gd name="T7" fmla="*/ 0 60000 65536"/>
              <a:gd name="T8" fmla="*/ 0 60000 65536"/>
            </a:gdLst>
            <a:ahLst/>
            <a:cxnLst>
              <a:cxn ang="T6">
                <a:pos x="T0" y="T1"/>
              </a:cxn>
              <a:cxn ang="T7">
                <a:pos x="T2" y="T3"/>
              </a:cxn>
              <a:cxn ang="T8">
                <a:pos x="T4" y="T5"/>
              </a:cxn>
            </a:cxnLst>
            <a:rect l="0" t="0" r="r" b="b"/>
            <a:pathLst>
              <a:path w="1588" h="13">
                <a:moveTo>
                  <a:pt x="0" y="0"/>
                </a:moveTo>
                <a:lnTo>
                  <a:pt x="0" y="6"/>
                </a:lnTo>
                <a:lnTo>
                  <a:pt x="0" y="13"/>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42" name="Freeform 91">
            <a:extLst>
              <a:ext uri="{FF2B5EF4-FFF2-40B4-BE49-F238E27FC236}">
                <a16:creationId xmlns:a16="http://schemas.microsoft.com/office/drawing/2014/main" id="{CEDEE8FF-A5C3-46BB-B2AB-A489C28BC781}"/>
              </a:ext>
            </a:extLst>
          </p:cNvPr>
          <p:cNvSpPr>
            <a:spLocks/>
          </p:cNvSpPr>
          <p:nvPr>
            <p:custDataLst>
              <p:tags r:id="rId71"/>
            </p:custDataLst>
          </p:nvPr>
        </p:nvSpPr>
        <p:spPr bwMode="auto">
          <a:xfrm>
            <a:off x="10642614" y="4695395"/>
            <a:ext cx="18801" cy="75216"/>
          </a:xfrm>
          <a:custGeom>
            <a:avLst/>
            <a:gdLst>
              <a:gd name="T0" fmla="*/ 0 w 26"/>
              <a:gd name="T1" fmla="*/ 0 h 58738"/>
              <a:gd name="T2" fmla="*/ 4529529 w 26"/>
              <a:gd name="T3" fmla="*/ 0 h 58738"/>
              <a:gd name="T4" fmla="*/ 7850707 w 26"/>
              <a:gd name="T5" fmla="*/ 0 h 58738"/>
              <a:gd name="T6" fmla="*/ 0 60000 65536"/>
              <a:gd name="T7" fmla="*/ 0 60000 65536"/>
              <a:gd name="T8" fmla="*/ 0 60000 65536"/>
            </a:gdLst>
            <a:ahLst/>
            <a:cxnLst>
              <a:cxn ang="T6">
                <a:pos x="T0" y="T1"/>
              </a:cxn>
              <a:cxn ang="T7">
                <a:pos x="T2" y="T3"/>
              </a:cxn>
              <a:cxn ang="T8">
                <a:pos x="T4" y="T5"/>
              </a:cxn>
            </a:cxnLst>
            <a:rect l="0" t="0" r="r" b="b"/>
            <a:pathLst>
              <a:path w="26" h="58738">
                <a:moveTo>
                  <a:pt x="0" y="0"/>
                </a:moveTo>
                <a:lnTo>
                  <a:pt x="15" y="0"/>
                </a:lnTo>
                <a:lnTo>
                  <a:pt x="26"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43" name="Freeform 92">
            <a:extLst>
              <a:ext uri="{FF2B5EF4-FFF2-40B4-BE49-F238E27FC236}">
                <a16:creationId xmlns:a16="http://schemas.microsoft.com/office/drawing/2014/main" id="{06125F62-DCBA-48C7-9EC2-9EE13CD0C531}"/>
              </a:ext>
            </a:extLst>
          </p:cNvPr>
          <p:cNvSpPr>
            <a:spLocks/>
          </p:cNvSpPr>
          <p:nvPr>
            <p:custDataLst>
              <p:tags r:id="rId72"/>
            </p:custDataLst>
          </p:nvPr>
        </p:nvSpPr>
        <p:spPr bwMode="auto">
          <a:xfrm>
            <a:off x="10634259" y="4671000"/>
            <a:ext cx="8355" cy="77247"/>
          </a:xfrm>
          <a:custGeom>
            <a:avLst/>
            <a:gdLst>
              <a:gd name="T0" fmla="*/ 2016125 w 20"/>
              <a:gd name="T1" fmla="*/ 0 h 25"/>
              <a:gd name="T2" fmla="*/ 0 w 20"/>
              <a:gd name="T3" fmla="*/ 75693397 h 25"/>
              <a:gd name="T4" fmla="*/ 403225 w 20"/>
              <a:gd name="T5" fmla="*/ 104806242 h 25"/>
              <a:gd name="T6" fmla="*/ 1008063 w 20"/>
              <a:gd name="T7" fmla="*/ 122273949 h 25"/>
              <a:gd name="T8" fmla="*/ 1411288 w 20"/>
              <a:gd name="T9" fmla="*/ 139741656 h 25"/>
              <a:gd name="T10" fmla="*/ 2016125 w 20"/>
              <a:gd name="T11" fmla="*/ 145564225 h 25"/>
              <a:gd name="T12" fmla="*/ 2016125 w 20"/>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5">
                <a:moveTo>
                  <a:pt x="20" y="0"/>
                </a:moveTo>
                <a:lnTo>
                  <a:pt x="0" y="13"/>
                </a:lnTo>
                <a:lnTo>
                  <a:pt x="4" y="18"/>
                </a:lnTo>
                <a:lnTo>
                  <a:pt x="10" y="21"/>
                </a:lnTo>
                <a:lnTo>
                  <a:pt x="14" y="24"/>
                </a:lnTo>
                <a:lnTo>
                  <a:pt x="20" y="25"/>
                </a:lnTo>
                <a:lnTo>
                  <a:pt x="20"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44" name="Freeform 93">
            <a:extLst>
              <a:ext uri="{FF2B5EF4-FFF2-40B4-BE49-F238E27FC236}">
                <a16:creationId xmlns:a16="http://schemas.microsoft.com/office/drawing/2014/main" id="{1C910EA9-A932-4EB5-8E92-0F761138BB97}"/>
              </a:ext>
            </a:extLst>
          </p:cNvPr>
          <p:cNvSpPr>
            <a:spLocks/>
          </p:cNvSpPr>
          <p:nvPr>
            <p:custDataLst>
              <p:tags r:id="rId73"/>
            </p:custDataLst>
          </p:nvPr>
        </p:nvSpPr>
        <p:spPr bwMode="auto">
          <a:xfrm>
            <a:off x="10747060" y="4315256"/>
            <a:ext cx="2089" cy="75213"/>
          </a:xfrm>
          <a:custGeom>
            <a:avLst/>
            <a:gdLst>
              <a:gd name="T0" fmla="*/ 0 w 6"/>
              <a:gd name="T1" fmla="*/ 136088438 h 24"/>
              <a:gd name="T2" fmla="*/ 0 w 6"/>
              <a:gd name="T3" fmla="*/ 0 h 24"/>
              <a:gd name="T4" fmla="*/ 420291 w 6"/>
              <a:gd name="T5" fmla="*/ 68044219 h 24"/>
              <a:gd name="T6" fmla="*/ 0 w 6"/>
              <a:gd name="T7" fmla="*/ 136088438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24">
                <a:moveTo>
                  <a:pt x="0" y="24"/>
                </a:moveTo>
                <a:lnTo>
                  <a:pt x="0" y="0"/>
                </a:lnTo>
                <a:lnTo>
                  <a:pt x="6" y="12"/>
                </a:lnTo>
                <a:lnTo>
                  <a:pt x="0" y="24"/>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nvGrpSpPr>
          <p:cNvPr id="645" name="Group 94">
            <a:extLst>
              <a:ext uri="{FF2B5EF4-FFF2-40B4-BE49-F238E27FC236}">
                <a16:creationId xmlns:a16="http://schemas.microsoft.com/office/drawing/2014/main" id="{2EABB35A-492B-4F1F-99B2-C6AB7ECAEDB6}"/>
              </a:ext>
            </a:extLst>
          </p:cNvPr>
          <p:cNvGrpSpPr>
            <a:grpSpLocks/>
          </p:cNvGrpSpPr>
          <p:nvPr>
            <p:custDataLst>
              <p:tags r:id="rId74"/>
            </p:custDataLst>
          </p:nvPr>
        </p:nvGrpSpPr>
        <p:grpSpPr bwMode="auto">
          <a:xfrm>
            <a:off x="10571710" y="3888178"/>
            <a:ext cx="227572" cy="148602"/>
            <a:chOff x="5379" y="2466"/>
            <a:chExt cx="122" cy="71"/>
          </a:xfrm>
          <a:solidFill>
            <a:schemeClr val="bg1">
              <a:lumMod val="65000"/>
            </a:schemeClr>
          </a:solidFill>
        </p:grpSpPr>
        <p:sp>
          <p:nvSpPr>
            <p:cNvPr id="1092" name="Freeform 95">
              <a:extLst>
                <a:ext uri="{FF2B5EF4-FFF2-40B4-BE49-F238E27FC236}">
                  <a16:creationId xmlns:a16="http://schemas.microsoft.com/office/drawing/2014/main" id="{6D8E4EC8-D4F0-4286-8E6F-10E780E84072}"/>
                </a:ext>
              </a:extLst>
            </p:cNvPr>
            <p:cNvSpPr>
              <a:spLocks/>
            </p:cNvSpPr>
            <p:nvPr/>
          </p:nvSpPr>
          <p:spPr bwMode="auto">
            <a:xfrm>
              <a:off x="5428" y="2492"/>
              <a:ext cx="6" cy="9"/>
            </a:xfrm>
            <a:custGeom>
              <a:avLst/>
              <a:gdLst>
                <a:gd name="T0" fmla="*/ 2 w 19"/>
                <a:gd name="T1" fmla="*/ 3 h 25"/>
                <a:gd name="T2" fmla="*/ 2 w 19"/>
                <a:gd name="T3" fmla="*/ 3 h 25"/>
                <a:gd name="T4" fmla="*/ 2 w 19"/>
                <a:gd name="T5" fmla="*/ 1 h 25"/>
                <a:gd name="T6" fmla="*/ 2 w 19"/>
                <a:gd name="T7" fmla="*/ 1 h 25"/>
                <a:gd name="T8" fmla="*/ 2 w 19"/>
                <a:gd name="T9" fmla="*/ 1 h 25"/>
                <a:gd name="T10" fmla="*/ 2 w 19"/>
                <a:gd name="T11" fmla="*/ 0 h 25"/>
                <a:gd name="T12" fmla="*/ 2 w 19"/>
                <a:gd name="T13" fmla="*/ 0 h 25"/>
                <a:gd name="T14" fmla="*/ 0 w 19"/>
                <a:gd name="T15" fmla="*/ 0 h 25"/>
                <a:gd name="T16" fmla="*/ 0 w 19"/>
                <a:gd name="T17" fmla="*/ 1 h 25"/>
                <a:gd name="T18" fmla="*/ 1 w 19"/>
                <a:gd name="T19" fmla="*/ 2 h 25"/>
                <a:gd name="T20" fmla="*/ 1 w 19"/>
                <a:gd name="T21" fmla="*/ 3 h 25"/>
                <a:gd name="T22" fmla="*/ 1 w 19"/>
                <a:gd name="T23" fmla="*/ 3 h 25"/>
                <a:gd name="T24" fmla="*/ 2 w 19"/>
                <a:gd name="T25" fmla="*/ 3 h 25"/>
                <a:gd name="T26" fmla="*/ 2 w 19"/>
                <a:gd name="T27" fmla="*/ 3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93" name="Freeform 96">
              <a:extLst>
                <a:ext uri="{FF2B5EF4-FFF2-40B4-BE49-F238E27FC236}">
                  <a16:creationId xmlns:a16="http://schemas.microsoft.com/office/drawing/2014/main" id="{09AFF6D5-D92B-43F4-974A-B36FF0B4C120}"/>
                </a:ext>
              </a:extLst>
            </p:cNvPr>
            <p:cNvSpPr>
              <a:spLocks/>
            </p:cNvSpPr>
            <p:nvPr/>
          </p:nvSpPr>
          <p:spPr bwMode="auto">
            <a:xfrm>
              <a:off x="5379" y="2505"/>
              <a:ext cx="7" cy="6"/>
            </a:xfrm>
            <a:custGeom>
              <a:avLst/>
              <a:gdLst>
                <a:gd name="T0" fmla="*/ 2 w 26"/>
                <a:gd name="T1" fmla="*/ 2 h 18"/>
                <a:gd name="T2" fmla="*/ 1 w 26"/>
                <a:gd name="T3" fmla="*/ 2 h 18"/>
                <a:gd name="T4" fmla="*/ 0 w 26"/>
                <a:gd name="T5" fmla="*/ 1 h 18"/>
                <a:gd name="T6" fmla="*/ 0 w 26"/>
                <a:gd name="T7" fmla="*/ 0 h 18"/>
                <a:gd name="T8" fmla="*/ 1 w 26"/>
                <a:gd name="T9" fmla="*/ 0 h 18"/>
                <a:gd name="T10" fmla="*/ 1 w 26"/>
                <a:gd name="T11" fmla="*/ 1 h 18"/>
                <a:gd name="T12" fmla="*/ 1 w 26"/>
                <a:gd name="T13" fmla="*/ 1 h 18"/>
                <a:gd name="T14" fmla="*/ 2 w 26"/>
                <a:gd name="T15" fmla="*/ 2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94" name="Freeform 97">
              <a:extLst>
                <a:ext uri="{FF2B5EF4-FFF2-40B4-BE49-F238E27FC236}">
                  <a16:creationId xmlns:a16="http://schemas.microsoft.com/office/drawing/2014/main" id="{BB0DFA92-87D6-42E2-A044-9E1ED20133C4}"/>
                </a:ext>
              </a:extLst>
            </p:cNvPr>
            <p:cNvSpPr>
              <a:spLocks/>
            </p:cNvSpPr>
            <p:nvPr/>
          </p:nvSpPr>
          <p:spPr bwMode="auto">
            <a:xfrm>
              <a:off x="5392" y="2466"/>
              <a:ext cx="1" cy="6"/>
            </a:xfrm>
            <a:custGeom>
              <a:avLst/>
              <a:gdLst>
                <a:gd name="T0" fmla="*/ 0 w 13"/>
                <a:gd name="T1" fmla="*/ 2 h 18"/>
                <a:gd name="T2" fmla="*/ 2 w 13"/>
                <a:gd name="T3" fmla="*/ 0 h 18"/>
                <a:gd name="T4" fmla="*/ 0 w 13"/>
                <a:gd name="T5" fmla="*/ 2 h 18"/>
                <a:gd name="T6" fmla="*/ 0 60000 65536"/>
                <a:gd name="T7" fmla="*/ 0 60000 65536"/>
                <a:gd name="T8" fmla="*/ 0 60000 65536"/>
              </a:gdLst>
              <a:ahLst/>
              <a:cxnLst>
                <a:cxn ang="T6">
                  <a:pos x="T0" y="T1"/>
                </a:cxn>
                <a:cxn ang="T7">
                  <a:pos x="T2" y="T3"/>
                </a:cxn>
                <a:cxn ang="T8">
                  <a:pos x="T4" y="T5"/>
                </a:cxn>
              </a:cxnLst>
              <a:rect l="0" t="0" r="r" b="b"/>
              <a:pathLst>
                <a:path w="13" h="18">
                  <a:moveTo>
                    <a:pt x="0" y="18"/>
                  </a:moveTo>
                  <a:lnTo>
                    <a:pt x="13" y="0"/>
                  </a:lnTo>
                  <a:lnTo>
                    <a:pt x="0" y="18"/>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95" name="Freeform 98">
              <a:extLst>
                <a:ext uri="{FF2B5EF4-FFF2-40B4-BE49-F238E27FC236}">
                  <a16:creationId xmlns:a16="http://schemas.microsoft.com/office/drawing/2014/main" id="{142BAABA-DE31-4B42-929F-04075B512979}"/>
                </a:ext>
              </a:extLst>
            </p:cNvPr>
            <p:cNvSpPr>
              <a:spLocks/>
            </p:cNvSpPr>
            <p:nvPr/>
          </p:nvSpPr>
          <p:spPr bwMode="auto">
            <a:xfrm>
              <a:off x="5426" y="2468"/>
              <a:ext cx="8" cy="8"/>
            </a:xfrm>
            <a:custGeom>
              <a:avLst/>
              <a:gdLst>
                <a:gd name="T0" fmla="*/ 0 w 26"/>
                <a:gd name="T1" fmla="*/ 3 h 24"/>
                <a:gd name="T2" fmla="*/ 0 w 26"/>
                <a:gd name="T3" fmla="*/ 3 h 24"/>
                <a:gd name="T4" fmla="*/ 1 w 26"/>
                <a:gd name="T5" fmla="*/ 2 h 24"/>
                <a:gd name="T6" fmla="*/ 1 w 26"/>
                <a:gd name="T7" fmla="*/ 2 h 24"/>
                <a:gd name="T8" fmla="*/ 2 w 26"/>
                <a:gd name="T9" fmla="*/ 2 h 24"/>
                <a:gd name="T10" fmla="*/ 2 w 26"/>
                <a:gd name="T11" fmla="*/ 1 h 24"/>
                <a:gd name="T12" fmla="*/ 2 w 26"/>
                <a:gd name="T13" fmla="*/ 1 h 24"/>
                <a:gd name="T14" fmla="*/ 2 w 26"/>
                <a:gd name="T15" fmla="*/ 0 h 24"/>
                <a:gd name="T16" fmla="*/ 2 w 26"/>
                <a:gd name="T17" fmla="*/ 0 h 24"/>
                <a:gd name="T18" fmla="*/ 0 w 26"/>
                <a:gd name="T19" fmla="*/ 3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96" name="Freeform 99">
              <a:extLst>
                <a:ext uri="{FF2B5EF4-FFF2-40B4-BE49-F238E27FC236}">
                  <a16:creationId xmlns:a16="http://schemas.microsoft.com/office/drawing/2014/main" id="{E9A27BDE-124F-42A0-ACC5-9F99BD7D839C}"/>
                </a:ext>
              </a:extLst>
            </p:cNvPr>
            <p:cNvSpPr>
              <a:spLocks/>
            </p:cNvSpPr>
            <p:nvPr/>
          </p:nvSpPr>
          <p:spPr bwMode="auto">
            <a:xfrm>
              <a:off x="5490" y="2490"/>
              <a:ext cx="11" cy="2"/>
            </a:xfrm>
            <a:custGeom>
              <a:avLst/>
              <a:gdLst>
                <a:gd name="T0" fmla="*/ 0 w 34"/>
                <a:gd name="T1" fmla="*/ 1 h 6"/>
                <a:gd name="T2" fmla="*/ 1 w 34"/>
                <a:gd name="T3" fmla="*/ 1 h 6"/>
                <a:gd name="T4" fmla="*/ 2 w 34"/>
                <a:gd name="T5" fmla="*/ 1 h 6"/>
                <a:gd name="T6" fmla="*/ 3 w 34"/>
                <a:gd name="T7" fmla="*/ 0 h 6"/>
                <a:gd name="T8" fmla="*/ 4 w 3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 h="6">
                  <a:moveTo>
                    <a:pt x="0" y="6"/>
                  </a:moveTo>
                  <a:lnTo>
                    <a:pt x="10" y="6"/>
                  </a:lnTo>
                  <a:lnTo>
                    <a:pt x="17" y="5"/>
                  </a:lnTo>
                  <a:lnTo>
                    <a:pt x="25" y="4"/>
                  </a:lnTo>
                  <a:lnTo>
                    <a:pt x="34"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97" name="Line 100">
              <a:extLst>
                <a:ext uri="{FF2B5EF4-FFF2-40B4-BE49-F238E27FC236}">
                  <a16:creationId xmlns:a16="http://schemas.microsoft.com/office/drawing/2014/main" id="{2B22FBF3-1460-4111-B2D0-FA004F70C359}"/>
                </a:ext>
              </a:extLst>
            </p:cNvPr>
            <p:cNvSpPr>
              <a:spLocks noChangeShapeType="1"/>
            </p:cNvSpPr>
            <p:nvPr/>
          </p:nvSpPr>
          <p:spPr bwMode="auto">
            <a:xfrm flipH="1">
              <a:off x="5495" y="2490"/>
              <a:ext cx="6" cy="1"/>
            </a:xfrm>
            <a:prstGeom prst="line">
              <a:avLst/>
            </a:prstGeom>
            <a:grpFill/>
            <a:ln w="9525">
              <a:solidFill>
                <a:schemeClr val="bg1"/>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98" name="Freeform 101">
              <a:extLst>
                <a:ext uri="{FF2B5EF4-FFF2-40B4-BE49-F238E27FC236}">
                  <a16:creationId xmlns:a16="http://schemas.microsoft.com/office/drawing/2014/main" id="{62DC3695-7B21-4485-AA29-7371E916947F}"/>
                </a:ext>
              </a:extLst>
            </p:cNvPr>
            <p:cNvSpPr>
              <a:spLocks/>
            </p:cNvSpPr>
            <p:nvPr/>
          </p:nvSpPr>
          <p:spPr bwMode="auto">
            <a:xfrm>
              <a:off x="5464" y="2530"/>
              <a:ext cx="1" cy="7"/>
            </a:xfrm>
            <a:custGeom>
              <a:avLst/>
              <a:gdLst>
                <a:gd name="T0" fmla="*/ 0 w 1"/>
                <a:gd name="T1" fmla="*/ 3 h 19"/>
                <a:gd name="T2" fmla="*/ 0 w 1"/>
                <a:gd name="T3" fmla="*/ 1 h 19"/>
                <a:gd name="T4" fmla="*/ 0 w 1"/>
                <a:gd name="T5" fmla="*/ 0 h 19"/>
                <a:gd name="T6" fmla="*/ 0 60000 65536"/>
                <a:gd name="T7" fmla="*/ 0 60000 65536"/>
                <a:gd name="T8" fmla="*/ 0 60000 65536"/>
              </a:gdLst>
              <a:ahLst/>
              <a:cxnLst>
                <a:cxn ang="T6">
                  <a:pos x="T0" y="T1"/>
                </a:cxn>
                <a:cxn ang="T7">
                  <a:pos x="T2" y="T3"/>
                </a:cxn>
                <a:cxn ang="T8">
                  <a:pos x="T4" y="T5"/>
                </a:cxn>
              </a:cxnLst>
              <a:rect l="0" t="0" r="r" b="b"/>
              <a:pathLst>
                <a:path w="1" h="19">
                  <a:moveTo>
                    <a:pt x="0" y="19"/>
                  </a:moveTo>
                  <a:lnTo>
                    <a:pt x="0" y="9"/>
                  </a:lnTo>
                  <a:lnTo>
                    <a:pt x="0"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99" name="Line 102">
              <a:extLst>
                <a:ext uri="{FF2B5EF4-FFF2-40B4-BE49-F238E27FC236}">
                  <a16:creationId xmlns:a16="http://schemas.microsoft.com/office/drawing/2014/main" id="{A25FEC4C-FE88-45E7-8519-100FBE40FAAF}"/>
                </a:ext>
              </a:extLst>
            </p:cNvPr>
            <p:cNvSpPr>
              <a:spLocks noChangeShapeType="1"/>
            </p:cNvSpPr>
            <p:nvPr/>
          </p:nvSpPr>
          <p:spPr bwMode="auto">
            <a:xfrm>
              <a:off x="5464" y="2530"/>
              <a:ext cx="6" cy="1"/>
            </a:xfrm>
            <a:prstGeom prst="line">
              <a:avLst/>
            </a:prstGeom>
            <a:grpFill/>
            <a:ln w="9525">
              <a:solidFill>
                <a:schemeClr val="bg1"/>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100" name="Freeform 103">
              <a:extLst>
                <a:ext uri="{FF2B5EF4-FFF2-40B4-BE49-F238E27FC236}">
                  <a16:creationId xmlns:a16="http://schemas.microsoft.com/office/drawing/2014/main" id="{C91E23CE-FC16-42D7-9266-39D390E6D489}"/>
                </a:ext>
              </a:extLst>
            </p:cNvPr>
            <p:cNvSpPr>
              <a:spLocks/>
            </p:cNvSpPr>
            <p:nvPr/>
          </p:nvSpPr>
          <p:spPr bwMode="auto">
            <a:xfrm>
              <a:off x="5466" y="2530"/>
              <a:ext cx="2" cy="2"/>
            </a:xfrm>
            <a:custGeom>
              <a:avLst/>
              <a:gdLst>
                <a:gd name="T0" fmla="*/ 1 w 14"/>
                <a:gd name="T1" fmla="*/ 0 h 6"/>
                <a:gd name="T2" fmla="*/ 1 w 14"/>
                <a:gd name="T3" fmla="*/ 0 h 6"/>
                <a:gd name="T4" fmla="*/ 0 w 14"/>
                <a:gd name="T5" fmla="*/ 1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7" y="3"/>
                  </a:lnTo>
                  <a:lnTo>
                    <a:pt x="0" y="6"/>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sp>
        <p:nvSpPr>
          <p:cNvPr id="646" name="Freeform 104">
            <a:extLst>
              <a:ext uri="{FF2B5EF4-FFF2-40B4-BE49-F238E27FC236}">
                <a16:creationId xmlns:a16="http://schemas.microsoft.com/office/drawing/2014/main" id="{A4250653-89D6-4C8C-B606-A6DA4DA4C61A}"/>
              </a:ext>
            </a:extLst>
          </p:cNvPr>
          <p:cNvSpPr>
            <a:spLocks/>
          </p:cNvSpPr>
          <p:nvPr>
            <p:custDataLst>
              <p:tags r:id="rId75"/>
            </p:custDataLst>
          </p:nvPr>
        </p:nvSpPr>
        <p:spPr bwMode="auto">
          <a:xfrm>
            <a:off x="8601736" y="3709475"/>
            <a:ext cx="8355" cy="73182"/>
          </a:xfrm>
          <a:custGeom>
            <a:avLst/>
            <a:gdLst>
              <a:gd name="T0" fmla="*/ 775433 w 26"/>
              <a:gd name="T1" fmla="*/ 29424527 h 111"/>
              <a:gd name="T2" fmla="*/ 536819 w 26"/>
              <a:gd name="T3" fmla="*/ 27303799 h 111"/>
              <a:gd name="T4" fmla="*/ 238613 w 26"/>
              <a:gd name="T5" fmla="*/ 25183070 h 111"/>
              <a:gd name="T6" fmla="*/ 119185 w 26"/>
              <a:gd name="T7" fmla="*/ 24122964 h 111"/>
              <a:gd name="T8" fmla="*/ 59592 w 26"/>
              <a:gd name="T9" fmla="*/ 23062342 h 111"/>
              <a:gd name="T10" fmla="*/ 0 w 26"/>
              <a:gd name="T11" fmla="*/ 21206769 h 111"/>
              <a:gd name="T12" fmla="*/ 0 w 26"/>
              <a:gd name="T13" fmla="*/ 19616351 h 111"/>
              <a:gd name="T14" fmla="*/ 0 w 26"/>
              <a:gd name="T15" fmla="*/ 16170361 h 111"/>
              <a:gd name="T16" fmla="*/ 59592 w 26"/>
              <a:gd name="T17" fmla="*/ 13519322 h 111"/>
              <a:gd name="T18" fmla="*/ 179021 w 26"/>
              <a:gd name="T19" fmla="*/ 10868282 h 111"/>
              <a:gd name="T20" fmla="*/ 298206 w 26"/>
              <a:gd name="T21" fmla="*/ 8748069 h 111"/>
              <a:gd name="T22" fmla="*/ 536819 w 26"/>
              <a:gd name="T23" fmla="*/ 6362185 h 111"/>
              <a:gd name="T24" fmla="*/ 835025 w 26"/>
              <a:gd name="T25" fmla="*/ 4506612 h 111"/>
              <a:gd name="T26" fmla="*/ 1193067 w 26"/>
              <a:gd name="T27" fmla="*/ 2385884 h 111"/>
              <a:gd name="T28" fmla="*/ 1550865 w 26"/>
              <a:gd name="T29" fmla="*/ 0 h 111"/>
              <a:gd name="T30" fmla="*/ 1550865 w 26"/>
              <a:gd name="T31" fmla="*/ 1590418 h 111"/>
              <a:gd name="T32" fmla="*/ 1550865 w 26"/>
              <a:gd name="T33" fmla="*/ 3445991 h 111"/>
              <a:gd name="T34" fmla="*/ 1550865 w 26"/>
              <a:gd name="T35" fmla="*/ 5831874 h 111"/>
              <a:gd name="T36" fmla="*/ 1550865 w 26"/>
              <a:gd name="T37" fmla="*/ 8482914 h 111"/>
              <a:gd name="T38" fmla="*/ 1491273 w 26"/>
              <a:gd name="T39" fmla="*/ 11663749 h 111"/>
              <a:gd name="T40" fmla="*/ 1312252 w 26"/>
              <a:gd name="T41" fmla="*/ 14844584 h 111"/>
              <a:gd name="T42" fmla="*/ 1073638 w 26"/>
              <a:gd name="T43" fmla="*/ 17760778 h 111"/>
              <a:gd name="T44" fmla="*/ 775433 w 26"/>
              <a:gd name="T45" fmla="*/ 21206769 h 111"/>
              <a:gd name="T46" fmla="*/ 775433 w 26"/>
              <a:gd name="T47" fmla="*/ 29424527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47" name="Freeform 105">
            <a:extLst>
              <a:ext uri="{FF2B5EF4-FFF2-40B4-BE49-F238E27FC236}">
                <a16:creationId xmlns:a16="http://schemas.microsoft.com/office/drawing/2014/main" id="{B1DC7D05-91C5-4D42-AC8B-65BD9624EBF8}"/>
              </a:ext>
            </a:extLst>
          </p:cNvPr>
          <p:cNvSpPr>
            <a:spLocks/>
          </p:cNvSpPr>
          <p:nvPr>
            <p:custDataLst>
              <p:tags r:id="rId76"/>
            </p:custDataLst>
          </p:nvPr>
        </p:nvSpPr>
        <p:spPr bwMode="auto">
          <a:xfrm>
            <a:off x="4286017" y="6490380"/>
            <a:ext cx="75202" cy="77247"/>
          </a:xfrm>
          <a:custGeom>
            <a:avLst/>
            <a:gdLst>
              <a:gd name="T0" fmla="*/ 0 w 126"/>
              <a:gd name="T1" fmla="*/ 17052968 h 62"/>
              <a:gd name="T2" fmla="*/ 2018494 w 126"/>
              <a:gd name="T3" fmla="*/ 17951091 h 62"/>
              <a:gd name="T4" fmla="*/ 3853644 w 126"/>
              <a:gd name="T5" fmla="*/ 18848266 h 62"/>
              <a:gd name="T6" fmla="*/ 5321678 w 126"/>
              <a:gd name="T7" fmla="*/ 20643565 h 62"/>
              <a:gd name="T8" fmla="*/ 6605940 w 126"/>
              <a:gd name="T9" fmla="*/ 23336039 h 62"/>
              <a:gd name="T10" fmla="*/ 9175322 w 126"/>
              <a:gd name="T11" fmla="*/ 29619110 h 62"/>
              <a:gd name="T12" fmla="*/ 11193815 w 126"/>
              <a:gd name="T13" fmla="*/ 35901234 h 62"/>
              <a:gd name="T14" fmla="*/ 12845193 w 126"/>
              <a:gd name="T15" fmla="*/ 43082428 h 62"/>
              <a:gd name="T16" fmla="*/ 14496571 w 126"/>
              <a:gd name="T17" fmla="*/ 49364552 h 62"/>
              <a:gd name="T18" fmla="*/ 15414146 w 126"/>
              <a:gd name="T19" fmla="*/ 52057026 h 62"/>
              <a:gd name="T20" fmla="*/ 16331721 w 126"/>
              <a:gd name="T21" fmla="*/ 53852325 h 62"/>
              <a:gd name="T22" fmla="*/ 17432640 w 126"/>
              <a:gd name="T23" fmla="*/ 54750448 h 62"/>
              <a:gd name="T24" fmla="*/ 18350215 w 126"/>
              <a:gd name="T25" fmla="*/ 55647623 h 62"/>
              <a:gd name="T26" fmla="*/ 19267790 w 126"/>
              <a:gd name="T27" fmla="*/ 54750448 h 62"/>
              <a:gd name="T28" fmla="*/ 20002021 w 126"/>
              <a:gd name="T29" fmla="*/ 53852325 h 62"/>
              <a:gd name="T30" fmla="*/ 20735824 w 126"/>
              <a:gd name="T31" fmla="*/ 52057026 h 62"/>
              <a:gd name="T32" fmla="*/ 21470056 w 126"/>
              <a:gd name="T33" fmla="*/ 50262675 h 62"/>
              <a:gd name="T34" fmla="*/ 22387631 w 126"/>
              <a:gd name="T35" fmla="*/ 45774902 h 62"/>
              <a:gd name="T36" fmla="*/ 23121434 w 126"/>
              <a:gd name="T37" fmla="*/ 43979604 h 62"/>
              <a:gd name="T38" fmla="*/ 20185365 w 126"/>
              <a:gd name="T39" fmla="*/ 29619110 h 62"/>
              <a:gd name="T40" fmla="*/ 17616412 w 126"/>
              <a:gd name="T41" fmla="*/ 18848266 h 62"/>
              <a:gd name="T42" fmla="*/ 16331721 w 126"/>
              <a:gd name="T43" fmla="*/ 13463318 h 62"/>
              <a:gd name="T44" fmla="*/ 14863687 w 126"/>
              <a:gd name="T45" fmla="*/ 8077422 h 62"/>
              <a:gd name="T46" fmla="*/ 13212309 w 126"/>
              <a:gd name="T47" fmla="*/ 4487773 h 62"/>
              <a:gd name="T48" fmla="*/ 11193815 w 126"/>
              <a:gd name="T49" fmla="*/ 0 h 62"/>
              <a:gd name="T50" fmla="*/ 0 w 126"/>
              <a:gd name="T51" fmla="*/ 0 h 62"/>
              <a:gd name="T52" fmla="*/ 0 w 126"/>
              <a:gd name="T53" fmla="*/ 8077422 h 62"/>
              <a:gd name="T54" fmla="*/ 0 w 126"/>
              <a:gd name="T55" fmla="*/ 17052968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48" name="Freeform 106">
            <a:extLst>
              <a:ext uri="{FF2B5EF4-FFF2-40B4-BE49-F238E27FC236}">
                <a16:creationId xmlns:a16="http://schemas.microsoft.com/office/drawing/2014/main" id="{C97E0DA2-86E7-4664-B839-3EC66F997098}"/>
              </a:ext>
            </a:extLst>
          </p:cNvPr>
          <p:cNvSpPr>
            <a:spLocks/>
          </p:cNvSpPr>
          <p:nvPr>
            <p:custDataLst>
              <p:tags r:id="rId77"/>
            </p:custDataLst>
          </p:nvPr>
        </p:nvSpPr>
        <p:spPr bwMode="auto">
          <a:xfrm>
            <a:off x="7490427" y="6280998"/>
            <a:ext cx="41779" cy="71150"/>
          </a:xfrm>
          <a:custGeom>
            <a:avLst/>
            <a:gdLst>
              <a:gd name="T0" fmla="*/ 0 w 66"/>
              <a:gd name="T1" fmla="*/ 0 h 44"/>
              <a:gd name="T2" fmla="*/ 2715127 w 66"/>
              <a:gd name="T3" fmla="*/ 1594911 h 44"/>
              <a:gd name="T4" fmla="*/ 4803686 w 66"/>
              <a:gd name="T5" fmla="*/ 3189821 h 44"/>
              <a:gd name="T6" fmla="*/ 6683390 w 66"/>
              <a:gd name="T7" fmla="*/ 6378380 h 44"/>
              <a:gd name="T8" fmla="*/ 7936982 w 66"/>
              <a:gd name="T9" fmla="*/ 11163112 h 44"/>
              <a:gd name="T10" fmla="*/ 9190118 w 66"/>
              <a:gd name="T11" fmla="*/ 14351670 h 44"/>
              <a:gd name="T12" fmla="*/ 10443253 w 66"/>
              <a:gd name="T13" fmla="*/ 17541492 h 44"/>
              <a:gd name="T14" fmla="*/ 11905245 w 66"/>
              <a:gd name="T15" fmla="*/ 19136402 h 44"/>
              <a:gd name="T16" fmla="*/ 13784948 w 66"/>
              <a:gd name="T17" fmla="*/ 20730050 h 44"/>
              <a:gd name="T18" fmla="*/ 13576092 w 66"/>
              <a:gd name="T19" fmla="*/ 27109693 h 44"/>
              <a:gd name="T20" fmla="*/ 12949524 w 66"/>
              <a:gd name="T21" fmla="*/ 33488073 h 44"/>
              <a:gd name="T22" fmla="*/ 12531812 w 66"/>
              <a:gd name="T23" fmla="*/ 39866453 h 44"/>
              <a:gd name="T24" fmla="*/ 11905245 w 66"/>
              <a:gd name="T25" fmla="*/ 44649922 h 44"/>
              <a:gd name="T26" fmla="*/ 10234397 w 66"/>
              <a:gd name="T27" fmla="*/ 54218123 h 44"/>
              <a:gd name="T28" fmla="*/ 8354694 w 66"/>
              <a:gd name="T29" fmla="*/ 62191413 h 44"/>
              <a:gd name="T30" fmla="*/ 6474534 w 66"/>
              <a:gd name="T31" fmla="*/ 66974883 h 44"/>
              <a:gd name="T32" fmla="*/ 4385974 w 66"/>
              <a:gd name="T33" fmla="*/ 70164704 h 44"/>
              <a:gd name="T34" fmla="*/ 2088559 w 66"/>
              <a:gd name="T35" fmla="*/ 70164704 h 44"/>
              <a:gd name="T36" fmla="*/ 0 w 66"/>
              <a:gd name="T37" fmla="*/ 68569793 h 44"/>
              <a:gd name="T38" fmla="*/ 0 w 66"/>
              <a:gd name="T39" fmla="*/ 49434654 h 44"/>
              <a:gd name="T40" fmla="*/ 0 w 66"/>
              <a:gd name="T41" fmla="*/ 35082983 h 44"/>
              <a:gd name="T42" fmla="*/ 0 w 66"/>
              <a:gd name="T43" fmla="*/ 19136402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49" name="Freeform 107">
            <a:extLst>
              <a:ext uri="{FF2B5EF4-FFF2-40B4-BE49-F238E27FC236}">
                <a16:creationId xmlns:a16="http://schemas.microsoft.com/office/drawing/2014/main" id="{239FE682-7AF5-47EC-9404-6371FA397D1B}"/>
              </a:ext>
            </a:extLst>
          </p:cNvPr>
          <p:cNvSpPr>
            <a:spLocks/>
          </p:cNvSpPr>
          <p:nvPr>
            <p:custDataLst>
              <p:tags r:id="rId78"/>
            </p:custDataLst>
          </p:nvPr>
        </p:nvSpPr>
        <p:spPr bwMode="auto">
          <a:xfrm>
            <a:off x="10488034" y="2083213"/>
            <a:ext cx="29245" cy="73182"/>
          </a:xfrm>
          <a:custGeom>
            <a:avLst/>
            <a:gdLst>
              <a:gd name="T0" fmla="*/ 9258386 w 46"/>
              <a:gd name="T1" fmla="*/ 0 h 16"/>
              <a:gd name="T2" fmla="*/ 8050673 w 46"/>
              <a:gd name="T3" fmla="*/ 89307591 h 16"/>
              <a:gd name="T4" fmla="*/ 7044395 w 46"/>
              <a:gd name="T5" fmla="*/ 165856444 h 16"/>
              <a:gd name="T6" fmla="*/ 6239552 w 46"/>
              <a:gd name="T7" fmla="*/ 178615181 h 16"/>
              <a:gd name="T8" fmla="*/ 5836682 w 46"/>
              <a:gd name="T9" fmla="*/ 191373919 h 16"/>
              <a:gd name="T10" fmla="*/ 5232825 w 46"/>
              <a:gd name="T11" fmla="*/ 204132656 h 16"/>
              <a:gd name="T12" fmla="*/ 4629417 w 46"/>
              <a:gd name="T13" fmla="*/ 204132656 h 16"/>
              <a:gd name="T14" fmla="*/ 3220269 w 46"/>
              <a:gd name="T15" fmla="*/ 178615181 h 16"/>
              <a:gd name="T16" fmla="*/ 2213991 w 46"/>
              <a:gd name="T17" fmla="*/ 140342541 h 16"/>
              <a:gd name="T18" fmla="*/ 1006278 w 46"/>
              <a:gd name="T19" fmla="*/ 76548853 h 16"/>
              <a:gd name="T20" fmla="*/ 0 w 46"/>
              <a:gd name="T21" fmla="*/ 0 h 16"/>
              <a:gd name="T22" fmla="*/ 9258386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50" name="Freeform 108">
            <a:extLst>
              <a:ext uri="{FF2B5EF4-FFF2-40B4-BE49-F238E27FC236}">
                <a16:creationId xmlns:a16="http://schemas.microsoft.com/office/drawing/2014/main" id="{C550A61E-6F4C-4D4E-9A11-8401DFDDD092}"/>
              </a:ext>
            </a:extLst>
          </p:cNvPr>
          <p:cNvSpPr>
            <a:spLocks/>
          </p:cNvSpPr>
          <p:nvPr>
            <p:custDataLst>
              <p:tags r:id="rId79"/>
            </p:custDataLst>
          </p:nvPr>
        </p:nvSpPr>
        <p:spPr bwMode="auto">
          <a:xfrm>
            <a:off x="10732439" y="2125902"/>
            <a:ext cx="22978" cy="73182"/>
          </a:xfrm>
          <a:custGeom>
            <a:avLst/>
            <a:gdLst>
              <a:gd name="T0" fmla="*/ 6461939 w 39"/>
              <a:gd name="T1" fmla="*/ 120788723 h 26"/>
              <a:gd name="T2" fmla="*/ 5964929 w 39"/>
              <a:gd name="T3" fmla="*/ 125620096 h 26"/>
              <a:gd name="T4" fmla="*/ 5302250 w 39"/>
              <a:gd name="T5" fmla="*/ 125620096 h 26"/>
              <a:gd name="T6" fmla="*/ 4639163 w 39"/>
              <a:gd name="T7" fmla="*/ 125620096 h 26"/>
              <a:gd name="T8" fmla="*/ 4142154 w 39"/>
              <a:gd name="T9" fmla="*/ 120788723 h 26"/>
              <a:gd name="T10" fmla="*/ 2982465 w 39"/>
              <a:gd name="T11" fmla="*/ 106294604 h 26"/>
              <a:gd name="T12" fmla="*/ 1988446 w 39"/>
              <a:gd name="T13" fmla="*/ 86966913 h 26"/>
              <a:gd name="T14" fmla="*/ 1159689 w 39"/>
              <a:gd name="T15" fmla="*/ 62810048 h 26"/>
              <a:gd name="T16" fmla="*/ 497010 w 39"/>
              <a:gd name="T17" fmla="*/ 33821810 h 26"/>
              <a:gd name="T18" fmla="*/ 165670 w 39"/>
              <a:gd name="T19" fmla="*/ 14494119 h 26"/>
              <a:gd name="T20" fmla="*/ 0 w 39"/>
              <a:gd name="T21" fmla="*/ 0 h 26"/>
              <a:gd name="T22" fmla="*/ 1822776 w 39"/>
              <a:gd name="T23" fmla="*/ 28988238 h 26"/>
              <a:gd name="T24" fmla="*/ 3645144 w 39"/>
              <a:gd name="T25" fmla="*/ 62810048 h 26"/>
              <a:gd name="T26" fmla="*/ 5467920 w 39"/>
              <a:gd name="T27" fmla="*/ 96631858 h 26"/>
              <a:gd name="T28" fmla="*/ 6461939 w 39"/>
              <a:gd name="T29" fmla="*/ 120788723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51" name="Freeform 109">
            <a:extLst>
              <a:ext uri="{FF2B5EF4-FFF2-40B4-BE49-F238E27FC236}">
                <a16:creationId xmlns:a16="http://schemas.microsoft.com/office/drawing/2014/main" id="{D1C6461A-229C-45B4-BF77-1EC0CB1BDB61}"/>
              </a:ext>
            </a:extLst>
          </p:cNvPr>
          <p:cNvSpPr>
            <a:spLocks/>
          </p:cNvSpPr>
          <p:nvPr>
            <p:custDataLst>
              <p:tags r:id="rId80"/>
            </p:custDataLst>
          </p:nvPr>
        </p:nvSpPr>
        <p:spPr bwMode="auto">
          <a:xfrm>
            <a:off x="9965802" y="2424728"/>
            <a:ext cx="6267" cy="77247"/>
          </a:xfrm>
          <a:custGeom>
            <a:avLst/>
            <a:gdLst>
              <a:gd name="T0" fmla="*/ 2061513 w 11"/>
              <a:gd name="T1" fmla="*/ 0 h 25"/>
              <a:gd name="T2" fmla="*/ 2061513 w 11"/>
              <a:gd name="T3" fmla="*/ 27602161 h 25"/>
              <a:gd name="T4" fmla="*/ 1874063 w 11"/>
              <a:gd name="T5" fmla="*/ 66242367 h 25"/>
              <a:gd name="T6" fmla="*/ 1686614 w 11"/>
              <a:gd name="T7" fmla="*/ 110403945 h 25"/>
              <a:gd name="T8" fmla="*/ 749799 w 11"/>
              <a:gd name="T9" fmla="*/ 138006106 h 25"/>
              <a:gd name="T10" fmla="*/ 374899 w 11"/>
              <a:gd name="T11" fmla="*/ 126965711 h 25"/>
              <a:gd name="T12" fmla="*/ 187450 w 11"/>
              <a:gd name="T13" fmla="*/ 110403945 h 25"/>
              <a:gd name="T14" fmla="*/ 0 w 11"/>
              <a:gd name="T15" fmla="*/ 82804133 h 25"/>
              <a:gd name="T16" fmla="*/ 0 w 11"/>
              <a:gd name="T17" fmla="*/ 66242367 h 25"/>
              <a:gd name="T18" fmla="*/ 187450 w 11"/>
              <a:gd name="T19" fmla="*/ 49682950 h 25"/>
              <a:gd name="T20" fmla="*/ 562349 w 11"/>
              <a:gd name="T21" fmla="*/ 27602161 h 25"/>
              <a:gd name="T22" fmla="*/ 1124265 w 11"/>
              <a:gd name="T23" fmla="*/ 11040394 h 25"/>
              <a:gd name="T24" fmla="*/ 2061513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52" name="Freeform 110">
            <a:extLst>
              <a:ext uri="{FF2B5EF4-FFF2-40B4-BE49-F238E27FC236}">
                <a16:creationId xmlns:a16="http://schemas.microsoft.com/office/drawing/2014/main" id="{E982C6A0-E90E-412C-9A86-58E4E23EDE47}"/>
              </a:ext>
            </a:extLst>
          </p:cNvPr>
          <p:cNvSpPr>
            <a:spLocks/>
          </p:cNvSpPr>
          <p:nvPr>
            <p:custDataLst>
              <p:tags r:id="rId81"/>
            </p:custDataLst>
          </p:nvPr>
        </p:nvSpPr>
        <p:spPr bwMode="auto">
          <a:xfrm>
            <a:off x="9706776" y="3154512"/>
            <a:ext cx="20889" cy="77247"/>
          </a:xfrm>
          <a:custGeom>
            <a:avLst/>
            <a:gdLst>
              <a:gd name="T0" fmla="*/ 10207347 w 20"/>
              <a:gd name="T1" fmla="*/ 0 h 31"/>
              <a:gd name="T2" fmla="*/ 8165592 w 20"/>
              <a:gd name="T3" fmla="*/ 43081481 h 31"/>
              <a:gd name="T4" fmla="*/ 5103674 w 20"/>
              <a:gd name="T5" fmla="*/ 71802468 h 31"/>
              <a:gd name="T6" fmla="*/ 2551837 w 20"/>
              <a:gd name="T7" fmla="*/ 93344156 h 31"/>
              <a:gd name="T8" fmla="*/ 0 w 20"/>
              <a:gd name="T9" fmla="*/ 111295247 h 31"/>
              <a:gd name="T10" fmla="*/ 0 w 20"/>
              <a:gd name="T11" fmla="*/ 89753559 h 31"/>
              <a:gd name="T12" fmla="*/ 510082 w 20"/>
              <a:gd name="T13" fmla="*/ 68213766 h 31"/>
              <a:gd name="T14" fmla="*/ 1020878 w 20"/>
              <a:gd name="T15" fmla="*/ 46672078 h 31"/>
              <a:gd name="T16" fmla="*/ 2551837 w 20"/>
              <a:gd name="T17" fmla="*/ 32311584 h 31"/>
              <a:gd name="T18" fmla="*/ 4082796 w 20"/>
              <a:gd name="T19" fmla="*/ 21541688 h 31"/>
              <a:gd name="T20" fmla="*/ 5613755 w 20"/>
              <a:gd name="T21" fmla="*/ 10769897 h 31"/>
              <a:gd name="T22" fmla="*/ 8165592 w 20"/>
              <a:gd name="T23" fmla="*/ 0 h 31"/>
              <a:gd name="T24" fmla="*/ 10207347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53" name="Freeform 111">
            <a:extLst>
              <a:ext uri="{FF2B5EF4-FFF2-40B4-BE49-F238E27FC236}">
                <a16:creationId xmlns:a16="http://schemas.microsoft.com/office/drawing/2014/main" id="{75E94026-4219-4A3F-BAB7-7C4AFFCF3E51}"/>
              </a:ext>
            </a:extLst>
          </p:cNvPr>
          <p:cNvSpPr>
            <a:spLocks/>
          </p:cNvSpPr>
          <p:nvPr>
            <p:custDataLst>
              <p:tags r:id="rId82"/>
            </p:custDataLst>
          </p:nvPr>
        </p:nvSpPr>
        <p:spPr bwMode="auto">
          <a:xfrm>
            <a:off x="9731843" y="3071167"/>
            <a:ext cx="22979" cy="73182"/>
          </a:xfrm>
          <a:custGeom>
            <a:avLst/>
            <a:gdLst>
              <a:gd name="T0" fmla="*/ 4846760 w 26"/>
              <a:gd name="T1" fmla="*/ 88273581 h 37"/>
              <a:gd name="T2" fmla="*/ 0 w 26"/>
              <a:gd name="T3" fmla="*/ 28629061 h 37"/>
              <a:gd name="T4" fmla="*/ 2236543 w 26"/>
              <a:gd name="T5" fmla="*/ 16700157 h 37"/>
              <a:gd name="T6" fmla="*/ 4846760 w 26"/>
              <a:gd name="T7" fmla="*/ 9542505 h 37"/>
              <a:gd name="T8" fmla="*/ 7828817 w 26"/>
              <a:gd name="T9" fmla="*/ 2386399 h 37"/>
              <a:gd name="T10" fmla="*/ 9692909 w 26"/>
              <a:gd name="T11" fmla="*/ 0 h 37"/>
              <a:gd name="T12" fmla="*/ 9692909 w 26"/>
              <a:gd name="T13" fmla="*/ 14315303 h 37"/>
              <a:gd name="T14" fmla="*/ 9319846 w 26"/>
              <a:gd name="T15" fmla="*/ 26244207 h 37"/>
              <a:gd name="T16" fmla="*/ 8947394 w 26"/>
              <a:gd name="T17" fmla="*/ 40557965 h 37"/>
              <a:gd name="T18" fmla="*/ 8574332 w 26"/>
              <a:gd name="T19" fmla="*/ 50100470 h 37"/>
              <a:gd name="T20" fmla="*/ 6710240 w 26"/>
              <a:gd name="T21" fmla="*/ 69187026 h 37"/>
              <a:gd name="T22" fmla="*/ 4846760 w 26"/>
              <a:gd name="T23" fmla="*/ 88273581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54" name="Freeform 112">
            <a:extLst>
              <a:ext uri="{FF2B5EF4-FFF2-40B4-BE49-F238E27FC236}">
                <a16:creationId xmlns:a16="http://schemas.microsoft.com/office/drawing/2014/main" id="{C2886E1C-CB4D-4BB8-A2A3-272498EE25D3}"/>
              </a:ext>
            </a:extLst>
          </p:cNvPr>
          <p:cNvSpPr>
            <a:spLocks/>
          </p:cNvSpPr>
          <p:nvPr>
            <p:custDataLst>
              <p:tags r:id="rId83"/>
            </p:custDataLst>
          </p:nvPr>
        </p:nvSpPr>
        <p:spPr bwMode="auto">
          <a:xfrm>
            <a:off x="9577263" y="2873982"/>
            <a:ext cx="2089" cy="79280"/>
          </a:xfrm>
          <a:custGeom>
            <a:avLst/>
            <a:gdLst>
              <a:gd name="T0" fmla="*/ 0 w 7"/>
              <a:gd name="T1" fmla="*/ 202172535 h 18"/>
              <a:gd name="T2" fmla="*/ 0 w 7"/>
              <a:gd name="T3" fmla="*/ 0 h 18"/>
              <a:gd name="T4" fmla="*/ 359796 w 7"/>
              <a:gd name="T5" fmla="*/ 134782807 h 18"/>
              <a:gd name="T6" fmla="*/ 0 w 7"/>
              <a:gd name="T7" fmla="*/ 202172535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8">
                <a:moveTo>
                  <a:pt x="0" y="18"/>
                </a:moveTo>
                <a:lnTo>
                  <a:pt x="0" y="0"/>
                </a:lnTo>
                <a:lnTo>
                  <a:pt x="7" y="12"/>
                </a:lnTo>
                <a:lnTo>
                  <a:pt x="0" y="18"/>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55" name="Freeform 113">
            <a:extLst>
              <a:ext uri="{FF2B5EF4-FFF2-40B4-BE49-F238E27FC236}">
                <a16:creationId xmlns:a16="http://schemas.microsoft.com/office/drawing/2014/main" id="{0EBA0810-4CFD-4068-A504-F9DC0B106964}"/>
              </a:ext>
            </a:extLst>
          </p:cNvPr>
          <p:cNvSpPr>
            <a:spLocks/>
          </p:cNvSpPr>
          <p:nvPr>
            <p:custDataLst>
              <p:tags r:id="rId84"/>
            </p:custDataLst>
          </p:nvPr>
        </p:nvSpPr>
        <p:spPr bwMode="auto">
          <a:xfrm>
            <a:off x="5196788" y="1739664"/>
            <a:ext cx="12534" cy="75216"/>
          </a:xfrm>
          <a:custGeom>
            <a:avLst/>
            <a:gdLst>
              <a:gd name="T0" fmla="*/ 0 w 33"/>
              <a:gd name="T1" fmla="*/ 40784821 h 31"/>
              <a:gd name="T2" fmla="*/ 1582882 w 33"/>
              <a:gd name="T3" fmla="*/ 0 h 31"/>
              <a:gd name="T4" fmla="*/ 1999384 w 33"/>
              <a:gd name="T5" fmla="*/ 16993829 h 31"/>
              <a:gd name="T6" fmla="*/ 2332759 w 33"/>
              <a:gd name="T7" fmla="*/ 40784821 h 31"/>
              <a:gd name="T8" fmla="*/ 2665845 w 33"/>
              <a:gd name="T9" fmla="*/ 74770635 h 31"/>
              <a:gd name="T10" fmla="*/ 2749261 w 33"/>
              <a:gd name="T11" fmla="*/ 105358790 h 31"/>
              <a:gd name="T12" fmla="*/ 2249343 w 33"/>
              <a:gd name="T13" fmla="*/ 101959287 h 31"/>
              <a:gd name="T14" fmla="*/ 1832841 w 33"/>
              <a:gd name="T15" fmla="*/ 95162124 h 31"/>
              <a:gd name="T16" fmla="*/ 1332923 w 33"/>
              <a:gd name="T17" fmla="*/ 84967302 h 31"/>
              <a:gd name="T18" fmla="*/ 916420 w 33"/>
              <a:gd name="T19" fmla="*/ 74770635 h 31"/>
              <a:gd name="T20" fmla="*/ 249959 w 33"/>
              <a:gd name="T21" fmla="*/ 50979644 h 31"/>
              <a:gd name="T22" fmla="*/ 0 w 33"/>
              <a:gd name="T23" fmla="*/ 40784821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56" name="Freeform 114">
            <a:extLst>
              <a:ext uri="{FF2B5EF4-FFF2-40B4-BE49-F238E27FC236}">
                <a16:creationId xmlns:a16="http://schemas.microsoft.com/office/drawing/2014/main" id="{976B6374-0C38-4F9E-A261-FDACFD070B6B}"/>
              </a:ext>
            </a:extLst>
          </p:cNvPr>
          <p:cNvSpPr>
            <a:spLocks/>
          </p:cNvSpPr>
          <p:nvPr>
            <p:custDataLst>
              <p:tags r:id="rId85"/>
            </p:custDataLst>
          </p:nvPr>
        </p:nvSpPr>
        <p:spPr bwMode="auto">
          <a:xfrm>
            <a:off x="5175899" y="1438806"/>
            <a:ext cx="4178" cy="73182"/>
          </a:xfrm>
          <a:custGeom>
            <a:avLst/>
            <a:gdLst>
              <a:gd name="T0" fmla="*/ 720045 w 14"/>
              <a:gd name="T1" fmla="*/ 0 h 6"/>
              <a:gd name="T2" fmla="*/ 0 w 14"/>
              <a:gd name="T3" fmla="*/ 544353750 h 6"/>
              <a:gd name="T4" fmla="*/ 720045 w 14"/>
              <a:gd name="T5" fmla="*/ 0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0" y="6"/>
                </a:lnTo>
                <a:lnTo>
                  <a:pt x="14"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57" name="Freeform 115">
            <a:extLst>
              <a:ext uri="{FF2B5EF4-FFF2-40B4-BE49-F238E27FC236}">
                <a16:creationId xmlns:a16="http://schemas.microsoft.com/office/drawing/2014/main" id="{AA0764E4-D09C-4F6B-8446-061055C9AAAE}"/>
              </a:ext>
            </a:extLst>
          </p:cNvPr>
          <p:cNvSpPr>
            <a:spLocks/>
          </p:cNvSpPr>
          <p:nvPr>
            <p:custDataLst>
              <p:tags r:id="rId86"/>
            </p:custDataLst>
          </p:nvPr>
        </p:nvSpPr>
        <p:spPr bwMode="auto">
          <a:xfrm>
            <a:off x="7237667" y="3750131"/>
            <a:ext cx="35513" cy="71148"/>
          </a:xfrm>
          <a:custGeom>
            <a:avLst/>
            <a:gdLst>
              <a:gd name="T0" fmla="*/ 10934915 w 59"/>
              <a:gd name="T1" fmla="*/ 19274984 h 31"/>
              <a:gd name="T2" fmla="*/ 10564247 w 59"/>
              <a:gd name="T3" fmla="*/ 35338068 h 31"/>
              <a:gd name="T4" fmla="*/ 9822912 w 59"/>
              <a:gd name="T5" fmla="*/ 48187460 h 31"/>
              <a:gd name="T6" fmla="*/ 9081576 w 59"/>
              <a:gd name="T7" fmla="*/ 61038644 h 31"/>
              <a:gd name="T8" fmla="*/ 8340241 w 59"/>
              <a:gd name="T9" fmla="*/ 77101728 h 31"/>
              <a:gd name="T10" fmla="*/ 7413356 w 59"/>
              <a:gd name="T11" fmla="*/ 86739220 h 31"/>
              <a:gd name="T12" fmla="*/ 6672020 w 59"/>
              <a:gd name="T13" fmla="*/ 93163020 h 31"/>
              <a:gd name="T14" fmla="*/ 5560017 w 59"/>
              <a:gd name="T15" fmla="*/ 99588612 h 31"/>
              <a:gd name="T16" fmla="*/ 4818681 w 59"/>
              <a:gd name="T17" fmla="*/ 99588612 h 31"/>
              <a:gd name="T18" fmla="*/ 3892227 w 59"/>
              <a:gd name="T19" fmla="*/ 99588612 h 31"/>
              <a:gd name="T20" fmla="*/ 3150892 w 59"/>
              <a:gd name="T21" fmla="*/ 96376712 h 31"/>
              <a:gd name="T22" fmla="*/ 2594675 w 59"/>
              <a:gd name="T23" fmla="*/ 93163020 h 31"/>
              <a:gd name="T24" fmla="*/ 2038888 w 59"/>
              <a:gd name="T25" fmla="*/ 86739220 h 31"/>
              <a:gd name="T26" fmla="*/ 741336 w 59"/>
              <a:gd name="T27" fmla="*/ 64250544 h 31"/>
              <a:gd name="T28" fmla="*/ 0 w 59"/>
              <a:gd name="T29" fmla="*/ 38549968 h 31"/>
              <a:gd name="T30" fmla="*/ 185549 w 59"/>
              <a:gd name="T31" fmla="*/ 28912476 h 31"/>
              <a:gd name="T32" fmla="*/ 556217 w 59"/>
              <a:gd name="T33" fmla="*/ 19274984 h 31"/>
              <a:gd name="T34" fmla="*/ 926885 w 59"/>
              <a:gd name="T35" fmla="*/ 12849392 h 31"/>
              <a:gd name="T36" fmla="*/ 1482671 w 59"/>
              <a:gd name="T37" fmla="*/ 9637492 h 31"/>
              <a:gd name="T38" fmla="*/ 2965342 w 59"/>
              <a:gd name="T39" fmla="*/ 3211900 h 31"/>
              <a:gd name="T40" fmla="*/ 4448014 w 59"/>
              <a:gd name="T41" fmla="*/ 0 h 31"/>
              <a:gd name="T42" fmla="*/ 6301353 w 59"/>
              <a:gd name="T43" fmla="*/ 0 h 31"/>
              <a:gd name="T44" fmla="*/ 7784024 w 59"/>
              <a:gd name="T45" fmla="*/ 6425592 h 31"/>
              <a:gd name="T46" fmla="*/ 9452244 w 59"/>
              <a:gd name="T47" fmla="*/ 12849392 h 31"/>
              <a:gd name="T48" fmla="*/ 10934915 w 59"/>
              <a:gd name="T49" fmla="*/ 19274984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58" name="Freeform 116">
            <a:extLst>
              <a:ext uri="{FF2B5EF4-FFF2-40B4-BE49-F238E27FC236}">
                <a16:creationId xmlns:a16="http://schemas.microsoft.com/office/drawing/2014/main" id="{008CA0CA-F650-47C1-9BB8-96CA86BEC022}"/>
              </a:ext>
            </a:extLst>
          </p:cNvPr>
          <p:cNvSpPr>
            <a:spLocks/>
          </p:cNvSpPr>
          <p:nvPr>
            <p:custDataLst>
              <p:tags r:id="rId87"/>
            </p:custDataLst>
          </p:nvPr>
        </p:nvSpPr>
        <p:spPr bwMode="auto">
          <a:xfrm>
            <a:off x="6824060" y="3571242"/>
            <a:ext cx="27156" cy="75213"/>
          </a:xfrm>
          <a:custGeom>
            <a:avLst/>
            <a:gdLst>
              <a:gd name="T0" fmla="*/ 2299781 w 47"/>
              <a:gd name="T1" fmla="*/ 0 h 68"/>
              <a:gd name="T2" fmla="*/ 1314450 w 47"/>
              <a:gd name="T3" fmla="*/ 7461327 h 68"/>
              <a:gd name="T4" fmla="*/ 657022 w 47"/>
              <a:gd name="T5" fmla="*/ 14176348 h 68"/>
              <a:gd name="T6" fmla="*/ 328714 w 47"/>
              <a:gd name="T7" fmla="*/ 20891369 h 68"/>
              <a:gd name="T8" fmla="*/ 0 w 47"/>
              <a:gd name="T9" fmla="*/ 27606390 h 68"/>
              <a:gd name="T10" fmla="*/ 0 w 47"/>
              <a:gd name="T11" fmla="*/ 31337053 h 68"/>
              <a:gd name="T12" fmla="*/ 328714 w 47"/>
              <a:gd name="T13" fmla="*/ 35067717 h 68"/>
              <a:gd name="T14" fmla="*/ 492868 w 47"/>
              <a:gd name="T15" fmla="*/ 38052074 h 68"/>
              <a:gd name="T16" fmla="*/ 821582 w 47"/>
              <a:gd name="T17" fmla="*/ 41036432 h 68"/>
              <a:gd name="T18" fmla="*/ 1149890 w 47"/>
              <a:gd name="T19" fmla="*/ 43274485 h 68"/>
              <a:gd name="T20" fmla="*/ 1478604 w 47"/>
              <a:gd name="T21" fmla="*/ 44767096 h 68"/>
              <a:gd name="T22" fmla="*/ 2135627 w 47"/>
              <a:gd name="T23" fmla="*/ 46258843 h 68"/>
              <a:gd name="T24" fmla="*/ 2628495 w 47"/>
              <a:gd name="T25" fmla="*/ 47751453 h 68"/>
              <a:gd name="T26" fmla="*/ 3614231 w 47"/>
              <a:gd name="T27" fmla="*/ 49989506 h 68"/>
              <a:gd name="T28" fmla="*/ 5092835 w 47"/>
              <a:gd name="T29" fmla="*/ 50735811 h 68"/>
              <a:gd name="T30" fmla="*/ 6406880 w 47"/>
              <a:gd name="T31" fmla="*/ 50735811 h 68"/>
              <a:gd name="T32" fmla="*/ 7721330 w 47"/>
              <a:gd name="T33" fmla="*/ 50735811 h 68"/>
              <a:gd name="T34" fmla="*/ 6735594 w 47"/>
              <a:gd name="T35" fmla="*/ 43274485 h 68"/>
              <a:gd name="T36" fmla="*/ 6242726 w 47"/>
              <a:gd name="T37" fmla="*/ 35813158 h 68"/>
              <a:gd name="T38" fmla="*/ 5914012 w 47"/>
              <a:gd name="T39" fmla="*/ 32083359 h 68"/>
              <a:gd name="T40" fmla="*/ 5749857 w 47"/>
              <a:gd name="T41" fmla="*/ 28352695 h 68"/>
              <a:gd name="T42" fmla="*/ 5421549 w 47"/>
              <a:gd name="T43" fmla="*/ 23129421 h 68"/>
              <a:gd name="T44" fmla="*/ 5421549 w 47"/>
              <a:gd name="T45" fmla="*/ 18652453 h 68"/>
              <a:gd name="T46" fmla="*/ 3942945 w 47"/>
              <a:gd name="T47" fmla="*/ 9699379 h 68"/>
              <a:gd name="T48" fmla="*/ 2299781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nvGrpSpPr>
          <p:cNvPr id="659" name="Group 117">
            <a:extLst>
              <a:ext uri="{FF2B5EF4-FFF2-40B4-BE49-F238E27FC236}">
                <a16:creationId xmlns:a16="http://schemas.microsoft.com/office/drawing/2014/main" id="{9A7CEDC6-E0F8-43B4-AC01-11021F3DD607}"/>
              </a:ext>
            </a:extLst>
          </p:cNvPr>
          <p:cNvGrpSpPr>
            <a:grpSpLocks/>
          </p:cNvGrpSpPr>
          <p:nvPr>
            <p:custDataLst>
              <p:tags r:id="rId88"/>
            </p:custDataLst>
          </p:nvPr>
        </p:nvGrpSpPr>
        <p:grpSpPr bwMode="auto">
          <a:xfrm>
            <a:off x="7898283" y="3813877"/>
            <a:ext cx="64073" cy="487085"/>
            <a:chOff x="3950" y="2430"/>
            <a:chExt cx="36" cy="234"/>
          </a:xfrm>
          <a:solidFill>
            <a:schemeClr val="bg1">
              <a:lumMod val="65000"/>
            </a:schemeClr>
          </a:solidFill>
        </p:grpSpPr>
        <p:sp>
          <p:nvSpPr>
            <p:cNvPr id="1061" name="Freeform 118">
              <a:extLst>
                <a:ext uri="{FF2B5EF4-FFF2-40B4-BE49-F238E27FC236}">
                  <a16:creationId xmlns:a16="http://schemas.microsoft.com/office/drawing/2014/main" id="{83D98B31-937E-4A24-B2A6-A897A0B1D6E7}"/>
                </a:ext>
              </a:extLst>
            </p:cNvPr>
            <p:cNvSpPr>
              <a:spLocks/>
            </p:cNvSpPr>
            <p:nvPr/>
          </p:nvSpPr>
          <p:spPr bwMode="auto">
            <a:xfrm>
              <a:off x="3976" y="2658"/>
              <a:ext cx="7" cy="6"/>
            </a:xfrm>
            <a:custGeom>
              <a:avLst/>
              <a:gdLst>
                <a:gd name="T0" fmla="*/ 0 w 19"/>
                <a:gd name="T1" fmla="*/ 0 h 20"/>
                <a:gd name="T2" fmla="*/ 0 w 19"/>
                <a:gd name="T3" fmla="*/ 2 h 20"/>
                <a:gd name="T4" fmla="*/ 2 w 19"/>
                <a:gd name="T5" fmla="*/ 1 h 20"/>
                <a:gd name="T6" fmla="*/ 1 w 19"/>
                <a:gd name="T7" fmla="*/ 1 h 20"/>
                <a:gd name="T8" fmla="*/ 1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62" name="Freeform 119">
              <a:extLst>
                <a:ext uri="{FF2B5EF4-FFF2-40B4-BE49-F238E27FC236}">
                  <a16:creationId xmlns:a16="http://schemas.microsoft.com/office/drawing/2014/main" id="{FCAA0EDB-7D00-47A8-A7FA-A0CE2FBB9DBC}"/>
                </a:ext>
              </a:extLst>
            </p:cNvPr>
            <p:cNvSpPr>
              <a:spLocks/>
            </p:cNvSpPr>
            <p:nvPr/>
          </p:nvSpPr>
          <p:spPr bwMode="auto">
            <a:xfrm>
              <a:off x="3976" y="2644"/>
              <a:ext cx="7" cy="9"/>
            </a:xfrm>
            <a:custGeom>
              <a:avLst/>
              <a:gdLst>
                <a:gd name="T0" fmla="*/ 1 w 19"/>
                <a:gd name="T1" fmla="*/ 1 h 12"/>
                <a:gd name="T2" fmla="*/ 2 w 19"/>
                <a:gd name="T3" fmla="*/ 0 h 12"/>
                <a:gd name="T4" fmla="*/ 0 w 19"/>
                <a:gd name="T5" fmla="*/ 0 h 12"/>
                <a:gd name="T6" fmla="*/ 1 w 19"/>
                <a:gd name="T7" fmla="*/ 1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63" name="Freeform 120">
              <a:extLst>
                <a:ext uri="{FF2B5EF4-FFF2-40B4-BE49-F238E27FC236}">
                  <a16:creationId xmlns:a16="http://schemas.microsoft.com/office/drawing/2014/main" id="{3C04E6A4-F91E-4A40-B0F6-ECA1442279CD}"/>
                </a:ext>
              </a:extLst>
            </p:cNvPr>
            <p:cNvSpPr>
              <a:spLocks/>
            </p:cNvSpPr>
            <p:nvPr/>
          </p:nvSpPr>
          <p:spPr bwMode="auto">
            <a:xfrm>
              <a:off x="3976" y="2637"/>
              <a:ext cx="7" cy="1"/>
            </a:xfrm>
            <a:custGeom>
              <a:avLst/>
              <a:gdLst>
                <a:gd name="T0" fmla="*/ 0 w 19"/>
                <a:gd name="T1" fmla="*/ 0 h 1"/>
                <a:gd name="T2" fmla="*/ 1 w 19"/>
                <a:gd name="T3" fmla="*/ 0 h 1"/>
                <a:gd name="T4" fmla="*/ 2 w 19"/>
                <a:gd name="T5" fmla="*/ 0 h 1"/>
                <a:gd name="T6" fmla="*/ 1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64" name="Rectangle 121">
              <a:extLst>
                <a:ext uri="{FF2B5EF4-FFF2-40B4-BE49-F238E27FC236}">
                  <a16:creationId xmlns:a16="http://schemas.microsoft.com/office/drawing/2014/main" id="{D674EC81-EDBD-488D-A497-5A81D43D5491}"/>
                </a:ext>
              </a:extLst>
            </p:cNvPr>
            <p:cNvSpPr>
              <a:spLocks noChangeArrowheads="1"/>
            </p:cNvSpPr>
            <p:nvPr/>
          </p:nvSpPr>
          <p:spPr bwMode="auto">
            <a:xfrm>
              <a:off x="3976" y="2632"/>
              <a:ext cx="7" cy="2"/>
            </a:xfrm>
            <a:prstGeom prst="rect">
              <a:avLst/>
            </a:prstGeom>
            <a:grpFill/>
            <a:ln w="9525">
              <a:solidFill>
                <a:schemeClr val="bg1"/>
              </a:solidFill>
              <a:miter lim="800000"/>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65" name="Line 122">
              <a:extLst>
                <a:ext uri="{FF2B5EF4-FFF2-40B4-BE49-F238E27FC236}">
                  <a16:creationId xmlns:a16="http://schemas.microsoft.com/office/drawing/2014/main" id="{F8B38DD9-E1D4-4A6A-A2ED-6FC031C7A5EC}"/>
                </a:ext>
              </a:extLst>
            </p:cNvPr>
            <p:cNvSpPr>
              <a:spLocks noChangeShapeType="1"/>
            </p:cNvSpPr>
            <p:nvPr/>
          </p:nvSpPr>
          <p:spPr bwMode="auto">
            <a:xfrm flipV="1">
              <a:off x="3972" y="2595"/>
              <a:ext cx="5" cy="4"/>
            </a:xfrm>
            <a:prstGeom prst="line">
              <a:avLst/>
            </a:prstGeom>
            <a:grpFill/>
            <a:ln w="9525">
              <a:solidFill>
                <a:schemeClr val="bg1"/>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66" name="Freeform 123">
              <a:extLst>
                <a:ext uri="{FF2B5EF4-FFF2-40B4-BE49-F238E27FC236}">
                  <a16:creationId xmlns:a16="http://schemas.microsoft.com/office/drawing/2014/main" id="{169D5BEB-F618-4A68-897D-57A15445F143}"/>
                </a:ext>
              </a:extLst>
            </p:cNvPr>
            <p:cNvSpPr>
              <a:spLocks/>
            </p:cNvSpPr>
            <p:nvPr/>
          </p:nvSpPr>
          <p:spPr bwMode="auto">
            <a:xfrm>
              <a:off x="3976" y="2595"/>
              <a:ext cx="1" cy="1"/>
            </a:xfrm>
            <a:custGeom>
              <a:avLst/>
              <a:gdLst>
                <a:gd name="T0" fmla="*/ 1 w 6"/>
                <a:gd name="T1" fmla="*/ 0 h 3"/>
                <a:gd name="T2" fmla="*/ 1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67" name="Freeform 124">
              <a:extLst>
                <a:ext uri="{FF2B5EF4-FFF2-40B4-BE49-F238E27FC236}">
                  <a16:creationId xmlns:a16="http://schemas.microsoft.com/office/drawing/2014/main" id="{31A10E8E-C065-4557-AC32-F737F490FD34}"/>
                </a:ext>
              </a:extLst>
            </p:cNvPr>
            <p:cNvSpPr>
              <a:spLocks/>
            </p:cNvSpPr>
            <p:nvPr/>
          </p:nvSpPr>
          <p:spPr bwMode="auto">
            <a:xfrm>
              <a:off x="3981" y="2555"/>
              <a:ext cx="5" cy="8"/>
            </a:xfrm>
            <a:custGeom>
              <a:avLst/>
              <a:gdLst>
                <a:gd name="T0" fmla="*/ 2 w 14"/>
                <a:gd name="T1" fmla="*/ 0 h 24"/>
                <a:gd name="T2" fmla="*/ 2 w 14"/>
                <a:gd name="T3" fmla="*/ 1 h 24"/>
                <a:gd name="T4" fmla="*/ 1 w 14"/>
                <a:gd name="T5" fmla="*/ 1 h 24"/>
                <a:gd name="T6" fmla="*/ 1 w 14"/>
                <a:gd name="T7" fmla="*/ 2 h 24"/>
                <a:gd name="T8" fmla="*/ 0 w 14"/>
                <a:gd name="T9" fmla="*/ 3 h 24"/>
                <a:gd name="T10" fmla="*/ 0 w 14"/>
                <a:gd name="T11" fmla="*/ 2 h 24"/>
                <a:gd name="T12" fmla="*/ 0 w 14"/>
                <a:gd name="T13" fmla="*/ 1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68" name="Line 125">
              <a:extLst>
                <a:ext uri="{FF2B5EF4-FFF2-40B4-BE49-F238E27FC236}">
                  <a16:creationId xmlns:a16="http://schemas.microsoft.com/office/drawing/2014/main" id="{59A2245A-6E14-43AA-A6FA-81D69796C827}"/>
                </a:ext>
              </a:extLst>
            </p:cNvPr>
            <p:cNvSpPr>
              <a:spLocks noChangeShapeType="1"/>
            </p:cNvSpPr>
            <p:nvPr/>
          </p:nvSpPr>
          <p:spPr bwMode="auto">
            <a:xfrm>
              <a:off x="3981" y="2559"/>
              <a:ext cx="1" cy="1"/>
            </a:xfrm>
            <a:prstGeom prst="line">
              <a:avLst/>
            </a:prstGeom>
            <a:grpFill/>
            <a:ln w="9525">
              <a:solidFill>
                <a:schemeClr val="bg1"/>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69" name="Freeform 126">
              <a:extLst>
                <a:ext uri="{FF2B5EF4-FFF2-40B4-BE49-F238E27FC236}">
                  <a16:creationId xmlns:a16="http://schemas.microsoft.com/office/drawing/2014/main" id="{20D13E43-3D27-4A8E-850A-F5CB2793A714}"/>
                </a:ext>
              </a:extLst>
            </p:cNvPr>
            <p:cNvSpPr>
              <a:spLocks/>
            </p:cNvSpPr>
            <p:nvPr/>
          </p:nvSpPr>
          <p:spPr bwMode="auto">
            <a:xfrm>
              <a:off x="3977" y="2572"/>
              <a:ext cx="6" cy="3"/>
            </a:xfrm>
            <a:custGeom>
              <a:avLst/>
              <a:gdLst>
                <a:gd name="T0" fmla="*/ 1 w 13"/>
                <a:gd name="T1" fmla="*/ 1 h 12"/>
                <a:gd name="T2" fmla="*/ 0 w 13"/>
                <a:gd name="T3" fmla="*/ 0 h 12"/>
                <a:gd name="T4" fmla="*/ 1 w 13"/>
                <a:gd name="T5" fmla="*/ 1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70" name="Freeform 127">
              <a:extLst>
                <a:ext uri="{FF2B5EF4-FFF2-40B4-BE49-F238E27FC236}">
                  <a16:creationId xmlns:a16="http://schemas.microsoft.com/office/drawing/2014/main" id="{5A62229C-5E46-4576-B3D1-2CC0468AB5BB}"/>
                </a:ext>
              </a:extLst>
            </p:cNvPr>
            <p:cNvSpPr>
              <a:spLocks/>
            </p:cNvSpPr>
            <p:nvPr/>
          </p:nvSpPr>
          <p:spPr bwMode="auto">
            <a:xfrm>
              <a:off x="3981" y="2585"/>
              <a:ext cx="1" cy="6"/>
            </a:xfrm>
            <a:custGeom>
              <a:avLst/>
              <a:gdLst>
                <a:gd name="T0" fmla="*/ 0 w 7"/>
                <a:gd name="T1" fmla="*/ 0 h 19"/>
                <a:gd name="T2" fmla="*/ 0 w 7"/>
                <a:gd name="T3" fmla="*/ 2 h 19"/>
                <a:gd name="T4" fmla="*/ 0 w 7"/>
                <a:gd name="T5" fmla="*/ 0 h 19"/>
                <a:gd name="T6" fmla="*/ 1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71" name="Line 128">
              <a:extLst>
                <a:ext uri="{FF2B5EF4-FFF2-40B4-BE49-F238E27FC236}">
                  <a16:creationId xmlns:a16="http://schemas.microsoft.com/office/drawing/2014/main" id="{0613ECF1-0E61-42CE-A888-CFFA38759323}"/>
                </a:ext>
              </a:extLst>
            </p:cNvPr>
            <p:cNvSpPr>
              <a:spLocks noChangeShapeType="1"/>
            </p:cNvSpPr>
            <p:nvPr/>
          </p:nvSpPr>
          <p:spPr bwMode="auto">
            <a:xfrm flipV="1">
              <a:off x="3981" y="2599"/>
              <a:ext cx="1" cy="4"/>
            </a:xfrm>
            <a:prstGeom prst="line">
              <a:avLst/>
            </a:prstGeom>
            <a:grpFill/>
            <a:ln w="9525">
              <a:solidFill>
                <a:schemeClr val="bg1"/>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72" name="Freeform 129">
              <a:extLst>
                <a:ext uri="{FF2B5EF4-FFF2-40B4-BE49-F238E27FC236}">
                  <a16:creationId xmlns:a16="http://schemas.microsoft.com/office/drawing/2014/main" id="{BBC68D8A-A6A6-4C69-A72E-9DF3A7713A5B}"/>
                </a:ext>
              </a:extLst>
            </p:cNvPr>
            <p:cNvSpPr>
              <a:spLocks/>
            </p:cNvSpPr>
            <p:nvPr/>
          </p:nvSpPr>
          <p:spPr bwMode="auto">
            <a:xfrm>
              <a:off x="3970" y="2545"/>
              <a:ext cx="2" cy="6"/>
            </a:xfrm>
            <a:custGeom>
              <a:avLst/>
              <a:gdLst>
                <a:gd name="T0" fmla="*/ 0 w 8"/>
                <a:gd name="T1" fmla="*/ 2 h 18"/>
                <a:gd name="T2" fmla="*/ 1 w 8"/>
                <a:gd name="T3" fmla="*/ 1 h 18"/>
                <a:gd name="T4" fmla="*/ 0 w 8"/>
                <a:gd name="T5" fmla="*/ 0 h 18"/>
                <a:gd name="T6" fmla="*/ 0 w 8"/>
                <a:gd name="T7" fmla="*/ 2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73" name="Freeform 130">
              <a:extLst>
                <a:ext uri="{FF2B5EF4-FFF2-40B4-BE49-F238E27FC236}">
                  <a16:creationId xmlns:a16="http://schemas.microsoft.com/office/drawing/2014/main" id="{3885FD27-9A21-439B-A20A-97273E8D89A7}"/>
                </a:ext>
              </a:extLst>
            </p:cNvPr>
            <p:cNvSpPr>
              <a:spLocks/>
            </p:cNvSpPr>
            <p:nvPr/>
          </p:nvSpPr>
          <p:spPr bwMode="auto">
            <a:xfrm>
              <a:off x="3968" y="2532"/>
              <a:ext cx="0" cy="7"/>
            </a:xfrm>
            <a:custGeom>
              <a:avLst/>
              <a:gdLst>
                <a:gd name="T0" fmla="*/ 0 w 6"/>
                <a:gd name="T1" fmla="*/ 0 h 19"/>
                <a:gd name="T2" fmla="*/ 0 w 6"/>
                <a:gd name="T3" fmla="*/ 3 h 19"/>
                <a:gd name="T4" fmla="*/ 1 w 6"/>
                <a:gd name="T5" fmla="*/ 2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74" name="Freeform 131">
              <a:extLst>
                <a:ext uri="{FF2B5EF4-FFF2-40B4-BE49-F238E27FC236}">
                  <a16:creationId xmlns:a16="http://schemas.microsoft.com/office/drawing/2014/main" id="{42E0B347-647C-4023-9A06-AD4B9FBF003F}"/>
                </a:ext>
              </a:extLst>
            </p:cNvPr>
            <p:cNvSpPr>
              <a:spLocks/>
            </p:cNvSpPr>
            <p:nvPr/>
          </p:nvSpPr>
          <p:spPr bwMode="auto">
            <a:xfrm>
              <a:off x="3965" y="2513"/>
              <a:ext cx="11" cy="5"/>
            </a:xfrm>
            <a:custGeom>
              <a:avLst/>
              <a:gdLst>
                <a:gd name="T0" fmla="*/ 0 w 28"/>
                <a:gd name="T1" fmla="*/ 0 h 19"/>
                <a:gd name="T2" fmla="*/ 0 w 28"/>
                <a:gd name="T3" fmla="*/ 1 h 19"/>
                <a:gd name="T4" fmla="*/ 4 w 28"/>
                <a:gd name="T5" fmla="*/ 1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75" name="Freeform 132">
              <a:extLst>
                <a:ext uri="{FF2B5EF4-FFF2-40B4-BE49-F238E27FC236}">
                  <a16:creationId xmlns:a16="http://schemas.microsoft.com/office/drawing/2014/main" id="{7BC192D5-EF76-416D-975A-9E28FC387D0E}"/>
                </a:ext>
              </a:extLst>
            </p:cNvPr>
            <p:cNvSpPr>
              <a:spLocks/>
            </p:cNvSpPr>
            <p:nvPr/>
          </p:nvSpPr>
          <p:spPr bwMode="auto">
            <a:xfrm>
              <a:off x="3970" y="2513"/>
              <a:ext cx="6" cy="5"/>
            </a:xfrm>
            <a:custGeom>
              <a:avLst/>
              <a:gdLst>
                <a:gd name="T0" fmla="*/ 2 w 15"/>
                <a:gd name="T1" fmla="*/ 1 h 19"/>
                <a:gd name="T2" fmla="*/ 1 w 15"/>
                <a:gd name="T3" fmla="*/ 1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76" name="Freeform 133">
              <a:extLst>
                <a:ext uri="{FF2B5EF4-FFF2-40B4-BE49-F238E27FC236}">
                  <a16:creationId xmlns:a16="http://schemas.microsoft.com/office/drawing/2014/main" id="{3F49CBD6-695D-4336-848C-FF81B2ABA8AD}"/>
                </a:ext>
              </a:extLst>
            </p:cNvPr>
            <p:cNvSpPr>
              <a:spLocks/>
            </p:cNvSpPr>
            <p:nvPr/>
          </p:nvSpPr>
          <p:spPr bwMode="auto">
            <a:xfrm>
              <a:off x="3976" y="2658"/>
              <a:ext cx="7" cy="6"/>
            </a:xfrm>
            <a:custGeom>
              <a:avLst/>
              <a:gdLst>
                <a:gd name="T0" fmla="*/ 0 w 19"/>
                <a:gd name="T1" fmla="*/ 0 h 20"/>
                <a:gd name="T2" fmla="*/ 0 w 19"/>
                <a:gd name="T3" fmla="*/ 2 h 20"/>
                <a:gd name="T4" fmla="*/ 2 w 19"/>
                <a:gd name="T5" fmla="*/ 1 h 20"/>
                <a:gd name="T6" fmla="*/ 1 w 19"/>
                <a:gd name="T7" fmla="*/ 1 h 20"/>
                <a:gd name="T8" fmla="*/ 1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77" name="Freeform 134">
              <a:extLst>
                <a:ext uri="{FF2B5EF4-FFF2-40B4-BE49-F238E27FC236}">
                  <a16:creationId xmlns:a16="http://schemas.microsoft.com/office/drawing/2014/main" id="{ACAE318D-BFF9-44B5-BD82-94D6EDA46342}"/>
                </a:ext>
              </a:extLst>
            </p:cNvPr>
            <p:cNvSpPr>
              <a:spLocks/>
            </p:cNvSpPr>
            <p:nvPr/>
          </p:nvSpPr>
          <p:spPr bwMode="auto">
            <a:xfrm>
              <a:off x="3976" y="2644"/>
              <a:ext cx="7" cy="9"/>
            </a:xfrm>
            <a:custGeom>
              <a:avLst/>
              <a:gdLst>
                <a:gd name="T0" fmla="*/ 1 w 19"/>
                <a:gd name="T1" fmla="*/ 1 h 12"/>
                <a:gd name="T2" fmla="*/ 2 w 19"/>
                <a:gd name="T3" fmla="*/ 0 h 12"/>
                <a:gd name="T4" fmla="*/ 0 w 19"/>
                <a:gd name="T5" fmla="*/ 0 h 12"/>
                <a:gd name="T6" fmla="*/ 1 w 19"/>
                <a:gd name="T7" fmla="*/ 1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78" name="Freeform 135">
              <a:extLst>
                <a:ext uri="{FF2B5EF4-FFF2-40B4-BE49-F238E27FC236}">
                  <a16:creationId xmlns:a16="http://schemas.microsoft.com/office/drawing/2014/main" id="{3AE19C72-B88E-4FD0-A647-3FBFEAD2D6FD}"/>
                </a:ext>
              </a:extLst>
            </p:cNvPr>
            <p:cNvSpPr>
              <a:spLocks/>
            </p:cNvSpPr>
            <p:nvPr/>
          </p:nvSpPr>
          <p:spPr bwMode="auto">
            <a:xfrm>
              <a:off x="3976" y="2637"/>
              <a:ext cx="7" cy="1"/>
            </a:xfrm>
            <a:custGeom>
              <a:avLst/>
              <a:gdLst>
                <a:gd name="T0" fmla="*/ 0 w 19"/>
                <a:gd name="T1" fmla="*/ 0 h 1"/>
                <a:gd name="T2" fmla="*/ 1 w 19"/>
                <a:gd name="T3" fmla="*/ 0 h 1"/>
                <a:gd name="T4" fmla="*/ 2 w 19"/>
                <a:gd name="T5" fmla="*/ 0 h 1"/>
                <a:gd name="T6" fmla="*/ 1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79" name="Rectangle 136">
              <a:extLst>
                <a:ext uri="{FF2B5EF4-FFF2-40B4-BE49-F238E27FC236}">
                  <a16:creationId xmlns:a16="http://schemas.microsoft.com/office/drawing/2014/main" id="{79259DFF-EEEA-4AC5-ADB6-87441C4D7A3C}"/>
                </a:ext>
              </a:extLst>
            </p:cNvPr>
            <p:cNvSpPr>
              <a:spLocks noChangeArrowheads="1"/>
            </p:cNvSpPr>
            <p:nvPr/>
          </p:nvSpPr>
          <p:spPr bwMode="auto">
            <a:xfrm>
              <a:off x="3976" y="2632"/>
              <a:ext cx="7" cy="2"/>
            </a:xfrm>
            <a:prstGeom prst="rect">
              <a:avLst/>
            </a:prstGeom>
            <a:grpFill/>
            <a:ln w="9525">
              <a:solidFill>
                <a:schemeClr val="bg1"/>
              </a:solidFill>
              <a:miter lim="800000"/>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80" name="Line 137">
              <a:extLst>
                <a:ext uri="{FF2B5EF4-FFF2-40B4-BE49-F238E27FC236}">
                  <a16:creationId xmlns:a16="http://schemas.microsoft.com/office/drawing/2014/main" id="{5A3A0458-E113-493E-957A-F6C81E4D8571}"/>
                </a:ext>
              </a:extLst>
            </p:cNvPr>
            <p:cNvSpPr>
              <a:spLocks noChangeShapeType="1"/>
            </p:cNvSpPr>
            <p:nvPr/>
          </p:nvSpPr>
          <p:spPr bwMode="auto">
            <a:xfrm flipV="1">
              <a:off x="3972" y="2595"/>
              <a:ext cx="5" cy="4"/>
            </a:xfrm>
            <a:prstGeom prst="line">
              <a:avLst/>
            </a:prstGeom>
            <a:grpFill/>
            <a:ln w="9525">
              <a:solidFill>
                <a:schemeClr val="bg1"/>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81" name="Freeform 138">
              <a:extLst>
                <a:ext uri="{FF2B5EF4-FFF2-40B4-BE49-F238E27FC236}">
                  <a16:creationId xmlns:a16="http://schemas.microsoft.com/office/drawing/2014/main" id="{1A921694-870D-4A7C-A1DB-FA30DF2E6183}"/>
                </a:ext>
              </a:extLst>
            </p:cNvPr>
            <p:cNvSpPr>
              <a:spLocks/>
            </p:cNvSpPr>
            <p:nvPr/>
          </p:nvSpPr>
          <p:spPr bwMode="auto">
            <a:xfrm>
              <a:off x="3976" y="2595"/>
              <a:ext cx="1" cy="1"/>
            </a:xfrm>
            <a:custGeom>
              <a:avLst/>
              <a:gdLst>
                <a:gd name="T0" fmla="*/ 1 w 6"/>
                <a:gd name="T1" fmla="*/ 0 h 3"/>
                <a:gd name="T2" fmla="*/ 1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82" name="Freeform 139">
              <a:extLst>
                <a:ext uri="{FF2B5EF4-FFF2-40B4-BE49-F238E27FC236}">
                  <a16:creationId xmlns:a16="http://schemas.microsoft.com/office/drawing/2014/main" id="{84C31CA1-7839-4415-8A48-661897553AF0}"/>
                </a:ext>
              </a:extLst>
            </p:cNvPr>
            <p:cNvSpPr>
              <a:spLocks/>
            </p:cNvSpPr>
            <p:nvPr/>
          </p:nvSpPr>
          <p:spPr bwMode="auto">
            <a:xfrm>
              <a:off x="3981" y="2555"/>
              <a:ext cx="5" cy="8"/>
            </a:xfrm>
            <a:custGeom>
              <a:avLst/>
              <a:gdLst>
                <a:gd name="T0" fmla="*/ 2 w 14"/>
                <a:gd name="T1" fmla="*/ 0 h 24"/>
                <a:gd name="T2" fmla="*/ 2 w 14"/>
                <a:gd name="T3" fmla="*/ 1 h 24"/>
                <a:gd name="T4" fmla="*/ 1 w 14"/>
                <a:gd name="T5" fmla="*/ 1 h 24"/>
                <a:gd name="T6" fmla="*/ 1 w 14"/>
                <a:gd name="T7" fmla="*/ 2 h 24"/>
                <a:gd name="T8" fmla="*/ 0 w 14"/>
                <a:gd name="T9" fmla="*/ 3 h 24"/>
                <a:gd name="T10" fmla="*/ 0 w 14"/>
                <a:gd name="T11" fmla="*/ 2 h 24"/>
                <a:gd name="T12" fmla="*/ 0 w 14"/>
                <a:gd name="T13" fmla="*/ 1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83" name="Line 140">
              <a:extLst>
                <a:ext uri="{FF2B5EF4-FFF2-40B4-BE49-F238E27FC236}">
                  <a16:creationId xmlns:a16="http://schemas.microsoft.com/office/drawing/2014/main" id="{1FB3DA2E-1CEE-4B19-9B3E-2996FE9B4261}"/>
                </a:ext>
              </a:extLst>
            </p:cNvPr>
            <p:cNvSpPr>
              <a:spLocks noChangeShapeType="1"/>
            </p:cNvSpPr>
            <p:nvPr/>
          </p:nvSpPr>
          <p:spPr bwMode="auto">
            <a:xfrm>
              <a:off x="3981" y="2559"/>
              <a:ext cx="1" cy="1"/>
            </a:xfrm>
            <a:prstGeom prst="line">
              <a:avLst/>
            </a:prstGeom>
            <a:grpFill/>
            <a:ln w="9525">
              <a:solidFill>
                <a:schemeClr val="bg1"/>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84" name="Freeform 141">
              <a:extLst>
                <a:ext uri="{FF2B5EF4-FFF2-40B4-BE49-F238E27FC236}">
                  <a16:creationId xmlns:a16="http://schemas.microsoft.com/office/drawing/2014/main" id="{09B3A5E7-FFD8-4BBE-8C44-89D8A64CDA54}"/>
                </a:ext>
              </a:extLst>
            </p:cNvPr>
            <p:cNvSpPr>
              <a:spLocks/>
            </p:cNvSpPr>
            <p:nvPr/>
          </p:nvSpPr>
          <p:spPr bwMode="auto">
            <a:xfrm>
              <a:off x="3977" y="2572"/>
              <a:ext cx="6" cy="3"/>
            </a:xfrm>
            <a:custGeom>
              <a:avLst/>
              <a:gdLst>
                <a:gd name="T0" fmla="*/ 1 w 13"/>
                <a:gd name="T1" fmla="*/ 1 h 12"/>
                <a:gd name="T2" fmla="*/ 0 w 13"/>
                <a:gd name="T3" fmla="*/ 0 h 12"/>
                <a:gd name="T4" fmla="*/ 1 w 13"/>
                <a:gd name="T5" fmla="*/ 1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85" name="Freeform 142">
              <a:extLst>
                <a:ext uri="{FF2B5EF4-FFF2-40B4-BE49-F238E27FC236}">
                  <a16:creationId xmlns:a16="http://schemas.microsoft.com/office/drawing/2014/main" id="{C3DC556F-890E-4CAE-99DA-26A5C4A1808C}"/>
                </a:ext>
              </a:extLst>
            </p:cNvPr>
            <p:cNvSpPr>
              <a:spLocks/>
            </p:cNvSpPr>
            <p:nvPr/>
          </p:nvSpPr>
          <p:spPr bwMode="auto">
            <a:xfrm>
              <a:off x="3981" y="2585"/>
              <a:ext cx="1" cy="6"/>
            </a:xfrm>
            <a:custGeom>
              <a:avLst/>
              <a:gdLst>
                <a:gd name="T0" fmla="*/ 0 w 7"/>
                <a:gd name="T1" fmla="*/ 0 h 19"/>
                <a:gd name="T2" fmla="*/ 0 w 7"/>
                <a:gd name="T3" fmla="*/ 2 h 19"/>
                <a:gd name="T4" fmla="*/ 0 w 7"/>
                <a:gd name="T5" fmla="*/ 0 h 19"/>
                <a:gd name="T6" fmla="*/ 1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86" name="Line 143">
              <a:extLst>
                <a:ext uri="{FF2B5EF4-FFF2-40B4-BE49-F238E27FC236}">
                  <a16:creationId xmlns:a16="http://schemas.microsoft.com/office/drawing/2014/main" id="{BCC973CA-BBDE-4E01-AA54-0C48E2612043}"/>
                </a:ext>
              </a:extLst>
            </p:cNvPr>
            <p:cNvSpPr>
              <a:spLocks noChangeShapeType="1"/>
            </p:cNvSpPr>
            <p:nvPr/>
          </p:nvSpPr>
          <p:spPr bwMode="auto">
            <a:xfrm flipV="1">
              <a:off x="3981" y="2599"/>
              <a:ext cx="1" cy="4"/>
            </a:xfrm>
            <a:prstGeom prst="line">
              <a:avLst/>
            </a:prstGeom>
            <a:grpFill/>
            <a:ln w="9525">
              <a:solidFill>
                <a:schemeClr val="bg1"/>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87" name="Freeform 144">
              <a:extLst>
                <a:ext uri="{FF2B5EF4-FFF2-40B4-BE49-F238E27FC236}">
                  <a16:creationId xmlns:a16="http://schemas.microsoft.com/office/drawing/2014/main" id="{DE556243-4546-42C8-8CB2-4A57940E2AB4}"/>
                </a:ext>
              </a:extLst>
            </p:cNvPr>
            <p:cNvSpPr>
              <a:spLocks/>
            </p:cNvSpPr>
            <p:nvPr/>
          </p:nvSpPr>
          <p:spPr bwMode="auto">
            <a:xfrm>
              <a:off x="3970" y="2545"/>
              <a:ext cx="2" cy="6"/>
            </a:xfrm>
            <a:custGeom>
              <a:avLst/>
              <a:gdLst>
                <a:gd name="T0" fmla="*/ 0 w 8"/>
                <a:gd name="T1" fmla="*/ 2 h 18"/>
                <a:gd name="T2" fmla="*/ 1 w 8"/>
                <a:gd name="T3" fmla="*/ 1 h 18"/>
                <a:gd name="T4" fmla="*/ 0 w 8"/>
                <a:gd name="T5" fmla="*/ 0 h 18"/>
                <a:gd name="T6" fmla="*/ 0 w 8"/>
                <a:gd name="T7" fmla="*/ 2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88" name="Freeform 145">
              <a:extLst>
                <a:ext uri="{FF2B5EF4-FFF2-40B4-BE49-F238E27FC236}">
                  <a16:creationId xmlns:a16="http://schemas.microsoft.com/office/drawing/2014/main" id="{2DD9C9D1-99F5-4BD3-A60E-FE468595D1E5}"/>
                </a:ext>
              </a:extLst>
            </p:cNvPr>
            <p:cNvSpPr>
              <a:spLocks/>
            </p:cNvSpPr>
            <p:nvPr/>
          </p:nvSpPr>
          <p:spPr bwMode="auto">
            <a:xfrm>
              <a:off x="3968" y="2532"/>
              <a:ext cx="0" cy="7"/>
            </a:xfrm>
            <a:custGeom>
              <a:avLst/>
              <a:gdLst>
                <a:gd name="T0" fmla="*/ 0 w 6"/>
                <a:gd name="T1" fmla="*/ 0 h 19"/>
                <a:gd name="T2" fmla="*/ 0 w 6"/>
                <a:gd name="T3" fmla="*/ 3 h 19"/>
                <a:gd name="T4" fmla="*/ 1 w 6"/>
                <a:gd name="T5" fmla="*/ 2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89" name="Freeform 146">
              <a:extLst>
                <a:ext uri="{FF2B5EF4-FFF2-40B4-BE49-F238E27FC236}">
                  <a16:creationId xmlns:a16="http://schemas.microsoft.com/office/drawing/2014/main" id="{798E8E48-3709-4250-80E9-D553EF747696}"/>
                </a:ext>
              </a:extLst>
            </p:cNvPr>
            <p:cNvSpPr>
              <a:spLocks/>
            </p:cNvSpPr>
            <p:nvPr/>
          </p:nvSpPr>
          <p:spPr bwMode="auto">
            <a:xfrm>
              <a:off x="3965" y="2513"/>
              <a:ext cx="11" cy="5"/>
            </a:xfrm>
            <a:custGeom>
              <a:avLst/>
              <a:gdLst>
                <a:gd name="T0" fmla="*/ 0 w 28"/>
                <a:gd name="T1" fmla="*/ 0 h 19"/>
                <a:gd name="T2" fmla="*/ 0 w 28"/>
                <a:gd name="T3" fmla="*/ 1 h 19"/>
                <a:gd name="T4" fmla="*/ 4 w 28"/>
                <a:gd name="T5" fmla="*/ 1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90" name="Freeform 147">
              <a:extLst>
                <a:ext uri="{FF2B5EF4-FFF2-40B4-BE49-F238E27FC236}">
                  <a16:creationId xmlns:a16="http://schemas.microsoft.com/office/drawing/2014/main" id="{C12C885F-8B8E-4A9E-BC83-62BD01421D64}"/>
                </a:ext>
              </a:extLst>
            </p:cNvPr>
            <p:cNvSpPr>
              <a:spLocks/>
            </p:cNvSpPr>
            <p:nvPr/>
          </p:nvSpPr>
          <p:spPr bwMode="auto">
            <a:xfrm>
              <a:off x="3970" y="2513"/>
              <a:ext cx="6" cy="5"/>
            </a:xfrm>
            <a:custGeom>
              <a:avLst/>
              <a:gdLst>
                <a:gd name="T0" fmla="*/ 2 w 15"/>
                <a:gd name="T1" fmla="*/ 1 h 19"/>
                <a:gd name="T2" fmla="*/ 1 w 15"/>
                <a:gd name="T3" fmla="*/ 1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91" name="Freeform 148">
              <a:extLst>
                <a:ext uri="{FF2B5EF4-FFF2-40B4-BE49-F238E27FC236}">
                  <a16:creationId xmlns:a16="http://schemas.microsoft.com/office/drawing/2014/main" id="{F72C7FF5-2822-483C-9DEE-96FAD8976811}"/>
                </a:ext>
              </a:extLst>
            </p:cNvPr>
            <p:cNvSpPr>
              <a:spLocks/>
            </p:cNvSpPr>
            <p:nvPr/>
          </p:nvSpPr>
          <p:spPr bwMode="auto">
            <a:xfrm>
              <a:off x="3950" y="2430"/>
              <a:ext cx="7" cy="6"/>
            </a:xfrm>
            <a:custGeom>
              <a:avLst/>
              <a:gdLst>
                <a:gd name="T0" fmla="*/ 2 w 20"/>
                <a:gd name="T1" fmla="*/ 2 h 18"/>
                <a:gd name="T2" fmla="*/ 2 w 20"/>
                <a:gd name="T3" fmla="*/ 0 h 18"/>
                <a:gd name="T4" fmla="*/ 0 w 20"/>
                <a:gd name="T5" fmla="*/ 0 h 18"/>
                <a:gd name="T6" fmla="*/ 2 w 20"/>
                <a:gd name="T7" fmla="*/ 2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8">
                  <a:moveTo>
                    <a:pt x="13" y="18"/>
                  </a:moveTo>
                  <a:lnTo>
                    <a:pt x="20" y="0"/>
                  </a:lnTo>
                  <a:lnTo>
                    <a:pt x="0" y="0"/>
                  </a:lnTo>
                  <a:lnTo>
                    <a:pt x="13" y="18"/>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grpSp>
        <p:nvGrpSpPr>
          <p:cNvPr id="660" name="Group 149">
            <a:extLst>
              <a:ext uri="{FF2B5EF4-FFF2-40B4-BE49-F238E27FC236}">
                <a16:creationId xmlns:a16="http://schemas.microsoft.com/office/drawing/2014/main" id="{A1E36658-25EF-40A1-AEA9-406BB7306923}"/>
              </a:ext>
            </a:extLst>
          </p:cNvPr>
          <p:cNvGrpSpPr>
            <a:grpSpLocks/>
          </p:cNvGrpSpPr>
          <p:nvPr>
            <p:custDataLst>
              <p:tags r:id="rId89"/>
            </p:custDataLst>
          </p:nvPr>
        </p:nvGrpSpPr>
        <p:grpSpPr bwMode="auto">
          <a:xfrm>
            <a:off x="10816174" y="4518884"/>
            <a:ext cx="232089" cy="344065"/>
            <a:chOff x="5509" y="2769"/>
            <a:chExt cx="123" cy="163"/>
          </a:xfrm>
          <a:solidFill>
            <a:schemeClr val="bg1">
              <a:lumMod val="65000"/>
            </a:schemeClr>
          </a:solidFill>
        </p:grpSpPr>
        <p:sp>
          <p:nvSpPr>
            <p:cNvPr id="1052" name="Freeform 150">
              <a:extLst>
                <a:ext uri="{FF2B5EF4-FFF2-40B4-BE49-F238E27FC236}">
                  <a16:creationId xmlns:a16="http://schemas.microsoft.com/office/drawing/2014/main" id="{6DB15FA3-F92E-4919-B8C4-B37355C5DF2E}"/>
                </a:ext>
              </a:extLst>
            </p:cNvPr>
            <p:cNvSpPr>
              <a:spLocks/>
            </p:cNvSpPr>
            <p:nvPr/>
          </p:nvSpPr>
          <p:spPr bwMode="auto">
            <a:xfrm>
              <a:off x="5595" y="2804"/>
              <a:ext cx="11" cy="28"/>
            </a:xfrm>
            <a:custGeom>
              <a:avLst/>
              <a:gdLst>
                <a:gd name="T0" fmla="*/ 0 w 40"/>
                <a:gd name="T1" fmla="*/ 3 h 87"/>
                <a:gd name="T2" fmla="*/ 0 w 40"/>
                <a:gd name="T3" fmla="*/ 5 h 87"/>
                <a:gd name="T4" fmla="*/ 0 w 40"/>
                <a:gd name="T5" fmla="*/ 5 h 87"/>
                <a:gd name="T6" fmla="*/ 1 w 40"/>
                <a:gd name="T7" fmla="*/ 6 h 87"/>
                <a:gd name="T8" fmla="*/ 1 w 40"/>
                <a:gd name="T9" fmla="*/ 7 h 87"/>
                <a:gd name="T10" fmla="*/ 2 w 40"/>
                <a:gd name="T11" fmla="*/ 7 h 87"/>
                <a:gd name="T12" fmla="*/ 2 w 40"/>
                <a:gd name="T13" fmla="*/ 8 h 87"/>
                <a:gd name="T14" fmla="*/ 3 w 40"/>
                <a:gd name="T15" fmla="*/ 8 h 87"/>
                <a:gd name="T16" fmla="*/ 4 w 40"/>
                <a:gd name="T17" fmla="*/ 9 h 87"/>
                <a:gd name="T18" fmla="*/ 4 w 40"/>
                <a:gd name="T19" fmla="*/ 8 h 87"/>
                <a:gd name="T20" fmla="*/ 3 w 40"/>
                <a:gd name="T21" fmla="*/ 8 h 87"/>
                <a:gd name="T22" fmla="*/ 3 w 40"/>
                <a:gd name="T23" fmla="*/ 7 h 87"/>
                <a:gd name="T24" fmla="*/ 3 w 40"/>
                <a:gd name="T25" fmla="*/ 7 h 87"/>
                <a:gd name="T26" fmla="*/ 2 w 40"/>
                <a:gd name="T27" fmla="*/ 5 h 87"/>
                <a:gd name="T28" fmla="*/ 2 w 40"/>
                <a:gd name="T29" fmla="*/ 4 h 87"/>
                <a:gd name="T30" fmla="*/ 2 w 40"/>
                <a:gd name="T31" fmla="*/ 3 h 87"/>
                <a:gd name="T32" fmla="*/ 1 w 40"/>
                <a:gd name="T33" fmla="*/ 2 h 87"/>
                <a:gd name="T34" fmla="*/ 1 w 40"/>
                <a:gd name="T35" fmla="*/ 1 h 87"/>
                <a:gd name="T36" fmla="*/ 1 w 40"/>
                <a:gd name="T37" fmla="*/ 1 h 87"/>
                <a:gd name="T38" fmla="*/ 0 w 40"/>
                <a:gd name="T39" fmla="*/ 0 h 87"/>
                <a:gd name="T40" fmla="*/ 0 w 40"/>
                <a:gd name="T41" fmla="*/ 0 h 87"/>
                <a:gd name="T42" fmla="*/ 0 w 40"/>
                <a:gd name="T43" fmla="*/ 1 h 87"/>
                <a:gd name="T44" fmla="*/ 0 w 40"/>
                <a:gd name="T45" fmla="*/ 2 h 87"/>
                <a:gd name="T46" fmla="*/ 0 w 40"/>
                <a:gd name="T47" fmla="*/ 2 h 87"/>
                <a:gd name="T48" fmla="*/ 0 w 40"/>
                <a:gd name="T49" fmla="*/ 3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53" name="Freeform 151">
              <a:extLst>
                <a:ext uri="{FF2B5EF4-FFF2-40B4-BE49-F238E27FC236}">
                  <a16:creationId xmlns:a16="http://schemas.microsoft.com/office/drawing/2014/main" id="{CEF23D9F-85EE-45F5-A932-139832EC1747}"/>
                </a:ext>
              </a:extLst>
            </p:cNvPr>
            <p:cNvSpPr>
              <a:spLocks/>
            </p:cNvSpPr>
            <p:nvPr/>
          </p:nvSpPr>
          <p:spPr bwMode="auto">
            <a:xfrm>
              <a:off x="5612" y="2846"/>
              <a:ext cx="20" cy="12"/>
            </a:xfrm>
            <a:custGeom>
              <a:avLst/>
              <a:gdLst>
                <a:gd name="T0" fmla="*/ 0 w 61"/>
                <a:gd name="T1" fmla="*/ 3 h 37"/>
                <a:gd name="T2" fmla="*/ 2 w 61"/>
                <a:gd name="T3" fmla="*/ 3 h 37"/>
                <a:gd name="T4" fmla="*/ 4 w 61"/>
                <a:gd name="T5" fmla="*/ 4 h 37"/>
                <a:gd name="T6" fmla="*/ 5 w 61"/>
                <a:gd name="T7" fmla="*/ 4 h 37"/>
                <a:gd name="T8" fmla="*/ 7 w 61"/>
                <a:gd name="T9" fmla="*/ 4 h 37"/>
                <a:gd name="T10" fmla="*/ 6 w 61"/>
                <a:gd name="T11" fmla="*/ 3 h 37"/>
                <a:gd name="T12" fmla="*/ 5 w 61"/>
                <a:gd name="T13" fmla="*/ 2 h 37"/>
                <a:gd name="T14" fmla="*/ 5 w 61"/>
                <a:gd name="T15" fmla="*/ 2 h 37"/>
                <a:gd name="T16" fmla="*/ 4 w 61"/>
                <a:gd name="T17" fmla="*/ 1 h 37"/>
                <a:gd name="T18" fmla="*/ 3 w 61"/>
                <a:gd name="T19" fmla="*/ 1 h 37"/>
                <a:gd name="T20" fmla="*/ 2 w 61"/>
                <a:gd name="T21" fmla="*/ 1 h 37"/>
                <a:gd name="T22" fmla="*/ 1 w 61"/>
                <a:gd name="T23" fmla="*/ 0 h 37"/>
                <a:gd name="T24" fmla="*/ 0 w 61"/>
                <a:gd name="T25" fmla="*/ 0 h 37"/>
                <a:gd name="T26" fmla="*/ 0 w 61"/>
                <a:gd name="T27" fmla="*/ 3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54" name="Freeform 152">
              <a:extLst>
                <a:ext uri="{FF2B5EF4-FFF2-40B4-BE49-F238E27FC236}">
                  <a16:creationId xmlns:a16="http://schemas.microsoft.com/office/drawing/2014/main" id="{702588C9-F0B5-42CB-B3EB-379D42D9D8DC}"/>
                </a:ext>
              </a:extLst>
            </p:cNvPr>
            <p:cNvSpPr>
              <a:spLocks/>
            </p:cNvSpPr>
            <p:nvPr/>
          </p:nvSpPr>
          <p:spPr bwMode="auto">
            <a:xfrm>
              <a:off x="5568" y="2865"/>
              <a:ext cx="13" cy="10"/>
            </a:xfrm>
            <a:custGeom>
              <a:avLst/>
              <a:gdLst>
                <a:gd name="T0" fmla="*/ 4 w 40"/>
                <a:gd name="T1" fmla="*/ 3 h 30"/>
                <a:gd name="T2" fmla="*/ 4 w 40"/>
                <a:gd name="T3" fmla="*/ 3 h 30"/>
                <a:gd name="T4" fmla="*/ 3 w 40"/>
                <a:gd name="T5" fmla="*/ 3 h 30"/>
                <a:gd name="T6" fmla="*/ 2 w 40"/>
                <a:gd name="T7" fmla="*/ 2 h 30"/>
                <a:gd name="T8" fmla="*/ 2 w 40"/>
                <a:gd name="T9" fmla="*/ 2 h 30"/>
                <a:gd name="T10" fmla="*/ 1 w 40"/>
                <a:gd name="T11" fmla="*/ 2 h 30"/>
                <a:gd name="T12" fmla="*/ 1 w 40"/>
                <a:gd name="T13" fmla="*/ 1 h 30"/>
                <a:gd name="T14" fmla="*/ 0 w 40"/>
                <a:gd name="T15" fmla="*/ 1 h 30"/>
                <a:gd name="T16" fmla="*/ 0 w 40"/>
                <a:gd name="T17" fmla="*/ 0 h 30"/>
                <a:gd name="T18" fmla="*/ 1 w 40"/>
                <a:gd name="T19" fmla="*/ 0 h 30"/>
                <a:gd name="T20" fmla="*/ 2 w 40"/>
                <a:gd name="T21" fmla="*/ 1 h 30"/>
                <a:gd name="T22" fmla="*/ 2 w 40"/>
                <a:gd name="T23" fmla="*/ 1 h 30"/>
                <a:gd name="T24" fmla="*/ 3 w 40"/>
                <a:gd name="T25" fmla="*/ 2 h 30"/>
                <a:gd name="T26" fmla="*/ 4 w 40"/>
                <a:gd name="T27" fmla="*/ 2 h 30"/>
                <a:gd name="T28" fmla="*/ 4 w 40"/>
                <a:gd name="T29" fmla="*/ 3 h 30"/>
                <a:gd name="T30" fmla="*/ 4 w 40"/>
                <a:gd name="T31" fmla="*/ 3 h 30"/>
                <a:gd name="T32" fmla="*/ 4 w 40"/>
                <a:gd name="T33" fmla="*/ 3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55" name="Freeform 153">
              <a:extLst>
                <a:ext uri="{FF2B5EF4-FFF2-40B4-BE49-F238E27FC236}">
                  <a16:creationId xmlns:a16="http://schemas.microsoft.com/office/drawing/2014/main" id="{D840D64D-B996-4304-BB97-2F2B468A3D22}"/>
                </a:ext>
              </a:extLst>
            </p:cNvPr>
            <p:cNvSpPr>
              <a:spLocks/>
            </p:cNvSpPr>
            <p:nvPr/>
          </p:nvSpPr>
          <p:spPr bwMode="auto">
            <a:xfrm>
              <a:off x="5514" y="2789"/>
              <a:ext cx="20" cy="26"/>
            </a:xfrm>
            <a:custGeom>
              <a:avLst/>
              <a:gdLst>
                <a:gd name="T0" fmla="*/ 8 w 74"/>
                <a:gd name="T1" fmla="*/ 8 h 80"/>
                <a:gd name="T2" fmla="*/ 7 w 74"/>
                <a:gd name="T3" fmla="*/ 8 h 80"/>
                <a:gd name="T4" fmla="*/ 7 w 74"/>
                <a:gd name="T5" fmla="*/ 7 h 80"/>
                <a:gd name="T6" fmla="*/ 7 w 74"/>
                <a:gd name="T7" fmla="*/ 7 h 80"/>
                <a:gd name="T8" fmla="*/ 7 w 74"/>
                <a:gd name="T9" fmla="*/ 6 h 80"/>
                <a:gd name="T10" fmla="*/ 6 w 74"/>
                <a:gd name="T11" fmla="*/ 5 h 80"/>
                <a:gd name="T12" fmla="*/ 5 w 74"/>
                <a:gd name="T13" fmla="*/ 4 h 80"/>
                <a:gd name="T14" fmla="*/ 4 w 74"/>
                <a:gd name="T15" fmla="*/ 3 h 80"/>
                <a:gd name="T16" fmla="*/ 3 w 74"/>
                <a:gd name="T17" fmla="*/ 2 h 80"/>
                <a:gd name="T18" fmla="*/ 2 w 74"/>
                <a:gd name="T19" fmla="*/ 1 h 80"/>
                <a:gd name="T20" fmla="*/ 1 w 74"/>
                <a:gd name="T21" fmla="*/ 0 h 80"/>
                <a:gd name="T22" fmla="*/ 1 w 74"/>
                <a:gd name="T23" fmla="*/ 1 h 80"/>
                <a:gd name="T24" fmla="*/ 0 w 74"/>
                <a:gd name="T25" fmla="*/ 1 h 80"/>
                <a:gd name="T26" fmla="*/ 0 w 74"/>
                <a:gd name="T27" fmla="*/ 2 h 80"/>
                <a:gd name="T28" fmla="*/ 0 w 74"/>
                <a:gd name="T29" fmla="*/ 2 h 80"/>
                <a:gd name="T30" fmla="*/ 0 w 74"/>
                <a:gd name="T31" fmla="*/ 3 h 80"/>
                <a:gd name="T32" fmla="*/ 0 w 74"/>
                <a:gd name="T33" fmla="*/ 3 h 80"/>
                <a:gd name="T34" fmla="*/ 0 w 74"/>
                <a:gd name="T35" fmla="*/ 4 h 80"/>
                <a:gd name="T36" fmla="*/ 1 w 74"/>
                <a:gd name="T37" fmla="*/ 4 h 80"/>
                <a:gd name="T38" fmla="*/ 1 w 74"/>
                <a:gd name="T39" fmla="*/ 5 h 80"/>
                <a:gd name="T40" fmla="*/ 2 w 74"/>
                <a:gd name="T41" fmla="*/ 6 h 80"/>
                <a:gd name="T42" fmla="*/ 2 w 74"/>
                <a:gd name="T43" fmla="*/ 6 h 80"/>
                <a:gd name="T44" fmla="*/ 3 w 74"/>
                <a:gd name="T45" fmla="*/ 7 h 80"/>
                <a:gd name="T46" fmla="*/ 3 w 74"/>
                <a:gd name="T47" fmla="*/ 7 h 80"/>
                <a:gd name="T48" fmla="*/ 4 w 74"/>
                <a:gd name="T49" fmla="*/ 7 h 80"/>
                <a:gd name="T50" fmla="*/ 5 w 74"/>
                <a:gd name="T51" fmla="*/ 7 h 80"/>
                <a:gd name="T52" fmla="*/ 5 w 74"/>
                <a:gd name="T53" fmla="*/ 8 h 80"/>
                <a:gd name="T54" fmla="*/ 6 w 74"/>
                <a:gd name="T55" fmla="*/ 8 h 80"/>
                <a:gd name="T56" fmla="*/ 6 w 74"/>
                <a:gd name="T57" fmla="*/ 8 h 80"/>
                <a:gd name="T58" fmla="*/ 7 w 74"/>
                <a:gd name="T59" fmla="*/ 8 h 80"/>
                <a:gd name="T60" fmla="*/ 8 w 74"/>
                <a:gd name="T61" fmla="*/ 8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56" name="Freeform 154">
              <a:extLst>
                <a:ext uri="{FF2B5EF4-FFF2-40B4-BE49-F238E27FC236}">
                  <a16:creationId xmlns:a16="http://schemas.microsoft.com/office/drawing/2014/main" id="{C5FBDF0F-30AC-413B-AA2E-1E4F3827F1CE}"/>
                </a:ext>
              </a:extLst>
            </p:cNvPr>
            <p:cNvSpPr>
              <a:spLocks/>
            </p:cNvSpPr>
            <p:nvPr/>
          </p:nvSpPr>
          <p:spPr bwMode="auto">
            <a:xfrm>
              <a:off x="5555" y="2785"/>
              <a:ext cx="21" cy="27"/>
            </a:xfrm>
            <a:custGeom>
              <a:avLst/>
              <a:gdLst>
                <a:gd name="T0" fmla="*/ 5 w 86"/>
                <a:gd name="T1" fmla="*/ 9 h 80"/>
                <a:gd name="T2" fmla="*/ 8 w 86"/>
                <a:gd name="T3" fmla="*/ 9 h 80"/>
                <a:gd name="T4" fmla="*/ 8 w 86"/>
                <a:gd name="T5" fmla="*/ 7 h 80"/>
                <a:gd name="T6" fmla="*/ 7 w 86"/>
                <a:gd name="T7" fmla="*/ 7 h 80"/>
                <a:gd name="T8" fmla="*/ 7 w 86"/>
                <a:gd name="T9" fmla="*/ 6 h 80"/>
                <a:gd name="T10" fmla="*/ 6 w 86"/>
                <a:gd name="T11" fmla="*/ 6 h 80"/>
                <a:gd name="T12" fmla="*/ 5 w 86"/>
                <a:gd name="T13" fmla="*/ 6 h 80"/>
                <a:gd name="T14" fmla="*/ 5 w 86"/>
                <a:gd name="T15" fmla="*/ 5 h 80"/>
                <a:gd name="T16" fmla="*/ 4 w 86"/>
                <a:gd name="T17" fmla="*/ 4 h 80"/>
                <a:gd name="T18" fmla="*/ 3 w 86"/>
                <a:gd name="T19" fmla="*/ 3 h 80"/>
                <a:gd name="T20" fmla="*/ 2 w 86"/>
                <a:gd name="T21" fmla="*/ 2 h 80"/>
                <a:gd name="T22" fmla="*/ 1 w 86"/>
                <a:gd name="T23" fmla="*/ 1 h 80"/>
                <a:gd name="T24" fmla="*/ 0 w 86"/>
                <a:gd name="T25" fmla="*/ 0 h 80"/>
                <a:gd name="T26" fmla="*/ 0 w 86"/>
                <a:gd name="T27" fmla="*/ 1 h 80"/>
                <a:gd name="T28" fmla="*/ 1 w 86"/>
                <a:gd name="T29" fmla="*/ 2 h 80"/>
                <a:gd name="T30" fmla="*/ 1 w 86"/>
                <a:gd name="T31" fmla="*/ 4 h 80"/>
                <a:gd name="T32" fmla="*/ 2 w 86"/>
                <a:gd name="T33" fmla="*/ 5 h 80"/>
                <a:gd name="T34" fmla="*/ 2 w 86"/>
                <a:gd name="T35" fmla="*/ 6 h 80"/>
                <a:gd name="T36" fmla="*/ 3 w 86"/>
                <a:gd name="T37" fmla="*/ 8 h 80"/>
                <a:gd name="T38" fmla="*/ 4 w 86"/>
                <a:gd name="T39" fmla="*/ 8 h 80"/>
                <a:gd name="T40" fmla="*/ 4 w 86"/>
                <a:gd name="T41" fmla="*/ 9 h 80"/>
                <a:gd name="T42" fmla="*/ 5 w 86"/>
                <a:gd name="T43" fmla="*/ 9 h 80"/>
                <a:gd name="T44" fmla="*/ 5 w 86"/>
                <a:gd name="T45" fmla="*/ 9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57" name="Freeform 155">
              <a:extLst>
                <a:ext uri="{FF2B5EF4-FFF2-40B4-BE49-F238E27FC236}">
                  <a16:creationId xmlns:a16="http://schemas.microsoft.com/office/drawing/2014/main" id="{53A8908E-76D1-4D15-AFA9-BA1BE3D5C557}"/>
                </a:ext>
              </a:extLst>
            </p:cNvPr>
            <p:cNvSpPr>
              <a:spLocks/>
            </p:cNvSpPr>
            <p:nvPr/>
          </p:nvSpPr>
          <p:spPr bwMode="auto">
            <a:xfrm>
              <a:off x="5570" y="2825"/>
              <a:ext cx="25" cy="11"/>
            </a:xfrm>
            <a:custGeom>
              <a:avLst/>
              <a:gdLst>
                <a:gd name="T0" fmla="*/ 0 w 74"/>
                <a:gd name="T1" fmla="*/ 1 h 31"/>
                <a:gd name="T2" fmla="*/ 0 w 74"/>
                <a:gd name="T3" fmla="*/ 1 h 31"/>
                <a:gd name="T4" fmla="*/ 1 w 74"/>
                <a:gd name="T5" fmla="*/ 2 h 31"/>
                <a:gd name="T6" fmla="*/ 1 w 74"/>
                <a:gd name="T7" fmla="*/ 2 h 31"/>
                <a:gd name="T8" fmla="*/ 2 w 74"/>
                <a:gd name="T9" fmla="*/ 2 h 31"/>
                <a:gd name="T10" fmla="*/ 2 w 74"/>
                <a:gd name="T11" fmla="*/ 3 h 31"/>
                <a:gd name="T12" fmla="*/ 3 w 74"/>
                <a:gd name="T13" fmla="*/ 3 h 31"/>
                <a:gd name="T14" fmla="*/ 3 w 74"/>
                <a:gd name="T15" fmla="*/ 4 h 31"/>
                <a:gd name="T16" fmla="*/ 4 w 74"/>
                <a:gd name="T17" fmla="*/ 4 h 31"/>
                <a:gd name="T18" fmla="*/ 5 w 74"/>
                <a:gd name="T19" fmla="*/ 4 h 31"/>
                <a:gd name="T20" fmla="*/ 7 w 74"/>
                <a:gd name="T21" fmla="*/ 4 h 31"/>
                <a:gd name="T22" fmla="*/ 7 w 74"/>
                <a:gd name="T23" fmla="*/ 4 h 31"/>
                <a:gd name="T24" fmla="*/ 8 w 74"/>
                <a:gd name="T25" fmla="*/ 4 h 31"/>
                <a:gd name="T26" fmla="*/ 8 w 74"/>
                <a:gd name="T27" fmla="*/ 4 h 31"/>
                <a:gd name="T28" fmla="*/ 8 w 74"/>
                <a:gd name="T29" fmla="*/ 3 h 31"/>
                <a:gd name="T30" fmla="*/ 7 w 74"/>
                <a:gd name="T31" fmla="*/ 2 h 31"/>
                <a:gd name="T32" fmla="*/ 6 w 74"/>
                <a:gd name="T33" fmla="*/ 2 h 31"/>
                <a:gd name="T34" fmla="*/ 6 w 74"/>
                <a:gd name="T35" fmla="*/ 1 h 31"/>
                <a:gd name="T36" fmla="*/ 5 w 74"/>
                <a:gd name="T37" fmla="*/ 1 h 31"/>
                <a:gd name="T38" fmla="*/ 5 w 74"/>
                <a:gd name="T39" fmla="*/ 1 h 31"/>
                <a:gd name="T40" fmla="*/ 5 w 74"/>
                <a:gd name="T41" fmla="*/ 0 h 31"/>
                <a:gd name="T42" fmla="*/ 4 w 74"/>
                <a:gd name="T43" fmla="*/ 0 h 31"/>
                <a:gd name="T44" fmla="*/ 3 w 74"/>
                <a:gd name="T45" fmla="*/ 0 h 31"/>
                <a:gd name="T46" fmla="*/ 2 w 74"/>
                <a:gd name="T47" fmla="*/ 0 h 31"/>
                <a:gd name="T48" fmla="*/ 2 w 74"/>
                <a:gd name="T49" fmla="*/ 0 h 31"/>
                <a:gd name="T50" fmla="*/ 2 w 74"/>
                <a:gd name="T51" fmla="*/ 0 h 31"/>
                <a:gd name="T52" fmla="*/ 1 w 74"/>
                <a:gd name="T53" fmla="*/ 0 h 31"/>
                <a:gd name="T54" fmla="*/ 1 w 74"/>
                <a:gd name="T55" fmla="*/ 0 h 31"/>
                <a:gd name="T56" fmla="*/ 0 w 74"/>
                <a:gd name="T57" fmla="*/ 1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58" name="Freeform 156">
              <a:extLst>
                <a:ext uri="{FF2B5EF4-FFF2-40B4-BE49-F238E27FC236}">
                  <a16:creationId xmlns:a16="http://schemas.microsoft.com/office/drawing/2014/main" id="{09B141D4-1BC2-4DF4-831C-8D9862E10867}"/>
                </a:ext>
              </a:extLst>
            </p:cNvPr>
            <p:cNvSpPr>
              <a:spLocks/>
            </p:cNvSpPr>
            <p:nvPr/>
          </p:nvSpPr>
          <p:spPr bwMode="auto">
            <a:xfrm>
              <a:off x="5562" y="2819"/>
              <a:ext cx="6" cy="1"/>
            </a:xfrm>
            <a:custGeom>
              <a:avLst/>
              <a:gdLst>
                <a:gd name="T0" fmla="*/ 2 w 20"/>
                <a:gd name="T1" fmla="*/ 0 h 1"/>
                <a:gd name="T2" fmla="*/ 0 w 20"/>
                <a:gd name="T3" fmla="*/ 0 h 1"/>
                <a:gd name="T4" fmla="*/ 1 w 20"/>
                <a:gd name="T5" fmla="*/ 0 h 1"/>
                <a:gd name="T6" fmla="*/ 2 w 20"/>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
                  <a:moveTo>
                    <a:pt x="20" y="0"/>
                  </a:moveTo>
                  <a:lnTo>
                    <a:pt x="0" y="0"/>
                  </a:lnTo>
                  <a:lnTo>
                    <a:pt x="10" y="0"/>
                  </a:lnTo>
                  <a:lnTo>
                    <a:pt x="20"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59" name="Freeform 157">
              <a:extLst>
                <a:ext uri="{FF2B5EF4-FFF2-40B4-BE49-F238E27FC236}">
                  <a16:creationId xmlns:a16="http://schemas.microsoft.com/office/drawing/2014/main" id="{A5683AE8-D746-4F30-BF54-61C0F48B1AE1}"/>
                </a:ext>
              </a:extLst>
            </p:cNvPr>
            <p:cNvSpPr>
              <a:spLocks/>
            </p:cNvSpPr>
            <p:nvPr/>
          </p:nvSpPr>
          <p:spPr bwMode="auto">
            <a:xfrm>
              <a:off x="5509" y="2769"/>
              <a:ext cx="32" cy="21"/>
            </a:xfrm>
            <a:custGeom>
              <a:avLst/>
              <a:gdLst>
                <a:gd name="T0" fmla="*/ 1 w 100"/>
                <a:gd name="T1" fmla="*/ 3 h 65"/>
                <a:gd name="T2" fmla="*/ 4 w 100"/>
                <a:gd name="T3" fmla="*/ 4 h 65"/>
                <a:gd name="T4" fmla="*/ 6 w 100"/>
                <a:gd name="T5" fmla="*/ 6 h 65"/>
                <a:gd name="T6" fmla="*/ 7 w 100"/>
                <a:gd name="T7" fmla="*/ 6 h 65"/>
                <a:gd name="T8" fmla="*/ 9 w 100"/>
                <a:gd name="T9" fmla="*/ 7 h 65"/>
                <a:gd name="T10" fmla="*/ 9 w 100"/>
                <a:gd name="T11" fmla="*/ 7 h 65"/>
                <a:gd name="T12" fmla="*/ 9 w 100"/>
                <a:gd name="T13" fmla="*/ 7 h 65"/>
                <a:gd name="T14" fmla="*/ 10 w 100"/>
                <a:gd name="T15" fmla="*/ 7 h 65"/>
                <a:gd name="T16" fmla="*/ 10 w 100"/>
                <a:gd name="T17" fmla="*/ 6 h 65"/>
                <a:gd name="T18" fmla="*/ 10 w 100"/>
                <a:gd name="T19" fmla="*/ 6 h 65"/>
                <a:gd name="T20" fmla="*/ 9 w 100"/>
                <a:gd name="T21" fmla="*/ 6 h 65"/>
                <a:gd name="T22" fmla="*/ 9 w 100"/>
                <a:gd name="T23" fmla="*/ 5 h 65"/>
                <a:gd name="T24" fmla="*/ 8 w 100"/>
                <a:gd name="T25" fmla="*/ 5 h 65"/>
                <a:gd name="T26" fmla="*/ 7 w 100"/>
                <a:gd name="T27" fmla="*/ 4 h 65"/>
                <a:gd name="T28" fmla="*/ 6 w 100"/>
                <a:gd name="T29" fmla="*/ 2 h 65"/>
                <a:gd name="T30" fmla="*/ 5 w 100"/>
                <a:gd name="T31" fmla="*/ 2 h 65"/>
                <a:gd name="T32" fmla="*/ 5 w 100"/>
                <a:gd name="T33" fmla="*/ 1 h 65"/>
                <a:gd name="T34" fmla="*/ 4 w 100"/>
                <a:gd name="T35" fmla="*/ 0 h 65"/>
                <a:gd name="T36" fmla="*/ 4 w 100"/>
                <a:gd name="T37" fmla="*/ 0 h 65"/>
                <a:gd name="T38" fmla="*/ 3 w 100"/>
                <a:gd name="T39" fmla="*/ 0 h 65"/>
                <a:gd name="T40" fmla="*/ 2 w 100"/>
                <a:gd name="T41" fmla="*/ 0 h 65"/>
                <a:gd name="T42" fmla="*/ 1 w 100"/>
                <a:gd name="T43" fmla="*/ 0 h 65"/>
                <a:gd name="T44" fmla="*/ 0 w 100"/>
                <a:gd name="T45" fmla="*/ 1 h 65"/>
                <a:gd name="T46" fmla="*/ 1 w 100"/>
                <a:gd name="T47" fmla="*/ 3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60" name="Freeform 158">
              <a:extLst>
                <a:ext uri="{FF2B5EF4-FFF2-40B4-BE49-F238E27FC236}">
                  <a16:creationId xmlns:a16="http://schemas.microsoft.com/office/drawing/2014/main" id="{94A53CAD-7AED-410B-BE28-AF509964D6F0}"/>
                </a:ext>
              </a:extLst>
            </p:cNvPr>
            <p:cNvSpPr>
              <a:spLocks/>
            </p:cNvSpPr>
            <p:nvPr/>
          </p:nvSpPr>
          <p:spPr bwMode="auto">
            <a:xfrm>
              <a:off x="5579" y="2898"/>
              <a:ext cx="24" cy="34"/>
            </a:xfrm>
            <a:custGeom>
              <a:avLst/>
              <a:gdLst>
                <a:gd name="T0" fmla="*/ 7 w 79"/>
                <a:gd name="T1" fmla="*/ 9 h 104"/>
                <a:gd name="T2" fmla="*/ 5 w 79"/>
                <a:gd name="T3" fmla="*/ 7 h 104"/>
                <a:gd name="T4" fmla="*/ 4 w 79"/>
                <a:gd name="T5" fmla="*/ 4 h 104"/>
                <a:gd name="T6" fmla="*/ 3 w 79"/>
                <a:gd name="T7" fmla="*/ 2 h 104"/>
                <a:gd name="T8" fmla="*/ 1 w 79"/>
                <a:gd name="T9" fmla="*/ 0 h 104"/>
                <a:gd name="T10" fmla="*/ 1 w 79"/>
                <a:gd name="T11" fmla="*/ 2 h 104"/>
                <a:gd name="T12" fmla="*/ 0 w 79"/>
                <a:gd name="T13" fmla="*/ 4 h 104"/>
                <a:gd name="T14" fmla="*/ 0 w 79"/>
                <a:gd name="T15" fmla="*/ 4 h 104"/>
                <a:gd name="T16" fmla="*/ 0 w 79"/>
                <a:gd name="T17" fmla="*/ 5 h 104"/>
                <a:gd name="T18" fmla="*/ 0 w 79"/>
                <a:gd name="T19" fmla="*/ 6 h 104"/>
                <a:gd name="T20" fmla="*/ 0 w 79"/>
                <a:gd name="T21" fmla="*/ 7 h 104"/>
                <a:gd name="T22" fmla="*/ 0 w 79"/>
                <a:gd name="T23" fmla="*/ 7 h 104"/>
                <a:gd name="T24" fmla="*/ 0 w 79"/>
                <a:gd name="T25" fmla="*/ 8 h 104"/>
                <a:gd name="T26" fmla="*/ 1 w 79"/>
                <a:gd name="T27" fmla="*/ 9 h 104"/>
                <a:gd name="T28" fmla="*/ 1 w 79"/>
                <a:gd name="T29" fmla="*/ 9 h 104"/>
                <a:gd name="T30" fmla="*/ 1 w 79"/>
                <a:gd name="T31" fmla="*/ 9 h 104"/>
                <a:gd name="T32" fmla="*/ 2 w 79"/>
                <a:gd name="T33" fmla="*/ 9 h 104"/>
                <a:gd name="T34" fmla="*/ 2 w 79"/>
                <a:gd name="T35" fmla="*/ 10 h 104"/>
                <a:gd name="T36" fmla="*/ 3 w 79"/>
                <a:gd name="T37" fmla="*/ 10 h 104"/>
                <a:gd name="T38" fmla="*/ 4 w 79"/>
                <a:gd name="T39" fmla="*/ 10 h 104"/>
                <a:gd name="T40" fmla="*/ 5 w 79"/>
                <a:gd name="T41" fmla="*/ 10 h 104"/>
                <a:gd name="T42" fmla="*/ 6 w 79"/>
                <a:gd name="T43" fmla="*/ 11 h 104"/>
                <a:gd name="T44" fmla="*/ 7 w 79"/>
                <a:gd name="T45" fmla="*/ 11 h 104"/>
                <a:gd name="T46" fmla="*/ 7 w 79"/>
                <a:gd name="T47" fmla="*/ 9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B050"/>
                </a:solidFill>
                <a:effectLst/>
                <a:uLnTx/>
                <a:uFillTx/>
                <a:latin typeface="Arial" panose="020B0604020202020204" pitchFamily="34" charset="0"/>
                <a:ea typeface="MS PGothic" panose="020B0600070205080204" pitchFamily="34" charset="-128"/>
                <a:cs typeface="Arial"/>
              </a:endParaRPr>
            </a:p>
          </p:txBody>
        </p:sp>
      </p:grpSp>
      <p:sp>
        <p:nvSpPr>
          <p:cNvPr id="661" name="Freeform 159">
            <a:extLst>
              <a:ext uri="{FF2B5EF4-FFF2-40B4-BE49-F238E27FC236}">
                <a16:creationId xmlns:a16="http://schemas.microsoft.com/office/drawing/2014/main" id="{2E72963F-EC6E-4BEA-B281-2A8A7D32D60D}"/>
              </a:ext>
            </a:extLst>
          </p:cNvPr>
          <p:cNvSpPr>
            <a:spLocks/>
          </p:cNvSpPr>
          <p:nvPr>
            <p:custDataLst>
              <p:tags r:id="rId90"/>
            </p:custDataLst>
          </p:nvPr>
        </p:nvSpPr>
        <p:spPr bwMode="auto">
          <a:xfrm>
            <a:off x="5685597" y="4124171"/>
            <a:ext cx="16712" cy="71148"/>
          </a:xfrm>
          <a:custGeom>
            <a:avLst/>
            <a:gdLst>
              <a:gd name="T0" fmla="*/ 4574028 w 27"/>
              <a:gd name="T1" fmla="*/ 0 h 19"/>
              <a:gd name="T2" fmla="*/ 4574028 w 27"/>
              <a:gd name="T3" fmla="*/ 102620090 h 19"/>
              <a:gd name="T4" fmla="*/ 4574028 w 27"/>
              <a:gd name="T5" fmla="*/ 162480834 h 19"/>
              <a:gd name="T6" fmla="*/ 1524539 w 27"/>
              <a:gd name="T7" fmla="*/ 162480834 h 19"/>
              <a:gd name="T8" fmla="*/ 0 w 27"/>
              <a:gd name="T9" fmla="*/ 162480834 h 19"/>
              <a:gd name="T10" fmla="*/ 1524539 w 27"/>
              <a:gd name="T11" fmla="*/ 102620090 h 19"/>
              <a:gd name="T12" fmla="*/ 4574028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62" name="Freeform 160">
            <a:extLst>
              <a:ext uri="{FF2B5EF4-FFF2-40B4-BE49-F238E27FC236}">
                <a16:creationId xmlns:a16="http://schemas.microsoft.com/office/drawing/2014/main" id="{D3E70A5B-FB01-4F84-8C32-AC2BF645F5A7}"/>
              </a:ext>
            </a:extLst>
          </p:cNvPr>
          <p:cNvSpPr>
            <a:spLocks/>
          </p:cNvSpPr>
          <p:nvPr>
            <p:custDataLst>
              <p:tags r:id="rId91"/>
            </p:custDataLst>
          </p:nvPr>
        </p:nvSpPr>
        <p:spPr bwMode="auto">
          <a:xfrm>
            <a:off x="5581150" y="4305092"/>
            <a:ext cx="18800" cy="75216"/>
          </a:xfrm>
          <a:custGeom>
            <a:avLst/>
            <a:gdLst>
              <a:gd name="T0" fmla="*/ 0 w 39"/>
              <a:gd name="T1" fmla="*/ 0 h 35"/>
              <a:gd name="T2" fmla="*/ 5234537 w 39"/>
              <a:gd name="T3" fmla="*/ 0 h 35"/>
              <a:gd name="T4" fmla="*/ 4831909 w 39"/>
              <a:gd name="T5" fmla="*/ 23996469 h 35"/>
              <a:gd name="T6" fmla="*/ 4429280 w 39"/>
              <a:gd name="T7" fmla="*/ 50657760 h 35"/>
              <a:gd name="T8" fmla="*/ 3624023 w 39"/>
              <a:gd name="T9" fmla="*/ 74654229 h 35"/>
              <a:gd name="T10" fmla="*/ 2952853 w 39"/>
              <a:gd name="T11" fmla="*/ 90651330 h 35"/>
              <a:gd name="T12" fmla="*/ 2550225 w 39"/>
              <a:gd name="T13" fmla="*/ 93317786 h 35"/>
              <a:gd name="T14" fmla="*/ 2147596 w 39"/>
              <a:gd name="T15" fmla="*/ 93317786 h 35"/>
              <a:gd name="T16" fmla="*/ 1744968 w 39"/>
              <a:gd name="T17" fmla="*/ 90651330 h 35"/>
              <a:gd name="T18" fmla="*/ 1476427 w 39"/>
              <a:gd name="T19" fmla="*/ 82653596 h 35"/>
              <a:gd name="T20" fmla="*/ 939711 w 39"/>
              <a:gd name="T21" fmla="*/ 69321317 h 35"/>
              <a:gd name="T22" fmla="*/ 671170 w 39"/>
              <a:gd name="T23" fmla="*/ 53324216 h 35"/>
              <a:gd name="T24" fmla="*/ 268541 w 39"/>
              <a:gd name="T25" fmla="*/ 29327747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63" name="Freeform 161">
            <a:extLst>
              <a:ext uri="{FF2B5EF4-FFF2-40B4-BE49-F238E27FC236}">
                <a16:creationId xmlns:a16="http://schemas.microsoft.com/office/drawing/2014/main" id="{10C8B36A-6437-4AFA-BB6B-AF67393E8425}"/>
              </a:ext>
            </a:extLst>
          </p:cNvPr>
          <p:cNvSpPr>
            <a:spLocks/>
          </p:cNvSpPr>
          <p:nvPr>
            <p:custDataLst>
              <p:tags r:id="rId92"/>
            </p:custDataLst>
          </p:nvPr>
        </p:nvSpPr>
        <p:spPr bwMode="auto">
          <a:xfrm>
            <a:off x="8077200" y="2129262"/>
            <a:ext cx="1015217" cy="430959"/>
          </a:xfrm>
          <a:custGeom>
            <a:avLst/>
            <a:gdLst>
              <a:gd name="T0" fmla="*/ 5962683 w 1688"/>
              <a:gd name="T1" fmla="*/ 59909146 h 630"/>
              <a:gd name="T2" fmla="*/ 16025384 w 1688"/>
              <a:gd name="T3" fmla="*/ 69061727 h 630"/>
              <a:gd name="T4" fmla="*/ 28882729 w 1688"/>
              <a:gd name="T5" fmla="*/ 73222231 h 630"/>
              <a:gd name="T6" fmla="*/ 35590908 w 1688"/>
              <a:gd name="T7" fmla="*/ 77937293 h 630"/>
              <a:gd name="T8" fmla="*/ 44349097 w 1688"/>
              <a:gd name="T9" fmla="*/ 91804936 h 630"/>
              <a:gd name="T10" fmla="*/ 47144172 w 1688"/>
              <a:gd name="T11" fmla="*/ 96797014 h 630"/>
              <a:gd name="T12" fmla="*/ 47330655 w 1688"/>
              <a:gd name="T13" fmla="*/ 107059239 h 630"/>
              <a:gd name="T14" fmla="*/ 50870795 w 1688"/>
              <a:gd name="T15" fmla="*/ 113161486 h 630"/>
              <a:gd name="T16" fmla="*/ 63542089 w 1688"/>
              <a:gd name="T17" fmla="*/ 115380246 h 630"/>
              <a:gd name="T18" fmla="*/ 86275653 w 1688"/>
              <a:gd name="T19" fmla="*/ 125364928 h 630"/>
              <a:gd name="T20" fmla="*/ 101742022 w 1688"/>
              <a:gd name="T21" fmla="*/ 130079990 h 630"/>
              <a:gd name="T22" fmla="*/ 107145689 w 1688"/>
              <a:gd name="T23" fmla="*/ 141451331 h 630"/>
              <a:gd name="T24" fmla="*/ 115903879 w 1688"/>
              <a:gd name="T25" fmla="*/ 150326897 h 630"/>
              <a:gd name="T26" fmla="*/ 124848118 w 1688"/>
              <a:gd name="T27" fmla="*/ 153932842 h 630"/>
              <a:gd name="T28" fmla="*/ 170874261 w 1688"/>
              <a:gd name="T29" fmla="*/ 159757020 h 630"/>
              <a:gd name="T30" fmla="*/ 193235292 w 1688"/>
              <a:gd name="T31" fmla="*/ 170296787 h 630"/>
              <a:gd name="T32" fmla="*/ 208142214 w 1688"/>
              <a:gd name="T33" fmla="*/ 174734307 h 630"/>
              <a:gd name="T34" fmla="*/ 215595891 w 1688"/>
              <a:gd name="T35" fmla="*/ 170019245 h 630"/>
              <a:gd name="T36" fmla="*/ 250441734 w 1688"/>
              <a:gd name="T37" fmla="*/ 156428618 h 630"/>
              <a:gd name="T38" fmla="*/ 259944988 w 1688"/>
              <a:gd name="T39" fmla="*/ 141451331 h 630"/>
              <a:gd name="T40" fmla="*/ 261435983 w 1688"/>
              <a:gd name="T41" fmla="*/ 133962951 h 630"/>
              <a:gd name="T42" fmla="*/ 258267943 w 1688"/>
              <a:gd name="T43" fmla="*/ 126197029 h 630"/>
              <a:gd name="T44" fmla="*/ 255286386 w 1688"/>
              <a:gd name="T45" fmla="*/ 115102703 h 630"/>
              <a:gd name="T46" fmla="*/ 279324462 w 1688"/>
              <a:gd name="T47" fmla="*/ 109278525 h 630"/>
              <a:gd name="T48" fmla="*/ 297026891 w 1688"/>
              <a:gd name="T49" fmla="*/ 95133339 h 630"/>
              <a:gd name="T50" fmla="*/ 307648176 w 1688"/>
              <a:gd name="T51" fmla="*/ 90140735 h 630"/>
              <a:gd name="T52" fmla="*/ 314542838 w 1688"/>
              <a:gd name="T53" fmla="*/ 82374812 h 630"/>
              <a:gd name="T54" fmla="*/ 308580155 w 1688"/>
              <a:gd name="T55" fmla="*/ 77382208 h 630"/>
              <a:gd name="T56" fmla="*/ 301685493 w 1688"/>
              <a:gd name="T57" fmla="*/ 69893828 h 630"/>
              <a:gd name="T58" fmla="*/ 294976882 w 1688"/>
              <a:gd name="T59" fmla="*/ 68784185 h 630"/>
              <a:gd name="T60" fmla="*/ 289386732 w 1688"/>
              <a:gd name="T61" fmla="*/ 71558030 h 630"/>
              <a:gd name="T62" fmla="*/ 278951930 w 1688"/>
              <a:gd name="T63" fmla="*/ 71002945 h 630"/>
              <a:gd name="T64" fmla="*/ 271498253 w 1688"/>
              <a:gd name="T65" fmla="*/ 65178766 h 630"/>
              <a:gd name="T66" fmla="*/ 267212183 w 1688"/>
              <a:gd name="T67" fmla="*/ 51865681 h 630"/>
              <a:gd name="T68" fmla="*/ 254727371 w 1688"/>
              <a:gd name="T69" fmla="*/ 34392092 h 630"/>
              <a:gd name="T70" fmla="*/ 239633967 w 1688"/>
              <a:gd name="T71" fmla="*/ 33282976 h 630"/>
              <a:gd name="T72" fmla="*/ 234788883 w 1688"/>
              <a:gd name="T73" fmla="*/ 40771356 h 630"/>
              <a:gd name="T74" fmla="*/ 230316763 w 1688"/>
              <a:gd name="T75" fmla="*/ 45763960 h 630"/>
              <a:gd name="T76" fmla="*/ 217645900 w 1688"/>
              <a:gd name="T77" fmla="*/ 46318518 h 630"/>
              <a:gd name="T78" fmla="*/ 194539372 w 1688"/>
              <a:gd name="T79" fmla="*/ 46318518 h 630"/>
              <a:gd name="T80" fmla="*/ 183731605 w 1688"/>
              <a:gd name="T81" fmla="*/ 38829612 h 630"/>
              <a:gd name="T82" fmla="*/ 171805808 w 1688"/>
              <a:gd name="T83" fmla="*/ 29954573 h 630"/>
              <a:gd name="T84" fmla="*/ 158761982 w 1688"/>
              <a:gd name="T85" fmla="*/ 27735813 h 630"/>
              <a:gd name="T86" fmla="*/ 149258727 w 1688"/>
              <a:gd name="T87" fmla="*/ 31618774 h 630"/>
              <a:gd name="T88" fmla="*/ 137891945 w 1688"/>
              <a:gd name="T89" fmla="*/ 32173333 h 630"/>
              <a:gd name="T90" fmla="*/ 128947705 w 1688"/>
              <a:gd name="T91" fmla="*/ 28012829 h 630"/>
              <a:gd name="T92" fmla="*/ 123357556 w 1688"/>
              <a:gd name="T93" fmla="*/ 18860248 h 630"/>
              <a:gd name="T94" fmla="*/ 83108045 w 1688"/>
              <a:gd name="T95" fmla="*/ 1941744 h 630"/>
              <a:gd name="T96" fmla="*/ 83108045 w 1688"/>
              <a:gd name="T97" fmla="*/ 12203442 h 630"/>
              <a:gd name="T98" fmla="*/ 87766216 w 1688"/>
              <a:gd name="T99" fmla="*/ 21911108 h 630"/>
              <a:gd name="T100" fmla="*/ 91306788 w 1688"/>
              <a:gd name="T101" fmla="*/ 29399488 h 630"/>
              <a:gd name="T102" fmla="*/ 57206442 w 1688"/>
              <a:gd name="T103" fmla="*/ 33837534 h 630"/>
              <a:gd name="T104" fmla="*/ 54784332 w 1688"/>
              <a:gd name="T105" fmla="*/ 24129868 h 630"/>
              <a:gd name="T106" fmla="*/ 41926555 w 1688"/>
              <a:gd name="T107" fmla="*/ 26903713 h 630"/>
              <a:gd name="T108" fmla="*/ 34472878 w 1688"/>
              <a:gd name="T109" fmla="*/ 24407410 h 630"/>
              <a:gd name="T110" fmla="*/ 25715121 w 1688"/>
              <a:gd name="T111" fmla="*/ 26903713 h 630"/>
              <a:gd name="T112" fmla="*/ 12671294 w 1688"/>
              <a:gd name="T113" fmla="*/ 39661713 h 630"/>
              <a:gd name="T114" fmla="*/ 5776632 w 1688"/>
              <a:gd name="T115" fmla="*/ 41880999 h 630"/>
              <a:gd name="T116" fmla="*/ 745497 w 1688"/>
              <a:gd name="T117" fmla="*/ 46873077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0872A6"/>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B050"/>
              </a:solidFill>
              <a:effectLst/>
              <a:uLnTx/>
              <a:uFillTx/>
              <a:latin typeface="Arial" panose="020B0604020202020204" pitchFamily="34" charset="0"/>
              <a:ea typeface="MS PGothic" panose="020B0600070205080204" pitchFamily="34" charset="-128"/>
              <a:cs typeface="Arial"/>
            </a:endParaRPr>
          </a:p>
        </p:txBody>
      </p:sp>
      <p:sp>
        <p:nvSpPr>
          <p:cNvPr id="664" name="Freeform 162">
            <a:extLst>
              <a:ext uri="{FF2B5EF4-FFF2-40B4-BE49-F238E27FC236}">
                <a16:creationId xmlns:a16="http://schemas.microsoft.com/office/drawing/2014/main" id="{DF7884BA-3F0A-4F49-9B70-2628AF02EB2A}"/>
              </a:ext>
            </a:extLst>
          </p:cNvPr>
          <p:cNvSpPr>
            <a:spLocks/>
          </p:cNvSpPr>
          <p:nvPr>
            <p:custDataLst>
              <p:tags r:id="rId93"/>
            </p:custDataLst>
          </p:nvPr>
        </p:nvSpPr>
        <p:spPr bwMode="auto">
          <a:xfrm>
            <a:off x="2972083" y="4687263"/>
            <a:ext cx="457475" cy="540732"/>
          </a:xfrm>
          <a:custGeom>
            <a:avLst/>
            <a:gdLst>
              <a:gd name="T0" fmla="*/ 4886695 w 758"/>
              <a:gd name="T1" fmla="*/ 21897013 h 795"/>
              <a:gd name="T2" fmla="*/ 9209373 w 758"/>
              <a:gd name="T3" fmla="*/ 24086504 h 795"/>
              <a:gd name="T4" fmla="*/ 13532051 w 758"/>
              <a:gd name="T5" fmla="*/ 29561019 h 795"/>
              <a:gd name="T6" fmla="*/ 16538981 w 758"/>
              <a:gd name="T7" fmla="*/ 36677784 h 795"/>
              <a:gd name="T8" fmla="*/ 17478864 w 758"/>
              <a:gd name="T9" fmla="*/ 46257661 h 795"/>
              <a:gd name="T10" fmla="*/ 15787249 w 758"/>
              <a:gd name="T11" fmla="*/ 50910790 h 795"/>
              <a:gd name="T12" fmla="*/ 15223666 w 758"/>
              <a:gd name="T13" fmla="*/ 56111160 h 795"/>
              <a:gd name="T14" fmla="*/ 16538981 w 758"/>
              <a:gd name="T15" fmla="*/ 65691038 h 795"/>
              <a:gd name="T16" fmla="*/ 17854730 w 758"/>
              <a:gd name="T17" fmla="*/ 76092302 h 795"/>
              <a:gd name="T18" fmla="*/ 15599532 w 758"/>
              <a:gd name="T19" fmla="*/ 84303551 h 795"/>
              <a:gd name="T20" fmla="*/ 15223666 w 758"/>
              <a:gd name="T21" fmla="*/ 96347064 h 795"/>
              <a:gd name="T22" fmla="*/ 17478864 w 758"/>
              <a:gd name="T23" fmla="*/ 106748328 h 795"/>
              <a:gd name="T24" fmla="*/ 18606462 w 758"/>
              <a:gd name="T25" fmla="*/ 113590949 h 795"/>
              <a:gd name="T26" fmla="*/ 14659650 w 758"/>
              <a:gd name="T27" fmla="*/ 125086697 h 795"/>
              <a:gd name="T28" fmla="*/ 21237526 w 758"/>
              <a:gd name="T29" fmla="*/ 144794218 h 795"/>
              <a:gd name="T30" fmla="*/ 25936071 w 758"/>
              <a:gd name="T31" fmla="*/ 157932739 h 795"/>
              <a:gd name="T32" fmla="*/ 27439969 w 758"/>
              <a:gd name="T33" fmla="*/ 170249874 h 795"/>
              <a:gd name="T34" fmla="*/ 28567568 w 758"/>
              <a:gd name="T35" fmla="*/ 180376994 h 795"/>
              <a:gd name="T36" fmla="*/ 35145444 w 758"/>
              <a:gd name="T37" fmla="*/ 202000385 h 795"/>
              <a:gd name="T38" fmla="*/ 40219854 w 758"/>
              <a:gd name="T39" fmla="*/ 214043899 h 795"/>
              <a:gd name="T40" fmla="*/ 43227218 w 758"/>
              <a:gd name="T41" fmla="*/ 217328399 h 795"/>
              <a:gd name="T42" fmla="*/ 47174030 w 758"/>
              <a:gd name="T43" fmla="*/ 216233391 h 795"/>
              <a:gd name="T44" fmla="*/ 54315922 w 758"/>
              <a:gd name="T45" fmla="*/ 208295763 h 795"/>
              <a:gd name="T46" fmla="*/ 60893798 w 758"/>
              <a:gd name="T47" fmla="*/ 204189877 h 795"/>
              <a:gd name="T48" fmla="*/ 66719941 w 758"/>
              <a:gd name="T49" fmla="*/ 204737643 h 795"/>
              <a:gd name="T50" fmla="*/ 72922384 w 758"/>
              <a:gd name="T51" fmla="*/ 210759399 h 795"/>
              <a:gd name="T52" fmla="*/ 78560378 w 758"/>
              <a:gd name="T53" fmla="*/ 213496134 h 795"/>
              <a:gd name="T54" fmla="*/ 82131324 w 758"/>
              <a:gd name="T55" fmla="*/ 207474377 h 795"/>
              <a:gd name="T56" fmla="*/ 89837232 w 758"/>
              <a:gd name="T57" fmla="*/ 203916256 h 795"/>
              <a:gd name="T58" fmla="*/ 98670739 w 758"/>
              <a:gd name="T59" fmla="*/ 170249874 h 795"/>
              <a:gd name="T60" fmla="*/ 101301802 w 758"/>
              <a:gd name="T61" fmla="*/ 164228117 h 795"/>
              <a:gd name="T62" fmla="*/ 108067828 w 758"/>
              <a:gd name="T63" fmla="*/ 159848610 h 795"/>
              <a:gd name="T64" fmla="*/ 124982675 w 758"/>
              <a:gd name="T65" fmla="*/ 156837731 h 795"/>
              <a:gd name="T66" fmla="*/ 129117637 w 758"/>
              <a:gd name="T67" fmla="*/ 158479981 h 795"/>
              <a:gd name="T68" fmla="*/ 132312717 w 758"/>
              <a:gd name="T69" fmla="*/ 160122231 h 795"/>
              <a:gd name="T70" fmla="*/ 139830475 w 758"/>
              <a:gd name="T71" fmla="*/ 156837731 h 795"/>
              <a:gd name="T72" fmla="*/ 142273389 w 758"/>
              <a:gd name="T73" fmla="*/ 148078717 h 795"/>
              <a:gd name="T74" fmla="*/ 141333940 w 758"/>
              <a:gd name="T75" fmla="*/ 136582969 h 795"/>
              <a:gd name="T76" fmla="*/ 136447246 w 758"/>
              <a:gd name="T77" fmla="*/ 126455326 h 795"/>
              <a:gd name="T78" fmla="*/ 133440316 w 758"/>
              <a:gd name="T79" fmla="*/ 119065463 h 795"/>
              <a:gd name="T80" fmla="*/ 126110274 w 758"/>
              <a:gd name="T81" fmla="*/ 109759207 h 795"/>
              <a:gd name="T82" fmla="*/ 118968382 w 758"/>
              <a:gd name="T83" fmla="*/ 109211441 h 795"/>
              <a:gd name="T84" fmla="*/ 113706255 w 758"/>
              <a:gd name="T85" fmla="*/ 103463829 h 795"/>
              <a:gd name="T86" fmla="*/ 110887041 w 758"/>
              <a:gd name="T87" fmla="*/ 95525678 h 795"/>
              <a:gd name="T88" fmla="*/ 109947159 w 758"/>
              <a:gd name="T89" fmla="*/ 85124937 h 795"/>
              <a:gd name="T90" fmla="*/ 109571293 w 758"/>
              <a:gd name="T91" fmla="*/ 73628665 h 795"/>
              <a:gd name="T92" fmla="*/ 105248614 w 758"/>
              <a:gd name="T93" fmla="*/ 66238803 h 795"/>
              <a:gd name="T94" fmla="*/ 94535776 w 758"/>
              <a:gd name="T95" fmla="*/ 56111160 h 795"/>
              <a:gd name="T96" fmla="*/ 82695340 w 758"/>
              <a:gd name="T97" fmla="*/ 48720774 h 795"/>
              <a:gd name="T98" fmla="*/ 73674117 w 758"/>
              <a:gd name="T99" fmla="*/ 45709896 h 795"/>
              <a:gd name="T100" fmla="*/ 67471674 w 758"/>
              <a:gd name="T101" fmla="*/ 44067646 h 795"/>
              <a:gd name="T102" fmla="*/ 62021397 w 758"/>
              <a:gd name="T103" fmla="*/ 39688662 h 795"/>
              <a:gd name="T104" fmla="*/ 57698718 w 758"/>
              <a:gd name="T105" fmla="*/ 33392761 h 795"/>
              <a:gd name="T106" fmla="*/ 54879505 w 758"/>
              <a:gd name="T107" fmla="*/ 25181512 h 795"/>
              <a:gd name="T108" fmla="*/ 52436157 w 758"/>
              <a:gd name="T109" fmla="*/ 5200370 h 795"/>
              <a:gd name="T110" fmla="*/ 49053361 w 758"/>
              <a:gd name="T111" fmla="*/ 821386 h 795"/>
              <a:gd name="T112" fmla="*/ 42663202 w 758"/>
              <a:gd name="T113" fmla="*/ 821386 h 795"/>
              <a:gd name="T114" fmla="*/ 32514380 w 758"/>
              <a:gd name="T115" fmla="*/ 8211249 h 795"/>
              <a:gd name="T116" fmla="*/ 22365125 w 758"/>
              <a:gd name="T117" fmla="*/ 18065271 h 795"/>
              <a:gd name="T118" fmla="*/ 0 w 758"/>
              <a:gd name="T119" fmla="*/ 21897013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65" name="Freeform 163">
            <a:extLst>
              <a:ext uri="{FF2B5EF4-FFF2-40B4-BE49-F238E27FC236}">
                <a16:creationId xmlns:a16="http://schemas.microsoft.com/office/drawing/2014/main" id="{26109D98-431C-4C95-A70B-3718967CED4F}"/>
              </a:ext>
            </a:extLst>
          </p:cNvPr>
          <p:cNvSpPr>
            <a:spLocks/>
          </p:cNvSpPr>
          <p:nvPr>
            <p:custDataLst>
              <p:tags r:id="rId94"/>
            </p:custDataLst>
          </p:nvPr>
        </p:nvSpPr>
        <p:spPr bwMode="auto">
          <a:xfrm>
            <a:off x="3268710" y="3945282"/>
            <a:ext cx="167114" cy="280530"/>
          </a:xfrm>
          <a:custGeom>
            <a:avLst/>
            <a:gdLst>
              <a:gd name="T0" fmla="*/ 42796825 w 273"/>
              <a:gd name="T1" fmla="*/ 38074539 h 414"/>
              <a:gd name="T2" fmla="*/ 40514130 w 273"/>
              <a:gd name="T3" fmla="*/ 36170551 h 414"/>
              <a:gd name="T4" fmla="*/ 38231871 w 273"/>
              <a:gd name="T5" fmla="*/ 32907019 h 414"/>
              <a:gd name="T6" fmla="*/ 36139328 w 273"/>
              <a:gd name="T7" fmla="*/ 28555643 h 414"/>
              <a:gd name="T8" fmla="*/ 34807828 w 273"/>
              <a:gd name="T9" fmla="*/ 26108255 h 414"/>
              <a:gd name="T10" fmla="*/ 33476765 w 273"/>
              <a:gd name="T11" fmla="*/ 25292111 h 414"/>
              <a:gd name="T12" fmla="*/ 31764526 w 273"/>
              <a:gd name="T13" fmla="*/ 25564333 h 414"/>
              <a:gd name="T14" fmla="*/ 30623614 w 273"/>
              <a:gd name="T15" fmla="*/ 27467799 h 414"/>
              <a:gd name="T16" fmla="*/ 29101963 w 273"/>
              <a:gd name="T17" fmla="*/ 23388645 h 414"/>
              <a:gd name="T18" fmla="*/ 27009420 w 273"/>
              <a:gd name="T19" fmla="*/ 14685893 h 414"/>
              <a:gd name="T20" fmla="*/ 25107465 w 273"/>
              <a:gd name="T21" fmla="*/ 9790596 h 414"/>
              <a:gd name="T22" fmla="*/ 23395661 w 273"/>
              <a:gd name="T23" fmla="*/ 6798764 h 414"/>
              <a:gd name="T24" fmla="*/ 21112966 w 273"/>
              <a:gd name="T25" fmla="*/ 3807454 h 414"/>
              <a:gd name="T26" fmla="*/ 18259816 w 273"/>
              <a:gd name="T27" fmla="*/ 1359544 h 414"/>
              <a:gd name="T28" fmla="*/ 15216513 w 273"/>
              <a:gd name="T29" fmla="*/ 1903466 h 414"/>
              <a:gd name="T30" fmla="*/ 13124406 w 273"/>
              <a:gd name="T31" fmla="*/ 5166998 h 414"/>
              <a:gd name="T32" fmla="*/ 11983059 w 273"/>
              <a:gd name="T33" fmla="*/ 6798764 h 414"/>
              <a:gd name="T34" fmla="*/ 10841711 w 273"/>
              <a:gd name="T35" fmla="*/ 8702752 h 414"/>
              <a:gd name="T36" fmla="*/ 10651559 w 273"/>
              <a:gd name="T37" fmla="*/ 11422362 h 414"/>
              <a:gd name="T38" fmla="*/ 11031863 w 273"/>
              <a:gd name="T39" fmla="*/ 16045438 h 414"/>
              <a:gd name="T40" fmla="*/ 9890952 w 273"/>
              <a:gd name="T41" fmla="*/ 21212957 h 414"/>
              <a:gd name="T42" fmla="*/ 6276757 w 273"/>
              <a:gd name="T43" fmla="*/ 24476489 h 414"/>
              <a:gd name="T44" fmla="*/ 3233455 w 273"/>
              <a:gd name="T45" fmla="*/ 28283943 h 414"/>
              <a:gd name="T46" fmla="*/ 761044 w 273"/>
              <a:gd name="T47" fmla="*/ 32091397 h 414"/>
              <a:gd name="T48" fmla="*/ 7608257 w 273"/>
              <a:gd name="T49" fmla="*/ 53848276 h 414"/>
              <a:gd name="T50" fmla="*/ 13885014 w 273"/>
              <a:gd name="T51" fmla="*/ 55751742 h 414"/>
              <a:gd name="T52" fmla="*/ 15977557 w 273"/>
              <a:gd name="T53" fmla="*/ 57111286 h 414"/>
              <a:gd name="T54" fmla="*/ 17689360 w 273"/>
              <a:gd name="T55" fmla="*/ 59286974 h 414"/>
              <a:gd name="T56" fmla="*/ 18830708 w 273"/>
              <a:gd name="T57" fmla="*/ 61462662 h 414"/>
              <a:gd name="T58" fmla="*/ 19591315 w 273"/>
              <a:gd name="T59" fmla="*/ 64454494 h 414"/>
              <a:gd name="T60" fmla="*/ 20162207 w 273"/>
              <a:gd name="T61" fmla="*/ 72069402 h 414"/>
              <a:gd name="T62" fmla="*/ 19591315 w 273"/>
              <a:gd name="T63" fmla="*/ 75876856 h 414"/>
              <a:gd name="T64" fmla="*/ 18259816 w 273"/>
              <a:gd name="T65" fmla="*/ 79684309 h 414"/>
              <a:gd name="T66" fmla="*/ 16928316 w 273"/>
              <a:gd name="T67" fmla="*/ 83491763 h 414"/>
              <a:gd name="T68" fmla="*/ 16357861 w 273"/>
              <a:gd name="T69" fmla="*/ 87299217 h 414"/>
              <a:gd name="T70" fmla="*/ 17309056 w 273"/>
              <a:gd name="T71" fmla="*/ 93282359 h 414"/>
              <a:gd name="T72" fmla="*/ 20352359 w 273"/>
              <a:gd name="T73" fmla="*/ 101712889 h 414"/>
              <a:gd name="T74" fmla="*/ 22254314 w 273"/>
              <a:gd name="T75" fmla="*/ 105792564 h 414"/>
              <a:gd name="T76" fmla="*/ 24537009 w 273"/>
              <a:gd name="T77" fmla="*/ 109056096 h 414"/>
              <a:gd name="T78" fmla="*/ 26819268 w 273"/>
              <a:gd name="T79" fmla="*/ 111775706 h 414"/>
              <a:gd name="T80" fmla="*/ 29101963 w 273"/>
              <a:gd name="T81" fmla="*/ 112591329 h 414"/>
              <a:gd name="T82" fmla="*/ 40894870 w 273"/>
              <a:gd name="T83" fmla="*/ 108239953 h 414"/>
              <a:gd name="T84" fmla="*/ 48503126 w 273"/>
              <a:gd name="T85" fmla="*/ 104704721 h 414"/>
              <a:gd name="T86" fmla="*/ 50785385 w 273"/>
              <a:gd name="T87" fmla="*/ 102529033 h 414"/>
              <a:gd name="T88" fmla="*/ 51926732 w 273"/>
              <a:gd name="T89" fmla="*/ 100625045 h 414"/>
              <a:gd name="T90" fmla="*/ 51165689 w 273"/>
              <a:gd name="T91" fmla="*/ 95729747 h 414"/>
              <a:gd name="T92" fmla="*/ 50024777 w 273"/>
              <a:gd name="T93" fmla="*/ 91106671 h 414"/>
              <a:gd name="T94" fmla="*/ 46030279 w 273"/>
              <a:gd name="T95" fmla="*/ 84035685 h 414"/>
              <a:gd name="T96" fmla="*/ 42225933 w 273"/>
              <a:gd name="T97" fmla="*/ 76692478 h 414"/>
              <a:gd name="T98" fmla="*/ 40894870 w 273"/>
              <a:gd name="T99" fmla="*/ 72341102 h 414"/>
              <a:gd name="T100" fmla="*/ 40323978 w 273"/>
              <a:gd name="T101" fmla="*/ 67174104 h 414"/>
              <a:gd name="T102" fmla="*/ 40894870 w 273"/>
              <a:gd name="T103" fmla="*/ 58471352 h 414"/>
              <a:gd name="T104" fmla="*/ 42225933 w 273"/>
              <a:gd name="T105" fmla="*/ 51672588 h 414"/>
              <a:gd name="T106" fmla="*/ 43747584 w 273"/>
              <a:gd name="T107" fmla="*/ 45417225 h 414"/>
              <a:gd name="T108" fmla="*/ 44128324 w 273"/>
              <a:gd name="T109" fmla="*/ 38618461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nvGrpSpPr>
          <p:cNvPr id="666" name="Group 164">
            <a:extLst>
              <a:ext uri="{FF2B5EF4-FFF2-40B4-BE49-F238E27FC236}">
                <a16:creationId xmlns:a16="http://schemas.microsoft.com/office/drawing/2014/main" id="{5C62F496-348D-4B6F-B276-AA509A070353}"/>
              </a:ext>
            </a:extLst>
          </p:cNvPr>
          <p:cNvGrpSpPr>
            <a:grpSpLocks/>
          </p:cNvGrpSpPr>
          <p:nvPr>
            <p:custDataLst>
              <p:tags r:id="rId95"/>
            </p:custDataLst>
          </p:nvPr>
        </p:nvGrpSpPr>
        <p:grpSpPr bwMode="auto">
          <a:xfrm>
            <a:off x="2871801" y="3731319"/>
            <a:ext cx="450726" cy="522170"/>
            <a:chOff x="1486" y="2412"/>
            <a:chExt cx="244" cy="256"/>
          </a:xfrm>
          <a:solidFill>
            <a:schemeClr val="bg1">
              <a:lumMod val="65000"/>
            </a:schemeClr>
          </a:solidFill>
        </p:grpSpPr>
        <p:sp>
          <p:nvSpPr>
            <p:cNvPr id="1048" name="Freeform 165">
              <a:extLst>
                <a:ext uri="{FF2B5EF4-FFF2-40B4-BE49-F238E27FC236}">
                  <a16:creationId xmlns:a16="http://schemas.microsoft.com/office/drawing/2014/main" id="{95268E91-06CC-4178-A32B-B90137600E74}"/>
                </a:ext>
              </a:extLst>
            </p:cNvPr>
            <p:cNvSpPr>
              <a:spLocks/>
            </p:cNvSpPr>
            <p:nvPr/>
          </p:nvSpPr>
          <p:spPr bwMode="auto">
            <a:xfrm>
              <a:off x="1639" y="2457"/>
              <a:ext cx="18" cy="7"/>
            </a:xfrm>
            <a:custGeom>
              <a:avLst/>
              <a:gdLst>
                <a:gd name="T0" fmla="*/ 0 w 54"/>
                <a:gd name="T1" fmla="*/ 0 h 22"/>
                <a:gd name="T2" fmla="*/ 0 w 54"/>
                <a:gd name="T3" fmla="*/ 2 h 22"/>
                <a:gd name="T4" fmla="*/ 1 w 54"/>
                <a:gd name="T5" fmla="*/ 2 h 22"/>
                <a:gd name="T6" fmla="*/ 1 w 54"/>
                <a:gd name="T7" fmla="*/ 2 h 22"/>
                <a:gd name="T8" fmla="*/ 2 w 54"/>
                <a:gd name="T9" fmla="*/ 2 h 22"/>
                <a:gd name="T10" fmla="*/ 2 w 54"/>
                <a:gd name="T11" fmla="*/ 2 h 22"/>
                <a:gd name="T12" fmla="*/ 3 w 54"/>
                <a:gd name="T13" fmla="*/ 2 h 22"/>
                <a:gd name="T14" fmla="*/ 3 w 54"/>
                <a:gd name="T15" fmla="*/ 2 h 22"/>
                <a:gd name="T16" fmla="*/ 3 w 54"/>
                <a:gd name="T17" fmla="*/ 2 h 22"/>
                <a:gd name="T18" fmla="*/ 4 w 54"/>
                <a:gd name="T19" fmla="*/ 2 h 22"/>
                <a:gd name="T20" fmla="*/ 4 w 54"/>
                <a:gd name="T21" fmla="*/ 2 h 22"/>
                <a:gd name="T22" fmla="*/ 5 w 54"/>
                <a:gd name="T23" fmla="*/ 1 h 22"/>
                <a:gd name="T24" fmla="*/ 5 w 54"/>
                <a:gd name="T25" fmla="*/ 1 h 22"/>
                <a:gd name="T26" fmla="*/ 6 w 54"/>
                <a:gd name="T27" fmla="*/ 1 h 22"/>
                <a:gd name="T28" fmla="*/ 4 w 54"/>
                <a:gd name="T29" fmla="*/ 1 h 22"/>
                <a:gd name="T30" fmla="*/ 2 w 54"/>
                <a:gd name="T31" fmla="*/ 0 h 22"/>
                <a:gd name="T32" fmla="*/ 1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49" name="Freeform 166">
              <a:extLst>
                <a:ext uri="{FF2B5EF4-FFF2-40B4-BE49-F238E27FC236}">
                  <a16:creationId xmlns:a16="http://schemas.microsoft.com/office/drawing/2014/main" id="{0D6F9866-E426-4CFC-81C5-0648AC5B1C3A}"/>
                </a:ext>
              </a:extLst>
            </p:cNvPr>
            <p:cNvSpPr>
              <a:spLocks/>
            </p:cNvSpPr>
            <p:nvPr/>
          </p:nvSpPr>
          <p:spPr bwMode="auto">
            <a:xfrm>
              <a:off x="1526" y="2412"/>
              <a:ext cx="2" cy="8"/>
            </a:xfrm>
            <a:custGeom>
              <a:avLst/>
              <a:gdLst>
                <a:gd name="T0" fmla="*/ 1 w 6"/>
                <a:gd name="T1" fmla="*/ 3 h 24"/>
                <a:gd name="T2" fmla="*/ 1 w 6"/>
                <a:gd name="T3" fmla="*/ 0 h 24"/>
                <a:gd name="T4" fmla="*/ 0 w 6"/>
                <a:gd name="T5" fmla="*/ 0 h 24"/>
                <a:gd name="T6" fmla="*/ 0 w 6"/>
                <a:gd name="T7" fmla="*/ 0 h 24"/>
                <a:gd name="T8" fmla="*/ 0 w 6"/>
                <a:gd name="T9" fmla="*/ 1 h 24"/>
                <a:gd name="T10" fmla="*/ 0 w 6"/>
                <a:gd name="T11" fmla="*/ 1 h 24"/>
                <a:gd name="T12" fmla="*/ 0 w 6"/>
                <a:gd name="T13" fmla="*/ 2 h 24"/>
                <a:gd name="T14" fmla="*/ 0 w 6"/>
                <a:gd name="T15" fmla="*/ 2 h 24"/>
                <a:gd name="T16" fmla="*/ 0 w 6"/>
                <a:gd name="T17" fmla="*/ 3 h 24"/>
                <a:gd name="T18" fmla="*/ 1 w 6"/>
                <a:gd name="T19" fmla="*/ 3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50" name="Freeform 167">
              <a:extLst>
                <a:ext uri="{FF2B5EF4-FFF2-40B4-BE49-F238E27FC236}">
                  <a16:creationId xmlns:a16="http://schemas.microsoft.com/office/drawing/2014/main" id="{4F760C42-6B62-47A8-A297-9D7A412E430A}"/>
                </a:ext>
              </a:extLst>
            </p:cNvPr>
            <p:cNvSpPr>
              <a:spLocks/>
            </p:cNvSpPr>
            <p:nvPr/>
          </p:nvSpPr>
          <p:spPr bwMode="auto">
            <a:xfrm>
              <a:off x="1557" y="2438"/>
              <a:ext cx="8" cy="4"/>
            </a:xfrm>
            <a:custGeom>
              <a:avLst/>
              <a:gdLst>
                <a:gd name="T0" fmla="*/ 0 w 27"/>
                <a:gd name="T1" fmla="*/ 1 h 12"/>
                <a:gd name="T2" fmla="*/ 2 w 27"/>
                <a:gd name="T3" fmla="*/ 1 h 12"/>
                <a:gd name="T4" fmla="*/ 1 w 27"/>
                <a:gd name="T5" fmla="*/ 0 h 12"/>
                <a:gd name="T6" fmla="*/ 0 w 27"/>
                <a:gd name="T7" fmla="*/ 1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12">
                  <a:moveTo>
                    <a:pt x="0" y="12"/>
                  </a:moveTo>
                  <a:lnTo>
                    <a:pt x="27" y="12"/>
                  </a:lnTo>
                  <a:lnTo>
                    <a:pt x="14" y="0"/>
                  </a:lnTo>
                  <a:lnTo>
                    <a:pt x="0" y="12"/>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51" name="Freeform 168">
              <a:extLst>
                <a:ext uri="{FF2B5EF4-FFF2-40B4-BE49-F238E27FC236}">
                  <a16:creationId xmlns:a16="http://schemas.microsoft.com/office/drawing/2014/main" id="{2ED4E116-A4F1-4E24-8664-1606D438275E}"/>
                </a:ext>
              </a:extLst>
            </p:cNvPr>
            <p:cNvSpPr>
              <a:spLocks/>
            </p:cNvSpPr>
            <p:nvPr/>
          </p:nvSpPr>
          <p:spPr bwMode="auto">
            <a:xfrm>
              <a:off x="1486" y="2444"/>
              <a:ext cx="244" cy="224"/>
            </a:xfrm>
            <a:custGeom>
              <a:avLst/>
              <a:gdLst>
                <a:gd name="T0" fmla="*/ 1 w 743"/>
                <a:gd name="T1" fmla="*/ 23 h 672"/>
                <a:gd name="T2" fmla="*/ 5 w 743"/>
                <a:gd name="T3" fmla="*/ 30 h 672"/>
                <a:gd name="T4" fmla="*/ 13 w 743"/>
                <a:gd name="T5" fmla="*/ 33 h 672"/>
                <a:gd name="T6" fmla="*/ 18 w 743"/>
                <a:gd name="T7" fmla="*/ 35 h 672"/>
                <a:gd name="T8" fmla="*/ 21 w 743"/>
                <a:gd name="T9" fmla="*/ 38 h 672"/>
                <a:gd name="T10" fmla="*/ 32 w 743"/>
                <a:gd name="T11" fmla="*/ 42 h 672"/>
                <a:gd name="T12" fmla="*/ 31 w 743"/>
                <a:gd name="T13" fmla="*/ 47 h 672"/>
                <a:gd name="T14" fmla="*/ 33 w 743"/>
                <a:gd name="T15" fmla="*/ 57 h 672"/>
                <a:gd name="T16" fmla="*/ 33 w 743"/>
                <a:gd name="T17" fmla="*/ 59 h 672"/>
                <a:gd name="T18" fmla="*/ 33 w 743"/>
                <a:gd name="T19" fmla="*/ 63 h 672"/>
                <a:gd name="T20" fmla="*/ 35 w 743"/>
                <a:gd name="T21" fmla="*/ 69 h 672"/>
                <a:gd name="T22" fmla="*/ 40 w 743"/>
                <a:gd name="T23" fmla="*/ 73 h 672"/>
                <a:gd name="T24" fmla="*/ 45 w 743"/>
                <a:gd name="T25" fmla="*/ 75 h 672"/>
                <a:gd name="T26" fmla="*/ 50 w 743"/>
                <a:gd name="T27" fmla="*/ 73 h 672"/>
                <a:gd name="T28" fmla="*/ 55 w 743"/>
                <a:gd name="T29" fmla="*/ 69 h 672"/>
                <a:gd name="T30" fmla="*/ 56 w 743"/>
                <a:gd name="T31" fmla="*/ 65 h 672"/>
                <a:gd name="T32" fmla="*/ 52 w 743"/>
                <a:gd name="T33" fmla="*/ 52 h 672"/>
                <a:gd name="T34" fmla="*/ 62 w 743"/>
                <a:gd name="T35" fmla="*/ 56 h 672"/>
                <a:gd name="T36" fmla="*/ 65 w 743"/>
                <a:gd name="T37" fmla="*/ 53 h 672"/>
                <a:gd name="T38" fmla="*/ 70 w 743"/>
                <a:gd name="T39" fmla="*/ 49 h 672"/>
                <a:gd name="T40" fmla="*/ 72 w 743"/>
                <a:gd name="T41" fmla="*/ 49 h 672"/>
                <a:gd name="T42" fmla="*/ 74 w 743"/>
                <a:gd name="T43" fmla="*/ 48 h 672"/>
                <a:gd name="T44" fmla="*/ 72 w 743"/>
                <a:gd name="T45" fmla="*/ 36 h 672"/>
                <a:gd name="T46" fmla="*/ 77 w 743"/>
                <a:gd name="T47" fmla="*/ 33 h 672"/>
                <a:gd name="T48" fmla="*/ 77 w 743"/>
                <a:gd name="T49" fmla="*/ 28 h 672"/>
                <a:gd name="T50" fmla="*/ 78 w 743"/>
                <a:gd name="T51" fmla="*/ 26 h 672"/>
                <a:gd name="T52" fmla="*/ 78 w 743"/>
                <a:gd name="T53" fmla="*/ 24 h 672"/>
                <a:gd name="T54" fmla="*/ 76 w 743"/>
                <a:gd name="T55" fmla="*/ 22 h 672"/>
                <a:gd name="T56" fmla="*/ 74 w 743"/>
                <a:gd name="T57" fmla="*/ 19 h 672"/>
                <a:gd name="T58" fmla="*/ 72 w 743"/>
                <a:gd name="T59" fmla="*/ 16 h 672"/>
                <a:gd name="T60" fmla="*/ 69 w 743"/>
                <a:gd name="T61" fmla="*/ 17 h 672"/>
                <a:gd name="T62" fmla="*/ 68 w 743"/>
                <a:gd name="T63" fmla="*/ 15 h 672"/>
                <a:gd name="T64" fmla="*/ 65 w 743"/>
                <a:gd name="T65" fmla="*/ 13 h 672"/>
                <a:gd name="T66" fmla="*/ 63 w 743"/>
                <a:gd name="T67" fmla="*/ 11 h 672"/>
                <a:gd name="T68" fmla="*/ 58 w 743"/>
                <a:gd name="T69" fmla="*/ 8 h 672"/>
                <a:gd name="T70" fmla="*/ 53 w 743"/>
                <a:gd name="T71" fmla="*/ 10 h 672"/>
                <a:gd name="T72" fmla="*/ 51 w 743"/>
                <a:gd name="T73" fmla="*/ 11 h 672"/>
                <a:gd name="T74" fmla="*/ 47 w 743"/>
                <a:gd name="T75" fmla="*/ 13 h 672"/>
                <a:gd name="T76" fmla="*/ 45 w 743"/>
                <a:gd name="T77" fmla="*/ 12 h 672"/>
                <a:gd name="T78" fmla="*/ 42 w 743"/>
                <a:gd name="T79" fmla="*/ 11 h 672"/>
                <a:gd name="T80" fmla="*/ 39 w 743"/>
                <a:gd name="T81" fmla="*/ 9 h 672"/>
                <a:gd name="T82" fmla="*/ 34 w 743"/>
                <a:gd name="T83" fmla="*/ 9 h 672"/>
                <a:gd name="T84" fmla="*/ 32 w 743"/>
                <a:gd name="T85" fmla="*/ 10 h 672"/>
                <a:gd name="T86" fmla="*/ 27 w 743"/>
                <a:gd name="T87" fmla="*/ 10 h 672"/>
                <a:gd name="T88" fmla="*/ 25 w 743"/>
                <a:gd name="T89" fmla="*/ 6 h 672"/>
                <a:gd name="T90" fmla="*/ 19 w 743"/>
                <a:gd name="T91" fmla="*/ 2 h 672"/>
                <a:gd name="T92" fmla="*/ 16 w 743"/>
                <a:gd name="T93" fmla="*/ 1 h 672"/>
                <a:gd name="T94" fmla="*/ 15 w 743"/>
                <a:gd name="T95" fmla="*/ 5 h 672"/>
                <a:gd name="T96" fmla="*/ 13 w 743"/>
                <a:gd name="T97" fmla="*/ 8 h 672"/>
                <a:gd name="T98" fmla="*/ 13 w 743"/>
                <a:gd name="T99" fmla="*/ 15 h 672"/>
                <a:gd name="T100" fmla="*/ 11 w 743"/>
                <a:gd name="T101" fmla="*/ 22 h 672"/>
                <a:gd name="T102" fmla="*/ 10 w 743"/>
                <a:gd name="T103" fmla="*/ 21 h 672"/>
                <a:gd name="T104" fmla="*/ 8 w 743"/>
                <a:gd name="T105" fmla="*/ 20 h 672"/>
                <a:gd name="T106" fmla="*/ 6 w 743"/>
                <a:gd name="T107" fmla="*/ 19 h 672"/>
                <a:gd name="T108" fmla="*/ 6 w 743"/>
                <a:gd name="T109" fmla="*/ 13 h 672"/>
                <a:gd name="T110" fmla="*/ 8 w 743"/>
                <a:gd name="T111" fmla="*/ 7 h 672"/>
                <a:gd name="T112" fmla="*/ 11 w 743"/>
                <a:gd name="T113" fmla="*/ 2 h 672"/>
                <a:gd name="T114" fmla="*/ 6 w 743"/>
                <a:gd name="T115" fmla="*/ 3 h 672"/>
                <a:gd name="T116" fmla="*/ 2 w 743"/>
                <a:gd name="T117" fmla="*/ 8 h 672"/>
                <a:gd name="T118" fmla="*/ 0 w 743"/>
                <a:gd name="T119" fmla="*/ 13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sp>
        <p:nvSpPr>
          <p:cNvPr id="667" name="Freeform 169">
            <a:extLst>
              <a:ext uri="{FF2B5EF4-FFF2-40B4-BE49-F238E27FC236}">
                <a16:creationId xmlns:a16="http://schemas.microsoft.com/office/drawing/2014/main" id="{90A078E0-2D5D-4E54-A55A-464A72F6FD9F}"/>
              </a:ext>
            </a:extLst>
          </p:cNvPr>
          <p:cNvSpPr>
            <a:spLocks/>
          </p:cNvSpPr>
          <p:nvPr>
            <p:custDataLst>
              <p:tags r:id="rId96"/>
            </p:custDataLst>
          </p:nvPr>
        </p:nvSpPr>
        <p:spPr bwMode="auto">
          <a:xfrm>
            <a:off x="9859268" y="5734169"/>
            <a:ext cx="45956" cy="14229"/>
          </a:xfrm>
          <a:custGeom>
            <a:avLst/>
            <a:gdLst>
              <a:gd name="T0" fmla="*/ 0 w 79"/>
              <a:gd name="T1" fmla="*/ 5368545 h 23"/>
              <a:gd name="T2" fmla="*/ 3553589 w 79"/>
              <a:gd name="T3" fmla="*/ 3034542 h 23"/>
              <a:gd name="T4" fmla="*/ 7268339 w 79"/>
              <a:gd name="T5" fmla="*/ 933891 h 23"/>
              <a:gd name="T6" fmla="*/ 9045133 w 79"/>
              <a:gd name="T7" fmla="*/ 233352 h 23"/>
              <a:gd name="T8" fmla="*/ 10498801 w 79"/>
              <a:gd name="T9" fmla="*/ 0 h 23"/>
              <a:gd name="T10" fmla="*/ 11145054 w 79"/>
              <a:gd name="T11" fmla="*/ 0 h 23"/>
              <a:gd name="T12" fmla="*/ 11952870 w 79"/>
              <a:gd name="T13" fmla="*/ 233352 h 23"/>
              <a:gd name="T14" fmla="*/ 12437158 w 79"/>
              <a:gd name="T15" fmla="*/ 466704 h 23"/>
              <a:gd name="T16" fmla="*/ 12760285 w 79"/>
              <a:gd name="T17" fmla="*/ 933891 h 23"/>
              <a:gd name="T18" fmla="*/ 12437158 w 79"/>
              <a:gd name="T19" fmla="*/ 1867299 h 23"/>
              <a:gd name="T20" fmla="*/ 12114032 w 79"/>
              <a:gd name="T21" fmla="*/ 3034542 h 23"/>
              <a:gd name="T22" fmla="*/ 11629744 w 79"/>
              <a:gd name="T23" fmla="*/ 3734598 h 23"/>
              <a:gd name="T24" fmla="*/ 10983491 w 79"/>
              <a:gd name="T25" fmla="*/ 4434654 h 23"/>
              <a:gd name="T26" fmla="*/ 10337639 w 79"/>
              <a:gd name="T27" fmla="*/ 4901841 h 23"/>
              <a:gd name="T28" fmla="*/ 9529823 w 79"/>
              <a:gd name="T29" fmla="*/ 5135193 h 23"/>
              <a:gd name="T30" fmla="*/ 8560845 w 79"/>
              <a:gd name="T31" fmla="*/ 5368545 h 23"/>
              <a:gd name="T32" fmla="*/ 7429902 w 79"/>
              <a:gd name="T33" fmla="*/ 5368545 h 23"/>
              <a:gd name="T34" fmla="*/ 5976234 w 79"/>
              <a:gd name="T35" fmla="*/ 5368545 h 23"/>
              <a:gd name="T36" fmla="*/ 5168820 w 79"/>
              <a:gd name="T37" fmla="*/ 4901841 h 23"/>
              <a:gd name="T38" fmla="*/ 4199440 w 79"/>
              <a:gd name="T39" fmla="*/ 4668489 h 23"/>
              <a:gd name="T40" fmla="*/ 3715152 w 79"/>
              <a:gd name="T41" fmla="*/ 4434654 h 23"/>
              <a:gd name="T42" fmla="*/ 3068899 w 79"/>
              <a:gd name="T43" fmla="*/ 4201302 h 23"/>
              <a:gd name="T44" fmla="*/ 2261484 w 79"/>
              <a:gd name="T45" fmla="*/ 4201302 h 23"/>
              <a:gd name="T46" fmla="*/ 1453668 w 79"/>
              <a:gd name="T47" fmla="*/ 4668489 h 23"/>
              <a:gd name="T48" fmla="*/ 0 w 79"/>
              <a:gd name="T49" fmla="*/ 5368545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68" name="Freeform 170">
            <a:extLst>
              <a:ext uri="{FF2B5EF4-FFF2-40B4-BE49-F238E27FC236}">
                <a16:creationId xmlns:a16="http://schemas.microsoft.com/office/drawing/2014/main" id="{070B2C07-8A5E-40E1-8D32-C418E2B73434}"/>
              </a:ext>
            </a:extLst>
          </p:cNvPr>
          <p:cNvSpPr>
            <a:spLocks/>
          </p:cNvSpPr>
          <p:nvPr>
            <p:custDataLst>
              <p:tags r:id="rId97"/>
            </p:custDataLst>
          </p:nvPr>
        </p:nvSpPr>
        <p:spPr bwMode="auto">
          <a:xfrm>
            <a:off x="10022204" y="5906958"/>
            <a:ext cx="2088" cy="6099"/>
          </a:xfrm>
          <a:custGeom>
            <a:avLst/>
            <a:gdLst>
              <a:gd name="T0" fmla="*/ 0 w 1588"/>
              <a:gd name="T1" fmla="*/ 0 h 6"/>
              <a:gd name="T2" fmla="*/ 0 w 1588"/>
              <a:gd name="T3" fmla="*/ 3779441 h 6"/>
              <a:gd name="T4" fmla="*/ 0 w 1588"/>
              <a:gd name="T5" fmla="*/ 0 h 6"/>
              <a:gd name="T6" fmla="*/ 0 60000 65536"/>
              <a:gd name="T7" fmla="*/ 0 60000 65536"/>
              <a:gd name="T8" fmla="*/ 0 60000 65536"/>
            </a:gdLst>
            <a:ahLst/>
            <a:cxnLst>
              <a:cxn ang="T6">
                <a:pos x="T0" y="T1"/>
              </a:cxn>
              <a:cxn ang="T7">
                <a:pos x="T2" y="T3"/>
              </a:cxn>
              <a:cxn ang="T8">
                <a:pos x="T4" y="T5"/>
              </a:cxn>
            </a:cxnLst>
            <a:rect l="0" t="0" r="r" b="b"/>
            <a:pathLst>
              <a:path w="1588" h="6">
                <a:moveTo>
                  <a:pt x="0" y="0"/>
                </a:moveTo>
                <a:lnTo>
                  <a:pt x="0" y="6"/>
                </a:lnTo>
                <a:lnTo>
                  <a:pt x="0"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69" name="Line 171">
            <a:extLst>
              <a:ext uri="{FF2B5EF4-FFF2-40B4-BE49-F238E27FC236}">
                <a16:creationId xmlns:a16="http://schemas.microsoft.com/office/drawing/2014/main" id="{5DE58BB6-E0F3-41C3-921F-92B6FF21C452}"/>
              </a:ext>
            </a:extLst>
          </p:cNvPr>
          <p:cNvSpPr>
            <a:spLocks noChangeShapeType="1"/>
          </p:cNvSpPr>
          <p:nvPr>
            <p:custDataLst>
              <p:tags r:id="rId98"/>
            </p:custDataLst>
          </p:nvPr>
        </p:nvSpPr>
        <p:spPr bwMode="auto">
          <a:xfrm flipV="1">
            <a:off x="10147540" y="5904927"/>
            <a:ext cx="2088" cy="1626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70" name="Freeform 172">
            <a:extLst>
              <a:ext uri="{FF2B5EF4-FFF2-40B4-BE49-F238E27FC236}">
                <a16:creationId xmlns:a16="http://schemas.microsoft.com/office/drawing/2014/main" id="{6C867D74-00AF-4EC2-9861-BA07DFEA50BA}"/>
              </a:ext>
            </a:extLst>
          </p:cNvPr>
          <p:cNvSpPr>
            <a:spLocks/>
          </p:cNvSpPr>
          <p:nvPr>
            <p:custDataLst>
              <p:tags r:id="rId99"/>
            </p:custDataLst>
          </p:nvPr>
        </p:nvSpPr>
        <p:spPr bwMode="auto">
          <a:xfrm>
            <a:off x="10147540" y="5904927"/>
            <a:ext cx="4178" cy="20329"/>
          </a:xfrm>
          <a:custGeom>
            <a:avLst/>
            <a:gdLst>
              <a:gd name="T0" fmla="*/ 0 w 5"/>
              <a:gd name="T1" fmla="*/ 0 h 30"/>
              <a:gd name="T2" fmla="*/ 806450 w 5"/>
              <a:gd name="T3" fmla="*/ 279929 h 30"/>
              <a:gd name="T4" fmla="*/ 1612900 w 5"/>
              <a:gd name="T5" fmla="*/ 1120246 h 30"/>
              <a:gd name="T6" fmla="*/ 2016125 w 5"/>
              <a:gd name="T7" fmla="*/ 2239963 h 30"/>
              <a:gd name="T8" fmla="*/ 2016125 w 5"/>
              <a:gd name="T9" fmla="*/ 3640137 h 30"/>
              <a:gd name="T10" fmla="*/ 2016125 w 5"/>
              <a:gd name="T11" fmla="*/ 5040313 h 30"/>
              <a:gd name="T12" fmla="*/ 1612900 w 5"/>
              <a:gd name="T13" fmla="*/ 6440488 h 30"/>
              <a:gd name="T14" fmla="*/ 806450 w 5"/>
              <a:gd name="T15" fmla="*/ 7560204 h 30"/>
              <a:gd name="T16" fmla="*/ 0 w 5"/>
              <a:gd name="T17" fmla="*/ 8400521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71" name="Freeform 173">
            <a:extLst>
              <a:ext uri="{FF2B5EF4-FFF2-40B4-BE49-F238E27FC236}">
                <a16:creationId xmlns:a16="http://schemas.microsoft.com/office/drawing/2014/main" id="{E20BD4BF-5B9B-418E-81BD-14BCF581A699}"/>
              </a:ext>
            </a:extLst>
          </p:cNvPr>
          <p:cNvSpPr>
            <a:spLocks/>
          </p:cNvSpPr>
          <p:nvPr>
            <p:custDataLst>
              <p:tags r:id="rId100"/>
            </p:custDataLst>
          </p:nvPr>
        </p:nvSpPr>
        <p:spPr bwMode="auto">
          <a:xfrm>
            <a:off x="10563234" y="5215798"/>
            <a:ext cx="31335" cy="36591"/>
          </a:xfrm>
          <a:custGeom>
            <a:avLst/>
            <a:gdLst>
              <a:gd name="T0" fmla="*/ 0 w 53"/>
              <a:gd name="T1" fmla="*/ 3239366 h 55"/>
              <a:gd name="T2" fmla="*/ 175703 w 53"/>
              <a:gd name="T3" fmla="*/ 4588625 h 55"/>
              <a:gd name="T4" fmla="*/ 879355 w 53"/>
              <a:gd name="T5" fmla="*/ 5938405 h 55"/>
              <a:gd name="T6" fmla="*/ 1582588 w 53"/>
              <a:gd name="T7" fmla="*/ 7288184 h 55"/>
              <a:gd name="T8" fmla="*/ 2637646 w 53"/>
              <a:gd name="T9" fmla="*/ 8907607 h 55"/>
              <a:gd name="T10" fmla="*/ 4572060 w 53"/>
              <a:gd name="T11" fmla="*/ 11876809 h 55"/>
              <a:gd name="T12" fmla="*/ 5802822 w 53"/>
              <a:gd name="T13" fmla="*/ 14846011 h 55"/>
              <a:gd name="T14" fmla="*/ 9319823 w 53"/>
              <a:gd name="T15" fmla="*/ 14846011 h 55"/>
              <a:gd name="T16" fmla="*/ 7034003 w 53"/>
              <a:gd name="T17" fmla="*/ 11066838 h 55"/>
              <a:gd name="T18" fmla="*/ 4923886 w 53"/>
              <a:gd name="T19" fmla="*/ 7827991 h 55"/>
              <a:gd name="T20" fmla="*/ 4044531 w 53"/>
              <a:gd name="T21" fmla="*/ 6208568 h 55"/>
              <a:gd name="T22" fmla="*/ 3340879 w 53"/>
              <a:gd name="T23" fmla="*/ 4318981 h 55"/>
              <a:gd name="T24" fmla="*/ 2813350 w 53"/>
              <a:gd name="T25" fmla="*/ 2159231 h 55"/>
              <a:gd name="T26" fmla="*/ 2461943 w 53"/>
              <a:gd name="T27" fmla="*/ 0 h 55"/>
              <a:gd name="T28" fmla="*/ 1230762 w 53"/>
              <a:gd name="T29" fmla="*/ 1619423 h 55"/>
              <a:gd name="T30" fmla="*/ 0 w 53"/>
              <a:gd name="T31" fmla="*/ 3239366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72" name="Freeform 174">
            <a:extLst>
              <a:ext uri="{FF2B5EF4-FFF2-40B4-BE49-F238E27FC236}">
                <a16:creationId xmlns:a16="http://schemas.microsoft.com/office/drawing/2014/main" id="{A899333F-10AC-4DD9-8C24-C964333A15F4}"/>
              </a:ext>
            </a:extLst>
          </p:cNvPr>
          <p:cNvSpPr>
            <a:spLocks/>
          </p:cNvSpPr>
          <p:nvPr>
            <p:custDataLst>
              <p:tags r:id="rId101"/>
            </p:custDataLst>
          </p:nvPr>
        </p:nvSpPr>
        <p:spPr bwMode="auto">
          <a:xfrm>
            <a:off x="10571591" y="5120256"/>
            <a:ext cx="37601" cy="50820"/>
          </a:xfrm>
          <a:custGeom>
            <a:avLst/>
            <a:gdLst>
              <a:gd name="T0" fmla="*/ 0 w 65"/>
              <a:gd name="T1" fmla="*/ 8961021 h 75"/>
              <a:gd name="T2" fmla="*/ 1551545 w 65"/>
              <a:gd name="T3" fmla="*/ 12040810 h 75"/>
              <a:gd name="T4" fmla="*/ 3447693 w 65"/>
              <a:gd name="T5" fmla="*/ 15401590 h 75"/>
              <a:gd name="T6" fmla="*/ 4481918 w 65"/>
              <a:gd name="T7" fmla="*/ 17081715 h 75"/>
              <a:gd name="T8" fmla="*/ 5516143 w 65"/>
              <a:gd name="T9" fmla="*/ 18761841 h 75"/>
              <a:gd name="T10" fmla="*/ 6722669 w 65"/>
              <a:gd name="T11" fmla="*/ 19881571 h 75"/>
              <a:gd name="T12" fmla="*/ 7929196 w 65"/>
              <a:gd name="T13" fmla="*/ 21001831 h 75"/>
              <a:gd name="T14" fmla="*/ 8791119 w 65"/>
              <a:gd name="T15" fmla="*/ 17081715 h 75"/>
              <a:gd name="T16" fmla="*/ 9998061 w 65"/>
              <a:gd name="T17" fmla="*/ 13441003 h 75"/>
              <a:gd name="T18" fmla="*/ 10514966 w 65"/>
              <a:gd name="T19" fmla="*/ 11760877 h 75"/>
              <a:gd name="T20" fmla="*/ 10859984 w 65"/>
              <a:gd name="T21" fmla="*/ 10080752 h 75"/>
              <a:gd name="T22" fmla="*/ 11204587 w 65"/>
              <a:gd name="T23" fmla="*/ 8680559 h 75"/>
              <a:gd name="T24" fmla="*/ 11204587 w 65"/>
              <a:gd name="T25" fmla="*/ 7280896 h 75"/>
              <a:gd name="T26" fmla="*/ 11204587 w 65"/>
              <a:gd name="T27" fmla="*/ 5880703 h 75"/>
              <a:gd name="T28" fmla="*/ 10859984 w 65"/>
              <a:gd name="T29" fmla="*/ 5040376 h 75"/>
              <a:gd name="T30" fmla="*/ 10514966 w 65"/>
              <a:gd name="T31" fmla="*/ 3640183 h 75"/>
              <a:gd name="T32" fmla="*/ 9998061 w 65"/>
              <a:gd name="T33" fmla="*/ 2800385 h 75"/>
              <a:gd name="T34" fmla="*/ 8791119 w 65"/>
              <a:gd name="T35" fmla="*/ 1400193 h 75"/>
              <a:gd name="T36" fmla="*/ 7929196 w 65"/>
              <a:gd name="T37" fmla="*/ 0 h 75"/>
              <a:gd name="T38" fmla="*/ 5860746 w 65"/>
              <a:gd name="T39" fmla="*/ 0 h 75"/>
              <a:gd name="T40" fmla="*/ 4481918 w 65"/>
              <a:gd name="T41" fmla="*/ 0 h 75"/>
              <a:gd name="T42" fmla="*/ 4309616 w 65"/>
              <a:gd name="T43" fmla="*/ 559865 h 75"/>
              <a:gd name="T44" fmla="*/ 4136900 w 65"/>
              <a:gd name="T45" fmla="*/ 1960058 h 75"/>
              <a:gd name="T46" fmla="*/ 3964598 w 65"/>
              <a:gd name="T47" fmla="*/ 2520453 h 75"/>
              <a:gd name="T48" fmla="*/ 3964598 w 65"/>
              <a:gd name="T49" fmla="*/ 3080318 h 75"/>
              <a:gd name="T50" fmla="*/ 4136900 w 65"/>
              <a:gd name="T51" fmla="*/ 3360251 h 75"/>
              <a:gd name="T52" fmla="*/ 4481918 w 65"/>
              <a:gd name="T53" fmla="*/ 3640183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73" name="Freeform 175">
            <a:extLst>
              <a:ext uri="{FF2B5EF4-FFF2-40B4-BE49-F238E27FC236}">
                <a16:creationId xmlns:a16="http://schemas.microsoft.com/office/drawing/2014/main" id="{2DF9889D-CC98-4A5B-A170-A54D0B71587C}"/>
              </a:ext>
            </a:extLst>
          </p:cNvPr>
          <p:cNvSpPr>
            <a:spLocks/>
          </p:cNvSpPr>
          <p:nvPr>
            <p:custDataLst>
              <p:tags r:id="rId102"/>
            </p:custDataLst>
          </p:nvPr>
        </p:nvSpPr>
        <p:spPr bwMode="auto">
          <a:xfrm>
            <a:off x="10538168" y="5089762"/>
            <a:ext cx="25067" cy="38624"/>
          </a:xfrm>
          <a:custGeom>
            <a:avLst/>
            <a:gdLst>
              <a:gd name="T0" fmla="*/ 0 w 40"/>
              <a:gd name="T1" fmla="*/ 14673327 h 62"/>
              <a:gd name="T2" fmla="*/ 571913 w 40"/>
              <a:gd name="T3" fmla="*/ 12306582 h 62"/>
              <a:gd name="T4" fmla="*/ 1334173 w 40"/>
              <a:gd name="T5" fmla="*/ 10176756 h 62"/>
              <a:gd name="T6" fmla="*/ 2287216 w 40"/>
              <a:gd name="T7" fmla="*/ 7810012 h 62"/>
              <a:gd name="T8" fmla="*/ 3240260 w 40"/>
              <a:gd name="T9" fmla="*/ 5916617 h 62"/>
              <a:gd name="T10" fmla="*/ 4383650 w 40"/>
              <a:gd name="T11" fmla="*/ 4023222 h 62"/>
              <a:gd name="T12" fmla="*/ 5527476 w 40"/>
              <a:gd name="T13" fmla="*/ 2129826 h 62"/>
              <a:gd name="T14" fmla="*/ 6670866 w 40"/>
              <a:gd name="T15" fmla="*/ 709780 h 62"/>
              <a:gd name="T16" fmla="*/ 7623909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74" name="Freeform 176">
            <a:extLst>
              <a:ext uri="{FF2B5EF4-FFF2-40B4-BE49-F238E27FC236}">
                <a16:creationId xmlns:a16="http://schemas.microsoft.com/office/drawing/2014/main" id="{2AAEDC2E-BEF4-4584-B19B-077540912188}"/>
              </a:ext>
            </a:extLst>
          </p:cNvPr>
          <p:cNvSpPr>
            <a:spLocks/>
          </p:cNvSpPr>
          <p:nvPr>
            <p:custDataLst>
              <p:tags r:id="rId103"/>
            </p:custDataLst>
          </p:nvPr>
        </p:nvSpPr>
        <p:spPr bwMode="auto">
          <a:xfrm>
            <a:off x="10425366" y="4931203"/>
            <a:ext cx="96091" cy="178889"/>
          </a:xfrm>
          <a:custGeom>
            <a:avLst/>
            <a:gdLst>
              <a:gd name="T0" fmla="*/ 29306293 w 159"/>
              <a:gd name="T1" fmla="*/ 73649424 h 259"/>
              <a:gd name="T2" fmla="*/ 29306293 w 159"/>
              <a:gd name="T3" fmla="*/ 71374559 h 259"/>
              <a:gd name="T4" fmla="*/ 29306293 w 159"/>
              <a:gd name="T5" fmla="*/ 69383918 h 259"/>
              <a:gd name="T6" fmla="*/ 29306293 w 159"/>
              <a:gd name="T7" fmla="*/ 67109053 h 259"/>
              <a:gd name="T8" fmla="*/ 29306293 w 159"/>
              <a:gd name="T9" fmla="*/ 64834188 h 259"/>
              <a:gd name="T10" fmla="*/ 29306293 w 159"/>
              <a:gd name="T11" fmla="*/ 63696756 h 259"/>
              <a:gd name="T12" fmla="*/ 29122115 w 159"/>
              <a:gd name="T13" fmla="*/ 62275098 h 259"/>
              <a:gd name="T14" fmla="*/ 28753328 w 159"/>
              <a:gd name="T15" fmla="*/ 61137666 h 259"/>
              <a:gd name="T16" fmla="*/ 28200363 w 159"/>
              <a:gd name="T17" fmla="*/ 59716008 h 259"/>
              <a:gd name="T18" fmla="*/ 26726076 w 159"/>
              <a:gd name="T19" fmla="*/ 57440610 h 259"/>
              <a:gd name="T20" fmla="*/ 24882572 w 159"/>
              <a:gd name="T21" fmla="*/ 55450503 h 259"/>
              <a:gd name="T22" fmla="*/ 22855320 w 159"/>
              <a:gd name="T23" fmla="*/ 53744088 h 259"/>
              <a:gd name="T24" fmla="*/ 20643459 w 159"/>
              <a:gd name="T25" fmla="*/ 52322430 h 259"/>
              <a:gd name="T26" fmla="*/ 18247420 w 159"/>
              <a:gd name="T27" fmla="*/ 51184998 h 259"/>
              <a:gd name="T28" fmla="*/ 16035560 w 159"/>
              <a:gd name="T29" fmla="*/ 50900773 h 259"/>
              <a:gd name="T30" fmla="*/ 15666773 w 159"/>
              <a:gd name="T31" fmla="*/ 50616015 h 259"/>
              <a:gd name="T32" fmla="*/ 15113808 w 159"/>
              <a:gd name="T33" fmla="*/ 50331790 h 259"/>
              <a:gd name="T34" fmla="*/ 14929629 w 159"/>
              <a:gd name="T35" fmla="*/ 49763340 h 259"/>
              <a:gd name="T36" fmla="*/ 14745451 w 159"/>
              <a:gd name="T37" fmla="*/ 49194357 h 259"/>
              <a:gd name="T38" fmla="*/ 14745451 w 159"/>
              <a:gd name="T39" fmla="*/ 47488475 h 259"/>
              <a:gd name="T40" fmla="*/ 14929629 w 159"/>
              <a:gd name="T41" fmla="*/ 45782060 h 259"/>
              <a:gd name="T42" fmla="*/ 15666773 w 159"/>
              <a:gd name="T43" fmla="*/ 42085537 h 259"/>
              <a:gd name="T44" fmla="*/ 16035560 w 159"/>
              <a:gd name="T45" fmla="*/ 40379122 h 259"/>
              <a:gd name="T46" fmla="*/ 13454912 w 159"/>
              <a:gd name="T47" fmla="*/ 40094897 h 259"/>
              <a:gd name="T48" fmla="*/ 10874695 w 159"/>
              <a:gd name="T49" fmla="*/ 39525914 h 259"/>
              <a:gd name="T50" fmla="*/ 8847013 w 159"/>
              <a:gd name="T51" fmla="*/ 38388482 h 259"/>
              <a:gd name="T52" fmla="*/ 7372725 w 159"/>
              <a:gd name="T53" fmla="*/ 36682599 h 259"/>
              <a:gd name="T54" fmla="*/ 5713830 w 159"/>
              <a:gd name="T55" fmla="*/ 34407734 h 259"/>
              <a:gd name="T56" fmla="*/ 4423721 w 159"/>
              <a:gd name="T57" fmla="*/ 32132869 h 259"/>
              <a:gd name="T58" fmla="*/ 3317791 w 159"/>
              <a:gd name="T59" fmla="*/ 29573779 h 259"/>
              <a:gd name="T60" fmla="*/ 2396039 w 159"/>
              <a:gd name="T61" fmla="*/ 26729931 h 259"/>
              <a:gd name="T62" fmla="*/ 1658895 w 159"/>
              <a:gd name="T63" fmla="*/ 23886083 h 259"/>
              <a:gd name="T64" fmla="*/ 1290109 w 159"/>
              <a:gd name="T65" fmla="*/ 20758544 h 259"/>
              <a:gd name="T66" fmla="*/ 921752 w 159"/>
              <a:gd name="T67" fmla="*/ 17061488 h 259"/>
              <a:gd name="T68" fmla="*/ 368787 w 159"/>
              <a:gd name="T69" fmla="*/ 13649191 h 259"/>
              <a:gd name="T70" fmla="*/ 0 w 159"/>
              <a:gd name="T71" fmla="*/ 7108820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75" name="Line 177">
            <a:extLst>
              <a:ext uri="{FF2B5EF4-FFF2-40B4-BE49-F238E27FC236}">
                <a16:creationId xmlns:a16="http://schemas.microsoft.com/office/drawing/2014/main" id="{80F6DF83-0DD9-4128-B00F-5A58030F5BAD}"/>
              </a:ext>
            </a:extLst>
          </p:cNvPr>
          <p:cNvSpPr>
            <a:spLocks noChangeShapeType="1"/>
          </p:cNvSpPr>
          <p:nvPr>
            <p:custDataLst>
              <p:tags r:id="rId104"/>
            </p:custDataLst>
          </p:nvPr>
        </p:nvSpPr>
        <p:spPr bwMode="auto">
          <a:xfrm flipH="1" flipV="1">
            <a:off x="10417011" y="4886480"/>
            <a:ext cx="8355" cy="44722"/>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76" name="Freeform 178">
            <a:extLst>
              <a:ext uri="{FF2B5EF4-FFF2-40B4-BE49-F238E27FC236}">
                <a16:creationId xmlns:a16="http://schemas.microsoft.com/office/drawing/2014/main" id="{AF559DB6-E01D-4E65-AD78-9A324AC3A4E2}"/>
              </a:ext>
            </a:extLst>
          </p:cNvPr>
          <p:cNvSpPr>
            <a:spLocks/>
          </p:cNvSpPr>
          <p:nvPr>
            <p:custDataLst>
              <p:tags r:id="rId105"/>
            </p:custDataLst>
          </p:nvPr>
        </p:nvSpPr>
        <p:spPr bwMode="auto">
          <a:xfrm>
            <a:off x="10417011" y="4866151"/>
            <a:ext cx="8355" cy="20329"/>
          </a:xfrm>
          <a:custGeom>
            <a:avLst/>
            <a:gdLst>
              <a:gd name="T0" fmla="*/ 0 w 13"/>
              <a:gd name="T1" fmla="*/ 10080625 h 25"/>
              <a:gd name="T2" fmla="*/ 238369 w 13"/>
              <a:gd name="T3" fmla="*/ 7661275 h 25"/>
              <a:gd name="T4" fmla="*/ 954454 w 13"/>
              <a:gd name="T5" fmla="*/ 5241925 h 25"/>
              <a:gd name="T6" fmla="*/ 1908908 w 13"/>
              <a:gd name="T7" fmla="*/ 2419350 h 25"/>
              <a:gd name="T8" fmla="*/ 3101731 w 13"/>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25">
                <a:moveTo>
                  <a:pt x="0" y="25"/>
                </a:moveTo>
                <a:lnTo>
                  <a:pt x="1" y="19"/>
                </a:lnTo>
                <a:lnTo>
                  <a:pt x="4" y="13"/>
                </a:lnTo>
                <a:lnTo>
                  <a:pt x="8" y="6"/>
                </a:lnTo>
                <a:lnTo>
                  <a:pt x="13"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77" name="Line 179">
            <a:extLst>
              <a:ext uri="{FF2B5EF4-FFF2-40B4-BE49-F238E27FC236}">
                <a16:creationId xmlns:a16="http://schemas.microsoft.com/office/drawing/2014/main" id="{80ADDFC7-B23A-4C02-A4F2-20C3BCB9B104}"/>
              </a:ext>
            </a:extLst>
          </p:cNvPr>
          <p:cNvSpPr>
            <a:spLocks noChangeShapeType="1"/>
          </p:cNvSpPr>
          <p:nvPr>
            <p:custDataLst>
              <p:tags r:id="rId106"/>
            </p:custDataLst>
          </p:nvPr>
        </p:nvSpPr>
        <p:spPr bwMode="auto">
          <a:xfrm flipV="1">
            <a:off x="10425366" y="4849890"/>
            <a:ext cx="0" cy="1626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78" name="Freeform 180">
            <a:extLst>
              <a:ext uri="{FF2B5EF4-FFF2-40B4-BE49-F238E27FC236}">
                <a16:creationId xmlns:a16="http://schemas.microsoft.com/office/drawing/2014/main" id="{BD601186-0588-4F94-902D-94E3724CF9B0}"/>
              </a:ext>
            </a:extLst>
          </p:cNvPr>
          <p:cNvSpPr>
            <a:spLocks/>
          </p:cNvSpPr>
          <p:nvPr>
            <p:custDataLst>
              <p:tags r:id="rId107"/>
            </p:custDataLst>
          </p:nvPr>
        </p:nvSpPr>
        <p:spPr bwMode="auto">
          <a:xfrm>
            <a:off x="10362698" y="4762478"/>
            <a:ext cx="62668" cy="87411"/>
          </a:xfrm>
          <a:custGeom>
            <a:avLst/>
            <a:gdLst>
              <a:gd name="T0" fmla="*/ 21194974 w 100"/>
              <a:gd name="T1" fmla="*/ 36142729 h 123"/>
              <a:gd name="T2" fmla="*/ 19075385 w 100"/>
              <a:gd name="T3" fmla="*/ 35848925 h 123"/>
              <a:gd name="T4" fmla="*/ 16108236 w 100"/>
              <a:gd name="T5" fmla="*/ 34967514 h 123"/>
              <a:gd name="T6" fmla="*/ 12717077 w 100"/>
              <a:gd name="T7" fmla="*/ 33497954 h 123"/>
              <a:gd name="T8" fmla="*/ 9113682 w 100"/>
              <a:gd name="T9" fmla="*/ 31441328 h 123"/>
              <a:gd name="T10" fmla="*/ 7206328 w 100"/>
              <a:gd name="T11" fmla="*/ 30266113 h 123"/>
              <a:gd name="T12" fmla="*/ 5722523 w 100"/>
              <a:gd name="T13" fmla="*/ 29090357 h 123"/>
              <a:gd name="T14" fmla="*/ 4239179 w 100"/>
              <a:gd name="T15" fmla="*/ 27621338 h 123"/>
              <a:gd name="T16" fmla="*/ 2755374 w 100"/>
              <a:gd name="T17" fmla="*/ 26152320 h 123"/>
              <a:gd name="T18" fmla="*/ 1695580 w 100"/>
              <a:gd name="T19" fmla="*/ 24682760 h 123"/>
              <a:gd name="T20" fmla="*/ 848020 w 100"/>
              <a:gd name="T21" fmla="*/ 23213741 h 123"/>
              <a:gd name="T22" fmla="*/ 211775 w 100"/>
              <a:gd name="T23" fmla="*/ 21450377 h 123"/>
              <a:gd name="T24" fmla="*/ 0 w 100"/>
              <a:gd name="T25" fmla="*/ 19981359 h 123"/>
              <a:gd name="T26" fmla="*/ 424010 w 100"/>
              <a:gd name="T27" fmla="*/ 16161370 h 123"/>
              <a:gd name="T28" fmla="*/ 1483805 w 100"/>
              <a:gd name="T29" fmla="*/ 10578558 h 123"/>
              <a:gd name="T30" fmla="*/ 2331364 w 100"/>
              <a:gd name="T31" fmla="*/ 4995204 h 123"/>
              <a:gd name="T32" fmla="*/ 2755374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79" name="Freeform 181">
            <a:extLst>
              <a:ext uri="{FF2B5EF4-FFF2-40B4-BE49-F238E27FC236}">
                <a16:creationId xmlns:a16="http://schemas.microsoft.com/office/drawing/2014/main" id="{D8E4F9D5-54DD-4CD1-8D77-1B5B6EF05B86}"/>
              </a:ext>
            </a:extLst>
          </p:cNvPr>
          <p:cNvSpPr>
            <a:spLocks/>
          </p:cNvSpPr>
          <p:nvPr>
            <p:custDataLst>
              <p:tags r:id="rId108"/>
            </p:custDataLst>
          </p:nvPr>
        </p:nvSpPr>
        <p:spPr bwMode="auto">
          <a:xfrm>
            <a:off x="10381499" y="4689296"/>
            <a:ext cx="2088" cy="65050"/>
          </a:xfrm>
          <a:custGeom>
            <a:avLst/>
            <a:gdLst>
              <a:gd name="T0" fmla="*/ 503714 w 5"/>
              <a:gd name="T1" fmla="*/ 0 h 99"/>
              <a:gd name="T2" fmla="*/ 403098 w 5"/>
              <a:gd name="T3" fmla="*/ 8952089 h 99"/>
              <a:gd name="T4" fmla="*/ 100616 w 5"/>
              <a:gd name="T5" fmla="*/ 15535051 h 99"/>
              <a:gd name="T6" fmla="*/ 0 w 5"/>
              <a:gd name="T7" fmla="*/ 18167927 h 99"/>
              <a:gd name="T8" fmla="*/ 0 w 5"/>
              <a:gd name="T9" fmla="*/ 20537568 h 99"/>
              <a:gd name="T10" fmla="*/ 201549 w 5"/>
              <a:gd name="T11" fmla="*/ 22907208 h 99"/>
              <a:gd name="T12" fmla="*/ 503714 w 5"/>
              <a:gd name="T13" fmla="*/ 26067071 h 9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 h="99">
                <a:moveTo>
                  <a:pt x="5" y="0"/>
                </a:moveTo>
                <a:lnTo>
                  <a:pt x="4" y="34"/>
                </a:lnTo>
                <a:lnTo>
                  <a:pt x="1" y="59"/>
                </a:lnTo>
                <a:lnTo>
                  <a:pt x="0" y="69"/>
                </a:lnTo>
                <a:lnTo>
                  <a:pt x="0" y="78"/>
                </a:lnTo>
                <a:lnTo>
                  <a:pt x="2" y="87"/>
                </a:lnTo>
                <a:lnTo>
                  <a:pt x="5" y="99"/>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80" name="Freeform 182">
            <a:extLst>
              <a:ext uri="{FF2B5EF4-FFF2-40B4-BE49-F238E27FC236}">
                <a16:creationId xmlns:a16="http://schemas.microsoft.com/office/drawing/2014/main" id="{8B232F98-CC70-4B7B-B73D-BEFFE6D0DE72}"/>
              </a:ext>
            </a:extLst>
          </p:cNvPr>
          <p:cNvSpPr>
            <a:spLocks/>
          </p:cNvSpPr>
          <p:nvPr>
            <p:custDataLst>
              <p:tags r:id="rId109"/>
            </p:custDataLst>
          </p:nvPr>
        </p:nvSpPr>
        <p:spPr bwMode="auto">
          <a:xfrm>
            <a:off x="10389855" y="4681165"/>
            <a:ext cx="12534" cy="46755"/>
          </a:xfrm>
          <a:custGeom>
            <a:avLst/>
            <a:gdLst>
              <a:gd name="T0" fmla="*/ 4499712 w 14"/>
              <a:gd name="T1" fmla="*/ 0 h 68"/>
              <a:gd name="T2" fmla="*/ 2571021 w 14"/>
              <a:gd name="T3" fmla="*/ 4612862 h 68"/>
              <a:gd name="T4" fmla="*/ 1285794 w 14"/>
              <a:gd name="T5" fmla="*/ 9514061 h 68"/>
              <a:gd name="T6" fmla="*/ 642897 w 14"/>
              <a:gd name="T7" fmla="*/ 14991935 h 68"/>
              <a:gd name="T8" fmla="*/ 0 w 14"/>
              <a:gd name="T9" fmla="*/ 19604796 h 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68">
                <a:moveTo>
                  <a:pt x="14" y="0"/>
                </a:moveTo>
                <a:lnTo>
                  <a:pt x="8" y="16"/>
                </a:lnTo>
                <a:lnTo>
                  <a:pt x="4" y="33"/>
                </a:lnTo>
                <a:lnTo>
                  <a:pt x="2" y="52"/>
                </a:lnTo>
                <a:lnTo>
                  <a:pt x="0" y="68"/>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81" name="Freeform 183">
            <a:extLst>
              <a:ext uri="{FF2B5EF4-FFF2-40B4-BE49-F238E27FC236}">
                <a16:creationId xmlns:a16="http://schemas.microsoft.com/office/drawing/2014/main" id="{28DD3CB2-E747-482A-94B4-EF415358C6F2}"/>
              </a:ext>
            </a:extLst>
          </p:cNvPr>
          <p:cNvSpPr>
            <a:spLocks/>
          </p:cNvSpPr>
          <p:nvPr>
            <p:custDataLst>
              <p:tags r:id="rId110"/>
            </p:custDataLst>
          </p:nvPr>
        </p:nvSpPr>
        <p:spPr bwMode="auto">
          <a:xfrm>
            <a:off x="10412832" y="4656772"/>
            <a:ext cx="2089" cy="28460"/>
          </a:xfrm>
          <a:custGeom>
            <a:avLst/>
            <a:gdLst>
              <a:gd name="T0" fmla="*/ 0 w 1587"/>
              <a:gd name="T1" fmla="*/ 0 h 43"/>
              <a:gd name="T2" fmla="*/ 0 w 1587"/>
              <a:gd name="T3" fmla="*/ 3472785 h 43"/>
              <a:gd name="T4" fmla="*/ 0 w 1587"/>
              <a:gd name="T5" fmla="*/ 6945571 h 43"/>
              <a:gd name="T6" fmla="*/ 0 w 1587"/>
              <a:gd name="T7" fmla="*/ 9884440 h 43"/>
              <a:gd name="T8" fmla="*/ 0 w 1587"/>
              <a:gd name="T9" fmla="*/ 11487224 h 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43">
                <a:moveTo>
                  <a:pt x="0" y="0"/>
                </a:moveTo>
                <a:lnTo>
                  <a:pt x="0" y="13"/>
                </a:lnTo>
                <a:lnTo>
                  <a:pt x="0" y="26"/>
                </a:lnTo>
                <a:lnTo>
                  <a:pt x="0" y="37"/>
                </a:lnTo>
                <a:lnTo>
                  <a:pt x="0" y="43"/>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82" name="Line 184">
            <a:extLst>
              <a:ext uri="{FF2B5EF4-FFF2-40B4-BE49-F238E27FC236}">
                <a16:creationId xmlns:a16="http://schemas.microsoft.com/office/drawing/2014/main" id="{E5B10B5F-30D2-42AC-91B9-D3E8354E378D}"/>
              </a:ext>
            </a:extLst>
          </p:cNvPr>
          <p:cNvSpPr>
            <a:spLocks noChangeShapeType="1"/>
          </p:cNvSpPr>
          <p:nvPr>
            <p:custDataLst>
              <p:tags r:id="rId111"/>
            </p:custDataLst>
          </p:nvPr>
        </p:nvSpPr>
        <p:spPr bwMode="auto">
          <a:xfrm flipV="1">
            <a:off x="10412832" y="4681165"/>
            <a:ext cx="2089" cy="4066"/>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83" name="Freeform 185">
            <a:extLst>
              <a:ext uri="{FF2B5EF4-FFF2-40B4-BE49-F238E27FC236}">
                <a16:creationId xmlns:a16="http://schemas.microsoft.com/office/drawing/2014/main" id="{4C709730-419D-47AB-978A-6BDA48ED977C}"/>
              </a:ext>
            </a:extLst>
          </p:cNvPr>
          <p:cNvSpPr>
            <a:spLocks/>
          </p:cNvSpPr>
          <p:nvPr>
            <p:custDataLst>
              <p:tags r:id="rId112"/>
            </p:custDataLst>
          </p:nvPr>
        </p:nvSpPr>
        <p:spPr bwMode="auto">
          <a:xfrm>
            <a:off x="10389855" y="4660837"/>
            <a:ext cx="2088" cy="20329"/>
          </a:xfrm>
          <a:custGeom>
            <a:avLst/>
            <a:gdLst>
              <a:gd name="T0" fmla="*/ 0 w 1587"/>
              <a:gd name="T1" fmla="*/ 8129536 h 31"/>
              <a:gd name="T2" fmla="*/ 0 w 1587"/>
              <a:gd name="T3" fmla="*/ 5769282 h 31"/>
              <a:gd name="T4" fmla="*/ 0 w 1587"/>
              <a:gd name="T5" fmla="*/ 3933415 h 31"/>
              <a:gd name="T6" fmla="*/ 0 w 1587"/>
              <a:gd name="T7" fmla="*/ 2098060 h 31"/>
              <a:gd name="T8" fmla="*/ 0 w 158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31">
                <a:moveTo>
                  <a:pt x="0" y="31"/>
                </a:moveTo>
                <a:lnTo>
                  <a:pt x="0" y="22"/>
                </a:lnTo>
                <a:lnTo>
                  <a:pt x="0" y="15"/>
                </a:lnTo>
                <a:lnTo>
                  <a:pt x="0" y="8"/>
                </a:lnTo>
                <a:lnTo>
                  <a:pt x="0"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84" name="Freeform 186">
            <a:extLst>
              <a:ext uri="{FF2B5EF4-FFF2-40B4-BE49-F238E27FC236}">
                <a16:creationId xmlns:a16="http://schemas.microsoft.com/office/drawing/2014/main" id="{7CD317D0-24AC-4CE6-841C-93C4107CC332}"/>
              </a:ext>
            </a:extLst>
          </p:cNvPr>
          <p:cNvSpPr>
            <a:spLocks/>
          </p:cNvSpPr>
          <p:nvPr>
            <p:custDataLst>
              <p:tags r:id="rId113"/>
            </p:custDataLst>
          </p:nvPr>
        </p:nvSpPr>
        <p:spPr bwMode="auto">
          <a:xfrm>
            <a:off x="10001315" y="5945583"/>
            <a:ext cx="135779" cy="113838"/>
          </a:xfrm>
          <a:custGeom>
            <a:avLst/>
            <a:gdLst>
              <a:gd name="T0" fmla="*/ 3519272 w 225"/>
              <a:gd name="T1" fmla="*/ 43190134 h 167"/>
              <a:gd name="T2" fmla="*/ 1296755 w 225"/>
              <a:gd name="T3" fmla="*/ 38816118 h 167"/>
              <a:gd name="T4" fmla="*/ 0 w 225"/>
              <a:gd name="T5" fmla="*/ 35535868 h 167"/>
              <a:gd name="T6" fmla="*/ 185066 w 225"/>
              <a:gd name="T7" fmla="*/ 29522251 h 167"/>
              <a:gd name="T8" fmla="*/ 2037450 w 225"/>
              <a:gd name="T9" fmla="*/ 18588258 h 167"/>
              <a:gd name="T10" fmla="*/ 4445464 w 225"/>
              <a:gd name="T11" fmla="*/ 10660551 h 167"/>
              <a:gd name="T12" fmla="*/ 6297848 w 225"/>
              <a:gd name="T13" fmla="*/ 5740176 h 167"/>
              <a:gd name="T14" fmla="*/ 8150232 w 225"/>
              <a:gd name="T15" fmla="*/ 2459926 h 167"/>
              <a:gd name="T16" fmla="*/ 10002617 w 225"/>
              <a:gd name="T17" fmla="*/ 273441 h 167"/>
              <a:gd name="T18" fmla="*/ 12040067 w 225"/>
              <a:gd name="T19" fmla="*/ 273441 h 167"/>
              <a:gd name="T20" fmla="*/ 14077517 w 225"/>
              <a:gd name="T21" fmla="*/ 819801 h 167"/>
              <a:gd name="T22" fmla="*/ 16300465 w 225"/>
              <a:gd name="T23" fmla="*/ 2187008 h 167"/>
              <a:gd name="T24" fmla="*/ 18523412 w 225"/>
              <a:gd name="T25" fmla="*/ 4646934 h 167"/>
              <a:gd name="T26" fmla="*/ 20745928 w 225"/>
              <a:gd name="T27" fmla="*/ 6560500 h 167"/>
              <a:gd name="T28" fmla="*/ 23709571 w 225"/>
              <a:gd name="T29" fmla="*/ 6560500 h 167"/>
              <a:gd name="T30" fmla="*/ 26858710 w 225"/>
              <a:gd name="T31" fmla="*/ 5193816 h 167"/>
              <a:gd name="T32" fmla="*/ 30563479 w 225"/>
              <a:gd name="T33" fmla="*/ 1913566 h 167"/>
              <a:gd name="T34" fmla="*/ 41677354 w 225"/>
              <a:gd name="T35" fmla="*/ 0 h 167"/>
              <a:gd name="T36" fmla="*/ 39824969 w 225"/>
              <a:gd name="T37" fmla="*/ 6013618 h 167"/>
              <a:gd name="T38" fmla="*/ 37231890 w 225"/>
              <a:gd name="T39" fmla="*/ 11207434 h 167"/>
              <a:gd name="T40" fmla="*/ 31119108 w 225"/>
              <a:gd name="T41" fmla="*/ 19681500 h 167"/>
              <a:gd name="T42" fmla="*/ 25561955 w 225"/>
              <a:gd name="T43" fmla="*/ 27335243 h 167"/>
              <a:gd name="T44" fmla="*/ 23895068 w 225"/>
              <a:gd name="T45" fmla="*/ 31162376 h 167"/>
              <a:gd name="T46" fmla="*/ 23339439 w 225"/>
              <a:gd name="T47" fmla="*/ 35535868 h 167"/>
              <a:gd name="T48" fmla="*/ 22783809 w 225"/>
              <a:gd name="T49" fmla="*/ 34442626 h 167"/>
              <a:gd name="T50" fmla="*/ 22227750 w 225"/>
              <a:gd name="T51" fmla="*/ 31982177 h 167"/>
              <a:gd name="T52" fmla="*/ 19634670 w 225"/>
              <a:gd name="T53" fmla="*/ 33075942 h 167"/>
              <a:gd name="T54" fmla="*/ 17967783 w 225"/>
              <a:gd name="T55" fmla="*/ 34989508 h 167"/>
              <a:gd name="T56" fmla="*/ 14818643 w 225"/>
              <a:gd name="T57" fmla="*/ 39636442 h 167"/>
              <a:gd name="T58" fmla="*/ 13151325 w 225"/>
              <a:gd name="T59" fmla="*/ 41822927 h 167"/>
              <a:gd name="T60" fmla="*/ 11113875 w 225"/>
              <a:gd name="T61" fmla="*/ 43736493 h 167"/>
              <a:gd name="T62" fmla="*/ 8520795 w 225"/>
              <a:gd name="T63" fmla="*/ 45103177 h 167"/>
              <a:gd name="T64" fmla="*/ 4816027 w 225"/>
              <a:gd name="T65" fmla="*/ 45650060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85" name="Freeform 187">
            <a:extLst>
              <a:ext uri="{FF2B5EF4-FFF2-40B4-BE49-F238E27FC236}">
                <a16:creationId xmlns:a16="http://schemas.microsoft.com/office/drawing/2014/main" id="{45548830-819C-4FED-80BC-0042B5773CA2}"/>
              </a:ext>
            </a:extLst>
          </p:cNvPr>
          <p:cNvSpPr>
            <a:spLocks/>
          </p:cNvSpPr>
          <p:nvPr>
            <p:custDataLst>
              <p:tags r:id="rId114"/>
            </p:custDataLst>
          </p:nvPr>
        </p:nvSpPr>
        <p:spPr bwMode="auto">
          <a:xfrm>
            <a:off x="10193496" y="4931203"/>
            <a:ext cx="4178" cy="22361"/>
          </a:xfrm>
          <a:custGeom>
            <a:avLst/>
            <a:gdLst>
              <a:gd name="T0" fmla="*/ 0 w 7"/>
              <a:gd name="T1" fmla="*/ 9837302 h 31"/>
              <a:gd name="T2" fmla="*/ 1028700 w 7"/>
              <a:gd name="T3" fmla="*/ 6981257 h 31"/>
              <a:gd name="T4" fmla="*/ 1234168 w 7"/>
              <a:gd name="T5" fmla="*/ 4125211 h 31"/>
              <a:gd name="T6" fmla="*/ 1440089 w 7"/>
              <a:gd name="T7" fmla="*/ 1904030 h 31"/>
              <a:gd name="T8" fmla="*/ 1440089 w 7"/>
              <a:gd name="T9" fmla="*/ 0 h 31"/>
              <a:gd name="T10" fmla="*/ 1234168 w 7"/>
              <a:gd name="T11" fmla="*/ 1904030 h 31"/>
              <a:gd name="T12" fmla="*/ 822779 w 7"/>
              <a:gd name="T13" fmla="*/ 4125211 h 31"/>
              <a:gd name="T14" fmla="*/ 205921 w 7"/>
              <a:gd name="T15" fmla="*/ 6981257 h 31"/>
              <a:gd name="T16" fmla="*/ 0 w 7"/>
              <a:gd name="T17" fmla="*/ 9837302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86" name="Freeform 188">
            <a:extLst>
              <a:ext uri="{FF2B5EF4-FFF2-40B4-BE49-F238E27FC236}">
                <a16:creationId xmlns:a16="http://schemas.microsoft.com/office/drawing/2014/main" id="{5DC8E923-22D8-493E-834E-211BB3886A37}"/>
              </a:ext>
            </a:extLst>
          </p:cNvPr>
          <p:cNvSpPr>
            <a:spLocks/>
          </p:cNvSpPr>
          <p:nvPr>
            <p:custDataLst>
              <p:tags r:id="rId115"/>
            </p:custDataLst>
          </p:nvPr>
        </p:nvSpPr>
        <p:spPr bwMode="auto">
          <a:xfrm>
            <a:off x="10101584" y="4829561"/>
            <a:ext cx="20889" cy="20329"/>
          </a:xfrm>
          <a:custGeom>
            <a:avLst/>
            <a:gdLst>
              <a:gd name="T0" fmla="*/ 7636837 w 33"/>
              <a:gd name="T1" fmla="*/ 8129536 h 31"/>
              <a:gd name="T2" fmla="*/ 7636837 w 33"/>
              <a:gd name="T3" fmla="*/ 0 h 31"/>
              <a:gd name="T4" fmla="*/ 6248496 w 33"/>
              <a:gd name="T5" fmla="*/ 0 h 31"/>
              <a:gd name="T6" fmla="*/ 5091064 w 33"/>
              <a:gd name="T7" fmla="*/ 524387 h 31"/>
              <a:gd name="T8" fmla="*/ 3702723 w 33"/>
              <a:gd name="T9" fmla="*/ 1310968 h 31"/>
              <a:gd name="T10" fmla="*/ 2545773 w 33"/>
              <a:gd name="T11" fmla="*/ 2098060 h 31"/>
              <a:gd name="T12" fmla="*/ 1388341 w 33"/>
              <a:gd name="T13" fmla="*/ 3146835 h 31"/>
              <a:gd name="T14" fmla="*/ 694170 w 33"/>
              <a:gd name="T15" fmla="*/ 4196121 h 31"/>
              <a:gd name="T16" fmla="*/ 231390 w 33"/>
              <a:gd name="T17" fmla="*/ 5507089 h 31"/>
              <a:gd name="T18" fmla="*/ 0 w 33"/>
              <a:gd name="T19" fmla="*/ 6555863 h 31"/>
              <a:gd name="T20" fmla="*/ 231390 w 33"/>
              <a:gd name="T21" fmla="*/ 7080762 h 31"/>
              <a:gd name="T22" fmla="*/ 694170 w 33"/>
              <a:gd name="T23" fmla="*/ 7605149 h 31"/>
              <a:gd name="T24" fmla="*/ 1388341 w 33"/>
              <a:gd name="T25" fmla="*/ 7867343 h 31"/>
              <a:gd name="T26" fmla="*/ 2545773 w 33"/>
              <a:gd name="T27" fmla="*/ 7867343 h 31"/>
              <a:gd name="T28" fmla="*/ 5091064 w 33"/>
              <a:gd name="T29" fmla="*/ 8129536 h 31"/>
              <a:gd name="T30" fmla="*/ 7636837 w 33"/>
              <a:gd name="T31" fmla="*/ 8129536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87" name="Freeform 189">
            <a:extLst>
              <a:ext uri="{FF2B5EF4-FFF2-40B4-BE49-F238E27FC236}">
                <a16:creationId xmlns:a16="http://schemas.microsoft.com/office/drawing/2014/main" id="{5B64DA21-E871-4C23-AD72-219B92D4B5B1}"/>
              </a:ext>
            </a:extLst>
          </p:cNvPr>
          <p:cNvSpPr>
            <a:spLocks/>
          </p:cNvSpPr>
          <p:nvPr>
            <p:custDataLst>
              <p:tags r:id="rId116"/>
            </p:custDataLst>
          </p:nvPr>
        </p:nvSpPr>
        <p:spPr bwMode="auto">
          <a:xfrm>
            <a:off x="10122473" y="4715722"/>
            <a:ext cx="4178" cy="12197"/>
          </a:xfrm>
          <a:custGeom>
            <a:avLst/>
            <a:gdLst>
              <a:gd name="T0" fmla="*/ 0 w 13"/>
              <a:gd name="T1" fmla="*/ 4775033 h 19"/>
              <a:gd name="T2" fmla="*/ 119185 w 13"/>
              <a:gd name="T3" fmla="*/ 4523874 h 19"/>
              <a:gd name="T4" fmla="*/ 298206 w 13"/>
              <a:gd name="T5" fmla="*/ 4272213 h 19"/>
              <a:gd name="T6" fmla="*/ 417635 w 13"/>
              <a:gd name="T7" fmla="*/ 3769895 h 19"/>
              <a:gd name="T8" fmla="*/ 477227 w 13"/>
              <a:gd name="T9" fmla="*/ 3015916 h 19"/>
              <a:gd name="T10" fmla="*/ 715840 w 13"/>
              <a:gd name="T11" fmla="*/ 1507958 h 19"/>
              <a:gd name="T12" fmla="*/ 775433 w 13"/>
              <a:gd name="T13" fmla="*/ 0 h 19"/>
              <a:gd name="T14" fmla="*/ 0 w 13"/>
              <a:gd name="T15" fmla="*/ 4775033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88" name="Freeform 190">
            <a:extLst>
              <a:ext uri="{FF2B5EF4-FFF2-40B4-BE49-F238E27FC236}">
                <a16:creationId xmlns:a16="http://schemas.microsoft.com/office/drawing/2014/main" id="{BAA21D7E-13AA-4FC1-A428-CBDF57BFCFE4}"/>
              </a:ext>
            </a:extLst>
          </p:cNvPr>
          <p:cNvSpPr>
            <a:spLocks/>
          </p:cNvSpPr>
          <p:nvPr>
            <p:custDataLst>
              <p:tags r:id="rId117"/>
            </p:custDataLst>
          </p:nvPr>
        </p:nvSpPr>
        <p:spPr bwMode="auto">
          <a:xfrm>
            <a:off x="9901046" y="4719788"/>
            <a:ext cx="50134" cy="28460"/>
          </a:xfrm>
          <a:custGeom>
            <a:avLst/>
            <a:gdLst>
              <a:gd name="T0" fmla="*/ 9511166 w 87"/>
              <a:gd name="T1" fmla="*/ 11760729 h 42"/>
              <a:gd name="T2" fmla="*/ 10391651 w 87"/>
              <a:gd name="T3" fmla="*/ 11760729 h 42"/>
              <a:gd name="T4" fmla="*/ 11272136 w 87"/>
              <a:gd name="T5" fmla="*/ 11480800 h 42"/>
              <a:gd name="T6" fmla="*/ 11976775 w 87"/>
              <a:gd name="T7" fmla="*/ 11200871 h 42"/>
              <a:gd name="T8" fmla="*/ 12505150 w 87"/>
              <a:gd name="T9" fmla="*/ 10640483 h 42"/>
              <a:gd name="T10" fmla="*/ 13209790 w 87"/>
              <a:gd name="T11" fmla="*/ 9520767 h 42"/>
              <a:gd name="T12" fmla="*/ 13738165 w 87"/>
              <a:gd name="T13" fmla="*/ 7840662 h 42"/>
              <a:gd name="T14" fmla="*/ 13914429 w 87"/>
              <a:gd name="T15" fmla="*/ 6160558 h 42"/>
              <a:gd name="T16" fmla="*/ 14090275 w 87"/>
              <a:gd name="T17" fmla="*/ 4480454 h 42"/>
              <a:gd name="T18" fmla="*/ 14442804 w 87"/>
              <a:gd name="T19" fmla="*/ 3080279 h 42"/>
              <a:gd name="T20" fmla="*/ 15323289 w 87"/>
              <a:gd name="T21" fmla="*/ 1680104 h 42"/>
              <a:gd name="T22" fmla="*/ 13561900 w 87"/>
              <a:gd name="T23" fmla="*/ 559858 h 42"/>
              <a:gd name="T24" fmla="*/ 11800511 w 87"/>
              <a:gd name="T25" fmla="*/ 0 h 42"/>
              <a:gd name="T26" fmla="*/ 10039541 w 87"/>
              <a:gd name="T27" fmla="*/ 0 h 42"/>
              <a:gd name="T28" fmla="*/ 8278152 w 87"/>
              <a:gd name="T29" fmla="*/ 0 h 42"/>
              <a:gd name="T30" fmla="*/ 7045137 w 87"/>
              <a:gd name="T31" fmla="*/ 0 h 42"/>
              <a:gd name="T32" fmla="*/ 5636278 w 87"/>
              <a:gd name="T33" fmla="*/ 559858 h 42"/>
              <a:gd name="T34" fmla="*/ 4403263 w 87"/>
              <a:gd name="T35" fmla="*/ 1120246 h 42"/>
              <a:gd name="T36" fmla="*/ 3346514 w 87"/>
              <a:gd name="T37" fmla="*/ 1680104 h 42"/>
              <a:gd name="T38" fmla="*/ 1408860 w 87"/>
              <a:gd name="T39" fmla="*/ 3360208 h 42"/>
              <a:gd name="T40" fmla="*/ 0 w 87"/>
              <a:gd name="T41" fmla="*/ 5040313 h 42"/>
              <a:gd name="T42" fmla="*/ 1937234 w 87"/>
              <a:gd name="T43" fmla="*/ 6720417 h 42"/>
              <a:gd name="T44" fmla="*/ 4755373 w 87"/>
              <a:gd name="T45" fmla="*/ 8960379 h 42"/>
              <a:gd name="T46" fmla="*/ 7573512 w 87"/>
              <a:gd name="T47" fmla="*/ 10920942 h 42"/>
              <a:gd name="T48" fmla="*/ 9511166 w 87"/>
              <a:gd name="T49" fmla="*/ 11760729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89" name="Freeform 191">
            <a:extLst>
              <a:ext uri="{FF2B5EF4-FFF2-40B4-BE49-F238E27FC236}">
                <a16:creationId xmlns:a16="http://schemas.microsoft.com/office/drawing/2014/main" id="{6DC9DB18-E7AA-40A4-8EEF-C9CCD64136D5}"/>
              </a:ext>
            </a:extLst>
          </p:cNvPr>
          <p:cNvSpPr>
            <a:spLocks/>
          </p:cNvSpPr>
          <p:nvPr>
            <p:custDataLst>
              <p:tags r:id="rId118"/>
            </p:custDataLst>
          </p:nvPr>
        </p:nvSpPr>
        <p:spPr bwMode="auto">
          <a:xfrm>
            <a:off x="10239452" y="5323538"/>
            <a:ext cx="2088" cy="18295"/>
          </a:xfrm>
          <a:custGeom>
            <a:avLst/>
            <a:gdLst>
              <a:gd name="T0" fmla="*/ 0 w 7"/>
              <a:gd name="T1" fmla="*/ 0 h 31"/>
              <a:gd name="T2" fmla="*/ 359796 w 7"/>
              <a:gd name="T3" fmla="*/ 0 h 31"/>
              <a:gd name="T4" fmla="*/ 359796 w 7"/>
              <a:gd name="T5" fmla="*/ 3823653 h 31"/>
              <a:gd name="T6" fmla="*/ 0 w 7"/>
              <a:gd name="T7" fmla="*/ 6585385 h 31"/>
              <a:gd name="T8" fmla="*/ 0 w 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1">
                <a:moveTo>
                  <a:pt x="0" y="0"/>
                </a:moveTo>
                <a:lnTo>
                  <a:pt x="7" y="0"/>
                </a:lnTo>
                <a:lnTo>
                  <a:pt x="7" y="18"/>
                </a:lnTo>
                <a:lnTo>
                  <a:pt x="0" y="31"/>
                </a:lnTo>
                <a:lnTo>
                  <a:pt x="0"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90" name="Freeform 192">
            <a:extLst>
              <a:ext uri="{FF2B5EF4-FFF2-40B4-BE49-F238E27FC236}">
                <a16:creationId xmlns:a16="http://schemas.microsoft.com/office/drawing/2014/main" id="{CD6D5A0F-65A9-4BFC-916E-3FA90F58CBCC}"/>
              </a:ext>
            </a:extLst>
          </p:cNvPr>
          <p:cNvSpPr>
            <a:spLocks/>
          </p:cNvSpPr>
          <p:nvPr>
            <p:custDataLst>
              <p:tags r:id="rId119"/>
            </p:custDataLst>
          </p:nvPr>
        </p:nvSpPr>
        <p:spPr bwMode="auto">
          <a:xfrm>
            <a:off x="9178278" y="4681165"/>
            <a:ext cx="1418379" cy="1181072"/>
          </a:xfrm>
          <a:custGeom>
            <a:avLst/>
            <a:gdLst>
              <a:gd name="T0" fmla="*/ 40874512 w 2332"/>
              <a:gd name="T1" fmla="*/ 194556139 h 1731"/>
              <a:gd name="T2" fmla="*/ 62076149 w 2332"/>
              <a:gd name="T3" fmla="*/ 178595232 h 1731"/>
              <a:gd name="T4" fmla="*/ 83086363 w 2332"/>
              <a:gd name="T5" fmla="*/ 166762255 h 1731"/>
              <a:gd name="T6" fmla="*/ 115557051 w 2332"/>
              <a:gd name="T7" fmla="*/ 156855539 h 1731"/>
              <a:gd name="T8" fmla="*/ 129308921 w 2332"/>
              <a:gd name="T9" fmla="*/ 120256036 h 1731"/>
              <a:gd name="T10" fmla="*/ 144780539 w 2332"/>
              <a:gd name="T11" fmla="*/ 120806322 h 1731"/>
              <a:gd name="T12" fmla="*/ 149746614 w 2332"/>
              <a:gd name="T13" fmla="*/ 99892320 h 1731"/>
              <a:gd name="T14" fmla="*/ 165408781 w 2332"/>
              <a:gd name="T15" fmla="*/ 86958771 h 1731"/>
              <a:gd name="T16" fmla="*/ 179352074 w 2332"/>
              <a:gd name="T17" fmla="*/ 67695626 h 1731"/>
              <a:gd name="T18" fmla="*/ 196160158 w 2332"/>
              <a:gd name="T19" fmla="*/ 61366554 h 1731"/>
              <a:gd name="T20" fmla="*/ 205901320 w 2332"/>
              <a:gd name="T21" fmla="*/ 78152627 h 1731"/>
              <a:gd name="T22" fmla="*/ 216788400 w 2332"/>
              <a:gd name="T23" fmla="*/ 74300103 h 1731"/>
              <a:gd name="T24" fmla="*/ 224619702 w 2332"/>
              <a:gd name="T25" fmla="*/ 47331910 h 1731"/>
              <a:gd name="T26" fmla="*/ 252124316 w 2332"/>
              <a:gd name="T27" fmla="*/ 32196694 h 1731"/>
              <a:gd name="T28" fmla="*/ 255180092 w 2332"/>
              <a:gd name="T29" fmla="*/ 11282692 h 1731"/>
              <a:gd name="T30" fmla="*/ 273516502 w 2332"/>
              <a:gd name="T31" fmla="*/ 29444741 h 1731"/>
              <a:gd name="T32" fmla="*/ 294908688 w 2332"/>
              <a:gd name="T33" fmla="*/ 32196694 h 1731"/>
              <a:gd name="T34" fmla="*/ 279819478 w 2332"/>
              <a:gd name="T35" fmla="*/ 72098436 h 1731"/>
              <a:gd name="T36" fmla="*/ 288223739 w 2332"/>
              <a:gd name="T37" fmla="*/ 91636986 h 1731"/>
              <a:gd name="T38" fmla="*/ 302167032 w 2332"/>
              <a:gd name="T39" fmla="*/ 97415772 h 1731"/>
              <a:gd name="T40" fmla="*/ 318593144 w 2332"/>
              <a:gd name="T41" fmla="*/ 116403512 h 1731"/>
              <a:gd name="T42" fmla="*/ 336929553 w 2332"/>
              <a:gd name="T43" fmla="*/ 113651559 h 1731"/>
              <a:gd name="T44" fmla="*/ 349535506 w 2332"/>
              <a:gd name="T45" fmla="*/ 56412934 h 1731"/>
              <a:gd name="T46" fmla="*/ 363669785 w 2332"/>
              <a:gd name="T47" fmla="*/ 2751953 h 1731"/>
              <a:gd name="T48" fmla="*/ 369208818 w 2332"/>
              <a:gd name="T49" fmla="*/ 22014573 h 1731"/>
              <a:gd name="T50" fmla="*/ 371310102 w 2332"/>
              <a:gd name="T51" fmla="*/ 48432481 h 1731"/>
              <a:gd name="T52" fmla="*/ 379331953 w 2332"/>
              <a:gd name="T53" fmla="*/ 66044244 h 1731"/>
              <a:gd name="T54" fmla="*/ 389646511 w 2332"/>
              <a:gd name="T55" fmla="*/ 118054369 h 1731"/>
              <a:gd name="T56" fmla="*/ 399005701 w 2332"/>
              <a:gd name="T57" fmla="*/ 148600205 h 1731"/>
              <a:gd name="T58" fmla="*/ 413139543 w 2332"/>
              <a:gd name="T59" fmla="*/ 188777352 h 1731"/>
              <a:gd name="T60" fmla="*/ 423836073 w 2332"/>
              <a:gd name="T61" fmla="*/ 211617616 h 1731"/>
              <a:gd name="T62" fmla="*/ 445419246 w 2332"/>
              <a:gd name="T63" fmla="*/ 245465167 h 1731"/>
              <a:gd name="T64" fmla="*/ 434723153 w 2332"/>
              <a:gd name="T65" fmla="*/ 304079768 h 1731"/>
              <a:gd name="T66" fmla="*/ 398623292 w 2332"/>
              <a:gd name="T67" fmla="*/ 374802752 h 1731"/>
              <a:gd name="T68" fmla="*/ 382961125 w 2332"/>
              <a:gd name="T69" fmla="*/ 394065373 h 1731"/>
              <a:gd name="T70" fmla="*/ 351063832 w 2332"/>
              <a:gd name="T71" fmla="*/ 437820163 h 1731"/>
              <a:gd name="T72" fmla="*/ 334064325 w 2332"/>
              <a:gd name="T73" fmla="*/ 461210713 h 1731"/>
              <a:gd name="T74" fmla="*/ 303503934 w 2332"/>
              <a:gd name="T75" fmla="*/ 474969952 h 1731"/>
              <a:gd name="T76" fmla="*/ 289751627 w 2332"/>
              <a:gd name="T77" fmla="*/ 465888928 h 1731"/>
              <a:gd name="T78" fmla="*/ 269314372 w 2332"/>
              <a:gd name="T79" fmla="*/ 475795643 h 1731"/>
              <a:gd name="T80" fmla="*/ 247731199 w 2332"/>
              <a:gd name="T81" fmla="*/ 465888928 h 1731"/>
              <a:gd name="T82" fmla="*/ 244293013 w 2332"/>
              <a:gd name="T83" fmla="*/ 444149235 h 1731"/>
              <a:gd name="T84" fmla="*/ 241236800 w 2332"/>
              <a:gd name="T85" fmla="*/ 417181042 h 1731"/>
              <a:gd name="T86" fmla="*/ 233978892 w 2332"/>
              <a:gd name="T87" fmla="*/ 412778232 h 1731"/>
              <a:gd name="T88" fmla="*/ 244483999 w 2332"/>
              <a:gd name="T89" fmla="*/ 380306133 h 1731"/>
              <a:gd name="T90" fmla="*/ 207811181 w 2332"/>
              <a:gd name="T91" fmla="*/ 374802752 h 1731"/>
              <a:gd name="T92" fmla="*/ 183554204 w 2332"/>
              <a:gd name="T93" fmla="*/ 352787654 h 1731"/>
              <a:gd name="T94" fmla="*/ 144016158 w 2332"/>
              <a:gd name="T95" fmla="*/ 364070346 h 1731"/>
              <a:gd name="T96" fmla="*/ 96838670 w 2332"/>
              <a:gd name="T97" fmla="*/ 390488254 h 1731"/>
              <a:gd name="T98" fmla="*/ 40874512 w 2332"/>
              <a:gd name="T99" fmla="*/ 405348064 h 1731"/>
              <a:gd name="T100" fmla="*/ 10505107 w 2332"/>
              <a:gd name="T101" fmla="*/ 410026279 h 1731"/>
              <a:gd name="T102" fmla="*/ 381972 w 2332"/>
              <a:gd name="T103" fmla="*/ 391588825 h 1731"/>
              <a:gd name="T104" fmla="*/ 18527395 w 2332"/>
              <a:gd name="T105" fmla="*/ 369849132 h 1731"/>
              <a:gd name="T106" fmla="*/ 14325265 w 2332"/>
              <a:gd name="T107" fmla="*/ 341504963 h 1731"/>
              <a:gd name="T108" fmla="*/ 21583172 w 2332"/>
              <a:gd name="T109" fmla="*/ 321966937 h 1731"/>
              <a:gd name="T110" fmla="*/ 11078065 w 2332"/>
              <a:gd name="T111" fmla="*/ 259499812 h 1731"/>
              <a:gd name="T112" fmla="*/ 21583172 w 2332"/>
              <a:gd name="T113" fmla="*/ 265278598 h 1731"/>
              <a:gd name="T114" fmla="*/ 20246270 w 2332"/>
              <a:gd name="T115" fmla="*/ 237209833 h 1731"/>
              <a:gd name="T116" fmla="*/ 28077572 w 2332"/>
              <a:gd name="T117" fmla="*/ 210517045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91" name="Freeform 193">
            <a:extLst>
              <a:ext uri="{FF2B5EF4-FFF2-40B4-BE49-F238E27FC236}">
                <a16:creationId xmlns:a16="http://schemas.microsoft.com/office/drawing/2014/main" id="{F315185C-FB71-43F8-A0E1-31872BC46671}"/>
              </a:ext>
            </a:extLst>
          </p:cNvPr>
          <p:cNvSpPr>
            <a:spLocks/>
          </p:cNvSpPr>
          <p:nvPr>
            <p:custDataLst>
              <p:tags r:id="rId120"/>
            </p:custDataLst>
          </p:nvPr>
        </p:nvSpPr>
        <p:spPr bwMode="auto">
          <a:xfrm>
            <a:off x="1503569" y="2947163"/>
            <a:ext cx="931660" cy="756212"/>
          </a:xfrm>
          <a:custGeom>
            <a:avLst/>
            <a:gdLst>
              <a:gd name="T0" fmla="*/ 235638210 w 1535"/>
              <a:gd name="T1" fmla="*/ 253903210 h 1109"/>
              <a:gd name="T2" fmla="*/ 246254101 w 1535"/>
              <a:gd name="T3" fmla="*/ 269548971 h 1109"/>
              <a:gd name="T4" fmla="*/ 231277692 w 1535"/>
              <a:gd name="T5" fmla="*/ 274215508 h 1109"/>
              <a:gd name="T6" fmla="*/ 223126158 w 1535"/>
              <a:gd name="T7" fmla="*/ 300566485 h 1109"/>
              <a:gd name="T8" fmla="*/ 201894376 w 1535"/>
              <a:gd name="T9" fmla="*/ 276136716 h 1109"/>
              <a:gd name="T10" fmla="*/ 188434461 w 1535"/>
              <a:gd name="T11" fmla="*/ 277783914 h 1109"/>
              <a:gd name="T12" fmla="*/ 173079255 w 1535"/>
              <a:gd name="T13" fmla="*/ 285195257 h 1109"/>
              <a:gd name="T14" fmla="*/ 149003448 w 1535"/>
              <a:gd name="T15" fmla="*/ 266529632 h 1109"/>
              <a:gd name="T16" fmla="*/ 122842518 w 1535"/>
              <a:gd name="T17" fmla="*/ 251707470 h 1109"/>
              <a:gd name="T18" fmla="*/ 111468162 w 1535"/>
              <a:gd name="T19" fmla="*/ 242374919 h 1109"/>
              <a:gd name="T20" fmla="*/ 101800134 w 1535"/>
              <a:gd name="T21" fmla="*/ 229198907 h 1109"/>
              <a:gd name="T22" fmla="*/ 91942272 w 1535"/>
              <a:gd name="T23" fmla="*/ 226728634 h 1109"/>
              <a:gd name="T24" fmla="*/ 83222107 w 1535"/>
              <a:gd name="T25" fmla="*/ 207789000 h 1109"/>
              <a:gd name="T26" fmla="*/ 88530052 w 1535"/>
              <a:gd name="T27" fmla="*/ 193515380 h 1109"/>
              <a:gd name="T28" fmla="*/ 85307231 w 1535"/>
              <a:gd name="T29" fmla="*/ 164968663 h 1109"/>
              <a:gd name="T30" fmla="*/ 66729204 w 1535"/>
              <a:gd name="T31" fmla="*/ 128461536 h 1109"/>
              <a:gd name="T32" fmla="*/ 57629807 w 1535"/>
              <a:gd name="T33" fmla="*/ 116932722 h 1109"/>
              <a:gd name="T34" fmla="*/ 55544683 w 1535"/>
              <a:gd name="T35" fmla="*/ 101286960 h 1109"/>
              <a:gd name="T36" fmla="*/ 41137340 w 1535"/>
              <a:gd name="T37" fmla="*/ 68073706 h 1109"/>
              <a:gd name="T38" fmla="*/ 31658710 w 1535"/>
              <a:gd name="T39" fmla="*/ 20312299 h 1109"/>
              <a:gd name="T40" fmla="*/ 15923837 w 1535"/>
              <a:gd name="T41" fmla="*/ 28546717 h 1109"/>
              <a:gd name="T42" fmla="*/ 21421616 w 1535"/>
              <a:gd name="T43" fmla="*/ 60936896 h 1109"/>
              <a:gd name="T44" fmla="*/ 28435889 w 1535"/>
              <a:gd name="T45" fmla="*/ 89483613 h 1109"/>
              <a:gd name="T46" fmla="*/ 37156054 w 1535"/>
              <a:gd name="T47" fmla="*/ 110344978 h 1109"/>
              <a:gd name="T48" fmla="*/ 37914519 w 1535"/>
              <a:gd name="T49" fmla="*/ 127637937 h 1109"/>
              <a:gd name="T50" fmla="*/ 40378875 w 1535"/>
              <a:gd name="T51" fmla="*/ 143832765 h 1109"/>
              <a:gd name="T52" fmla="*/ 49099040 w 1535"/>
              <a:gd name="T53" fmla="*/ 156733720 h 1109"/>
              <a:gd name="T54" fmla="*/ 40568274 w 1535"/>
              <a:gd name="T55" fmla="*/ 163595998 h 1109"/>
              <a:gd name="T56" fmla="*/ 36587423 w 1535"/>
              <a:gd name="T57" fmla="*/ 148773835 h 1109"/>
              <a:gd name="T58" fmla="*/ 22748711 w 1535"/>
              <a:gd name="T59" fmla="*/ 130108210 h 1109"/>
              <a:gd name="T60" fmla="*/ 27677424 w 1535"/>
              <a:gd name="T61" fmla="*/ 115286048 h 1109"/>
              <a:gd name="T62" fmla="*/ 16871700 w 1535"/>
              <a:gd name="T63" fmla="*/ 100463361 h 1109"/>
              <a:gd name="T64" fmla="*/ 5118547 w 1535"/>
              <a:gd name="T65" fmla="*/ 84268534 h 1109"/>
              <a:gd name="T66" fmla="*/ 12322219 w 1535"/>
              <a:gd name="T67" fmla="*/ 79327464 h 1109"/>
              <a:gd name="T68" fmla="*/ 12132820 w 1535"/>
              <a:gd name="T69" fmla="*/ 61760495 h 1109"/>
              <a:gd name="T70" fmla="*/ 1137261 w 1535"/>
              <a:gd name="T71" fmla="*/ 32115122 h 1109"/>
              <a:gd name="T72" fmla="*/ 7203671 w 1535"/>
              <a:gd name="T73" fmla="*/ 1372665 h 1109"/>
              <a:gd name="T74" fmla="*/ 39999643 w 1535"/>
              <a:gd name="T75" fmla="*/ 4941070 h 1109"/>
              <a:gd name="T76" fmla="*/ 68435532 w 1535"/>
              <a:gd name="T77" fmla="*/ 20861365 h 1109"/>
              <a:gd name="T78" fmla="*/ 94407064 w 1535"/>
              <a:gd name="T79" fmla="*/ 15096696 h 1109"/>
              <a:gd name="T80" fmla="*/ 112416025 w 1535"/>
              <a:gd name="T81" fmla="*/ 14822686 h 1109"/>
              <a:gd name="T82" fmla="*/ 119998929 w 1535"/>
              <a:gd name="T83" fmla="*/ 30193915 h 1109"/>
              <a:gd name="T84" fmla="*/ 132700379 w 1535"/>
              <a:gd name="T85" fmla="*/ 59015165 h 1109"/>
              <a:gd name="T86" fmla="*/ 142179009 w 1535"/>
              <a:gd name="T87" fmla="*/ 52701954 h 1109"/>
              <a:gd name="T88" fmla="*/ 155828323 w 1535"/>
              <a:gd name="T89" fmla="*/ 48310474 h 1109"/>
              <a:gd name="T90" fmla="*/ 166633612 w 1535"/>
              <a:gd name="T91" fmla="*/ 66975574 h 1109"/>
              <a:gd name="T92" fmla="*/ 171562761 w 1535"/>
              <a:gd name="T93" fmla="*/ 99365229 h 1109"/>
              <a:gd name="T94" fmla="*/ 182747283 w 1535"/>
              <a:gd name="T95" fmla="*/ 111168577 h 1109"/>
              <a:gd name="T96" fmla="*/ 185212075 w 1535"/>
              <a:gd name="T97" fmla="*/ 125167664 h 1109"/>
              <a:gd name="T98" fmla="*/ 176491474 w 1535"/>
              <a:gd name="T99" fmla="*/ 135049281 h 1109"/>
              <a:gd name="T100" fmla="*/ 173837719 w 1535"/>
              <a:gd name="T101" fmla="*/ 174026680 h 1109"/>
              <a:gd name="T102" fmla="*/ 181230789 w 1535"/>
              <a:gd name="T103" fmla="*/ 217121550 h 1109"/>
              <a:gd name="T104" fmla="*/ 199808816 w 1535"/>
              <a:gd name="T105" fmla="*/ 240727721 h 1109"/>
              <a:gd name="T106" fmla="*/ 221041034 w 1535"/>
              <a:gd name="T107" fmla="*/ 233041845 h 1109"/>
              <a:gd name="T108" fmla="*/ 236775472 w 1535"/>
              <a:gd name="T109" fmla="*/ 233316378 h 1109"/>
              <a:gd name="T110" fmla="*/ 245685471 w 1535"/>
              <a:gd name="T111" fmla="*/ 203671529 h 1109"/>
              <a:gd name="T112" fmla="*/ 253268374 w 1535"/>
              <a:gd name="T113" fmla="*/ 190221508 h 1109"/>
              <a:gd name="T114" fmla="*/ 285495280 w 1535"/>
              <a:gd name="T115" fmla="*/ 186104036 h 1109"/>
              <a:gd name="T116" fmla="*/ 284926649 w 1535"/>
              <a:gd name="T117" fmla="*/ 200103124 h 1109"/>
              <a:gd name="T118" fmla="*/ 278291608 w 1535"/>
              <a:gd name="T119" fmla="*/ 225356493 h 1109"/>
              <a:gd name="T120" fmla="*/ 259524183 w 1535"/>
              <a:gd name="T121" fmla="*/ 243747060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92" name="Freeform 194">
            <a:extLst>
              <a:ext uri="{FF2B5EF4-FFF2-40B4-BE49-F238E27FC236}">
                <a16:creationId xmlns:a16="http://schemas.microsoft.com/office/drawing/2014/main" id="{F64DA35C-A671-4784-B5E5-D6676DB5A7DE}"/>
              </a:ext>
            </a:extLst>
          </p:cNvPr>
          <p:cNvSpPr>
            <a:spLocks/>
          </p:cNvSpPr>
          <p:nvPr>
            <p:custDataLst>
              <p:tags r:id="rId121"/>
            </p:custDataLst>
          </p:nvPr>
        </p:nvSpPr>
        <p:spPr bwMode="auto">
          <a:xfrm>
            <a:off x="3279155" y="5079599"/>
            <a:ext cx="292450" cy="343547"/>
          </a:xfrm>
          <a:custGeom>
            <a:avLst/>
            <a:gdLst>
              <a:gd name="T0" fmla="*/ 2642266 w 486"/>
              <a:gd name="T1" fmla="*/ 48505704 h 505"/>
              <a:gd name="T2" fmla="*/ 5851042 w 486"/>
              <a:gd name="T3" fmla="*/ 54568655 h 505"/>
              <a:gd name="T4" fmla="*/ 9625460 w 486"/>
              <a:gd name="T5" fmla="*/ 63938956 h 505"/>
              <a:gd name="T6" fmla="*/ 15476502 w 486"/>
              <a:gd name="T7" fmla="*/ 73309782 h 505"/>
              <a:gd name="T8" fmla="*/ 23780829 w 486"/>
              <a:gd name="T9" fmla="*/ 80750795 h 505"/>
              <a:gd name="T10" fmla="*/ 32085591 w 486"/>
              <a:gd name="T11" fmla="*/ 85436208 h 505"/>
              <a:gd name="T12" fmla="*/ 46429507 w 486"/>
              <a:gd name="T13" fmla="*/ 90396708 h 505"/>
              <a:gd name="T14" fmla="*/ 55677873 w 486"/>
              <a:gd name="T15" fmla="*/ 94806509 h 505"/>
              <a:gd name="T16" fmla="*/ 56432930 w 486"/>
              <a:gd name="T17" fmla="*/ 105003647 h 505"/>
              <a:gd name="T18" fmla="*/ 52280549 w 486"/>
              <a:gd name="T19" fmla="*/ 115200786 h 505"/>
              <a:gd name="T20" fmla="*/ 50393340 w 486"/>
              <a:gd name="T21" fmla="*/ 122090574 h 505"/>
              <a:gd name="T22" fmla="*/ 50204359 w 486"/>
              <a:gd name="T23" fmla="*/ 127602824 h 505"/>
              <a:gd name="T24" fmla="*/ 52469096 w 486"/>
              <a:gd name="T25" fmla="*/ 132839462 h 505"/>
              <a:gd name="T26" fmla="*/ 56432930 w 486"/>
              <a:gd name="T27" fmla="*/ 136146288 h 505"/>
              <a:gd name="T28" fmla="*/ 64925804 w 486"/>
              <a:gd name="T29" fmla="*/ 138902413 h 505"/>
              <a:gd name="T30" fmla="*/ 73041584 w 486"/>
              <a:gd name="T31" fmla="*/ 138902413 h 505"/>
              <a:gd name="T32" fmla="*/ 78326550 w 486"/>
              <a:gd name="T33" fmla="*/ 136146288 h 505"/>
              <a:gd name="T34" fmla="*/ 84177158 w 486"/>
              <a:gd name="T35" fmla="*/ 130634562 h 505"/>
              <a:gd name="T36" fmla="*/ 89273143 w 486"/>
              <a:gd name="T37" fmla="*/ 123193024 h 505"/>
              <a:gd name="T38" fmla="*/ 91538315 w 486"/>
              <a:gd name="T39" fmla="*/ 115200786 h 505"/>
              <a:gd name="T40" fmla="*/ 91349334 w 486"/>
              <a:gd name="T41" fmla="*/ 109413448 h 505"/>
              <a:gd name="T42" fmla="*/ 90216748 w 486"/>
              <a:gd name="T43" fmla="*/ 98664559 h 505"/>
              <a:gd name="T44" fmla="*/ 88895615 w 486"/>
              <a:gd name="T45" fmla="*/ 87089358 h 505"/>
              <a:gd name="T46" fmla="*/ 87763463 w 486"/>
              <a:gd name="T47" fmla="*/ 74412232 h 505"/>
              <a:gd name="T48" fmla="*/ 86064801 w 486"/>
              <a:gd name="T49" fmla="*/ 69451206 h 505"/>
              <a:gd name="T50" fmla="*/ 82856025 w 486"/>
              <a:gd name="T51" fmla="*/ 65868244 h 505"/>
              <a:gd name="T52" fmla="*/ 77949022 w 486"/>
              <a:gd name="T53" fmla="*/ 63938956 h 505"/>
              <a:gd name="T54" fmla="*/ 73985623 w 486"/>
              <a:gd name="T55" fmla="*/ 61183356 h 505"/>
              <a:gd name="T56" fmla="*/ 69833242 w 486"/>
              <a:gd name="T57" fmla="*/ 57049168 h 505"/>
              <a:gd name="T58" fmla="*/ 62283538 w 486"/>
              <a:gd name="T59" fmla="*/ 51813055 h 505"/>
              <a:gd name="T60" fmla="*/ 54734268 w 486"/>
              <a:gd name="T61" fmla="*/ 47403254 h 505"/>
              <a:gd name="T62" fmla="*/ 51525492 w 486"/>
              <a:gd name="T63" fmla="*/ 44095904 h 505"/>
              <a:gd name="T64" fmla="*/ 49826830 w 486"/>
              <a:gd name="T65" fmla="*/ 41615391 h 505"/>
              <a:gd name="T66" fmla="*/ 49260754 w 486"/>
              <a:gd name="T67" fmla="*/ 34449991 h 505"/>
              <a:gd name="T68" fmla="*/ 49260754 w 486"/>
              <a:gd name="T69" fmla="*/ 24804077 h 505"/>
              <a:gd name="T70" fmla="*/ 48128169 w 486"/>
              <a:gd name="T71" fmla="*/ 19567439 h 505"/>
              <a:gd name="T72" fmla="*/ 45485902 w 486"/>
              <a:gd name="T73" fmla="*/ 15158164 h 505"/>
              <a:gd name="T74" fmla="*/ 44164769 w 486"/>
              <a:gd name="T75" fmla="*/ 10197138 h 505"/>
              <a:gd name="T76" fmla="*/ 37559104 w 486"/>
              <a:gd name="T77" fmla="*/ 3307350 h 505"/>
              <a:gd name="T78" fmla="*/ 35105385 w 486"/>
              <a:gd name="T79" fmla="*/ 2204900 h 505"/>
              <a:gd name="T80" fmla="*/ 32651666 w 486"/>
              <a:gd name="T81" fmla="*/ 551225 h 505"/>
              <a:gd name="T82" fmla="*/ 26234548 w 486"/>
              <a:gd name="T83" fmla="*/ 275613 h 505"/>
              <a:gd name="T84" fmla="*/ 13211765 w 486"/>
              <a:gd name="T85" fmla="*/ 3031738 h 505"/>
              <a:gd name="T86" fmla="*/ 7926798 w 486"/>
              <a:gd name="T87" fmla="*/ 5787863 h 505"/>
              <a:gd name="T88" fmla="*/ 4529909 w 486"/>
              <a:gd name="T89" fmla="*/ 10197138 h 505"/>
              <a:gd name="T90" fmla="*/ 3774852 w 486"/>
              <a:gd name="T91" fmla="*/ 17638152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93" name="Freeform 195">
            <a:extLst>
              <a:ext uri="{FF2B5EF4-FFF2-40B4-BE49-F238E27FC236}">
                <a16:creationId xmlns:a16="http://schemas.microsoft.com/office/drawing/2014/main" id="{D9D886A5-0BCD-4F8F-9AC6-CAD1C6C791BD}"/>
              </a:ext>
            </a:extLst>
          </p:cNvPr>
          <p:cNvSpPr>
            <a:spLocks/>
          </p:cNvSpPr>
          <p:nvPr>
            <p:custDataLst>
              <p:tags r:id="rId122"/>
            </p:custDataLst>
          </p:nvPr>
        </p:nvSpPr>
        <p:spPr bwMode="auto">
          <a:xfrm>
            <a:off x="3515203" y="4044889"/>
            <a:ext cx="100269" cy="142298"/>
          </a:xfrm>
          <a:custGeom>
            <a:avLst/>
            <a:gdLst>
              <a:gd name="T0" fmla="*/ 1354482 w 166"/>
              <a:gd name="T1" fmla="*/ 50750915 h 208"/>
              <a:gd name="T2" fmla="*/ 15288180 w 166"/>
              <a:gd name="T3" fmla="*/ 57684396 h 208"/>
              <a:gd name="T4" fmla="*/ 16449101 w 166"/>
              <a:gd name="T5" fmla="*/ 57406867 h 208"/>
              <a:gd name="T6" fmla="*/ 17416902 w 166"/>
              <a:gd name="T7" fmla="*/ 56575334 h 208"/>
              <a:gd name="T8" fmla="*/ 18771384 w 166"/>
              <a:gd name="T9" fmla="*/ 54911214 h 208"/>
              <a:gd name="T10" fmla="*/ 20126306 w 166"/>
              <a:gd name="T11" fmla="*/ 53247094 h 208"/>
              <a:gd name="T12" fmla="*/ 22641709 w 166"/>
              <a:gd name="T13" fmla="*/ 48809793 h 208"/>
              <a:gd name="T14" fmla="*/ 25157552 w 166"/>
              <a:gd name="T15" fmla="*/ 43817960 h 208"/>
              <a:gd name="T16" fmla="*/ 29802118 w 166"/>
              <a:gd name="T17" fmla="*/ 33834294 h 208"/>
              <a:gd name="T18" fmla="*/ 32124401 w 166"/>
              <a:gd name="T19" fmla="*/ 28564932 h 208"/>
              <a:gd name="T20" fmla="*/ 27866956 w 166"/>
              <a:gd name="T21" fmla="*/ 26068753 h 208"/>
              <a:gd name="T22" fmla="*/ 24383751 w 166"/>
              <a:gd name="T23" fmla="*/ 23295571 h 208"/>
              <a:gd name="T24" fmla="*/ 20900107 w 166"/>
              <a:gd name="T25" fmla="*/ 20522389 h 208"/>
              <a:gd name="T26" fmla="*/ 17997583 w 166"/>
              <a:gd name="T27" fmla="*/ 17749207 h 208"/>
              <a:gd name="T28" fmla="*/ 16642661 w 166"/>
              <a:gd name="T29" fmla="*/ 16085087 h 208"/>
              <a:gd name="T30" fmla="*/ 15675300 w 166"/>
              <a:gd name="T31" fmla="*/ 14698496 h 208"/>
              <a:gd name="T32" fmla="*/ 14513939 w 166"/>
              <a:gd name="T33" fmla="*/ 13034376 h 208"/>
              <a:gd name="T34" fmla="*/ 13740138 w 166"/>
              <a:gd name="T35" fmla="*/ 11093254 h 208"/>
              <a:gd name="T36" fmla="*/ 12965897 w 166"/>
              <a:gd name="T37" fmla="*/ 9151606 h 208"/>
              <a:gd name="T38" fmla="*/ 12385216 w 166"/>
              <a:gd name="T39" fmla="*/ 7210484 h 208"/>
              <a:gd name="T40" fmla="*/ 11998095 w 166"/>
              <a:gd name="T41" fmla="*/ 4991833 h 208"/>
              <a:gd name="T42" fmla="*/ 11611415 w 166"/>
              <a:gd name="T43" fmla="*/ 3050711 h 208"/>
              <a:gd name="T44" fmla="*/ 9675813 w 166"/>
              <a:gd name="T45" fmla="*/ 2773182 h 208"/>
              <a:gd name="T46" fmla="*/ 8321331 w 166"/>
              <a:gd name="T47" fmla="*/ 2218651 h 208"/>
              <a:gd name="T48" fmla="*/ 7740650 w 166"/>
              <a:gd name="T49" fmla="*/ 1386591 h 208"/>
              <a:gd name="T50" fmla="*/ 7547090 w 166"/>
              <a:gd name="T51" fmla="*/ 832060 h 208"/>
              <a:gd name="T52" fmla="*/ 7353969 w 166"/>
              <a:gd name="T53" fmla="*/ 277529 h 208"/>
              <a:gd name="T54" fmla="*/ 6966849 w 166"/>
              <a:gd name="T55" fmla="*/ 0 h 208"/>
              <a:gd name="T56" fmla="*/ 6192608 w 166"/>
              <a:gd name="T57" fmla="*/ 277529 h 208"/>
              <a:gd name="T58" fmla="*/ 5225247 w 166"/>
              <a:gd name="T59" fmla="*/ 1386591 h 208"/>
              <a:gd name="T60" fmla="*/ 3870325 w 166"/>
              <a:gd name="T61" fmla="*/ 3050711 h 208"/>
              <a:gd name="T62" fmla="*/ 2128723 w 166"/>
              <a:gd name="T63" fmla="*/ 6101422 h 208"/>
              <a:gd name="T64" fmla="*/ 1354482 w 166"/>
              <a:gd name="T65" fmla="*/ 8042544 h 208"/>
              <a:gd name="T66" fmla="*/ 774241 w 166"/>
              <a:gd name="T67" fmla="*/ 10261194 h 208"/>
              <a:gd name="T68" fmla="*/ 387120 w 166"/>
              <a:gd name="T69" fmla="*/ 12479845 h 208"/>
              <a:gd name="T70" fmla="*/ 0 w 166"/>
              <a:gd name="T71" fmla="*/ 14975498 h 208"/>
              <a:gd name="T72" fmla="*/ 0 w 166"/>
              <a:gd name="T73" fmla="*/ 16639618 h 208"/>
              <a:gd name="T74" fmla="*/ 387120 w 166"/>
              <a:gd name="T75" fmla="*/ 18026209 h 208"/>
              <a:gd name="T76" fmla="*/ 580681 w 166"/>
              <a:gd name="T77" fmla="*/ 19412800 h 208"/>
              <a:gd name="T78" fmla="*/ 967801 w 166"/>
              <a:gd name="T79" fmla="*/ 21076920 h 208"/>
              <a:gd name="T80" fmla="*/ 1935163 w 166"/>
              <a:gd name="T81" fmla="*/ 23850102 h 208"/>
              <a:gd name="T82" fmla="*/ 3289644 w 166"/>
              <a:gd name="T83" fmla="*/ 27178342 h 208"/>
              <a:gd name="T84" fmla="*/ 4257445 w 166"/>
              <a:gd name="T85" fmla="*/ 30229052 h 208"/>
              <a:gd name="T86" fmla="*/ 5418367 w 166"/>
              <a:gd name="T87" fmla="*/ 33279236 h 208"/>
              <a:gd name="T88" fmla="*/ 5805488 w 166"/>
              <a:gd name="T89" fmla="*/ 34943356 h 208"/>
              <a:gd name="T90" fmla="*/ 6192608 w 166"/>
              <a:gd name="T91" fmla="*/ 36884478 h 208"/>
              <a:gd name="T92" fmla="*/ 6386168 w 166"/>
              <a:gd name="T93" fmla="*/ 38548598 h 208"/>
              <a:gd name="T94" fmla="*/ 6386168 w 166"/>
              <a:gd name="T95" fmla="*/ 40767249 h 208"/>
              <a:gd name="T96" fmla="*/ 6192608 w 166"/>
              <a:gd name="T97" fmla="*/ 42431369 h 208"/>
              <a:gd name="T98" fmla="*/ 5999048 w 166"/>
              <a:gd name="T99" fmla="*/ 44095489 h 208"/>
              <a:gd name="T100" fmla="*/ 5418367 w 166"/>
              <a:gd name="T101" fmla="*/ 45759082 h 208"/>
              <a:gd name="T102" fmla="*/ 4838126 w 166"/>
              <a:gd name="T103" fmla="*/ 46868670 h 208"/>
              <a:gd name="T104" fmla="*/ 4063885 w 166"/>
              <a:gd name="T105" fmla="*/ 48255261 h 208"/>
              <a:gd name="T106" fmla="*/ 3289644 w 166"/>
              <a:gd name="T107" fmla="*/ 49087321 h 208"/>
              <a:gd name="T108" fmla="*/ 2128723 w 166"/>
              <a:gd name="T109" fmla="*/ 49919381 h 208"/>
              <a:gd name="T110" fmla="*/ 1354482 w 166"/>
              <a:gd name="T111" fmla="*/ 50750915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94" name="Freeform 196">
            <a:extLst>
              <a:ext uri="{FF2B5EF4-FFF2-40B4-BE49-F238E27FC236}">
                <a16:creationId xmlns:a16="http://schemas.microsoft.com/office/drawing/2014/main" id="{84376660-4BFC-4151-A414-2C3EA5B0A187}"/>
              </a:ext>
            </a:extLst>
          </p:cNvPr>
          <p:cNvSpPr>
            <a:spLocks/>
          </p:cNvSpPr>
          <p:nvPr>
            <p:custDataLst>
              <p:tags r:id="rId123"/>
            </p:custDataLst>
          </p:nvPr>
        </p:nvSpPr>
        <p:spPr bwMode="auto">
          <a:xfrm>
            <a:off x="2838391" y="3471633"/>
            <a:ext cx="98180" cy="75216"/>
          </a:xfrm>
          <a:custGeom>
            <a:avLst/>
            <a:gdLst>
              <a:gd name="T0" fmla="*/ 27754727 w 164"/>
              <a:gd name="T1" fmla="*/ 33173415 h 104"/>
              <a:gd name="T2" fmla="*/ 24308226 w 164"/>
              <a:gd name="T3" fmla="*/ 32535215 h 104"/>
              <a:gd name="T4" fmla="*/ 19954527 w 164"/>
              <a:gd name="T5" fmla="*/ 30940844 h 104"/>
              <a:gd name="T6" fmla="*/ 17414798 w 164"/>
              <a:gd name="T7" fmla="*/ 29983544 h 104"/>
              <a:gd name="T8" fmla="*/ 14512189 w 164"/>
              <a:gd name="T9" fmla="*/ 29664444 h 104"/>
              <a:gd name="T10" fmla="*/ 13242538 w 164"/>
              <a:gd name="T11" fmla="*/ 29664444 h 104"/>
              <a:gd name="T12" fmla="*/ 11610007 w 164"/>
              <a:gd name="T13" fmla="*/ 29983544 h 104"/>
              <a:gd name="T14" fmla="*/ 9977050 w 164"/>
              <a:gd name="T15" fmla="*/ 30621744 h 104"/>
              <a:gd name="T16" fmla="*/ 8525959 w 164"/>
              <a:gd name="T17" fmla="*/ 31259380 h 104"/>
              <a:gd name="T18" fmla="*/ 7437747 w 164"/>
              <a:gd name="T19" fmla="*/ 31897580 h 104"/>
              <a:gd name="T20" fmla="*/ 6167670 w 164"/>
              <a:gd name="T21" fmla="*/ 31897580 h 104"/>
              <a:gd name="T22" fmla="*/ 4898018 w 164"/>
              <a:gd name="T23" fmla="*/ 31578480 h 104"/>
              <a:gd name="T24" fmla="*/ 3446501 w 164"/>
              <a:gd name="T25" fmla="*/ 30621744 h 104"/>
              <a:gd name="T26" fmla="*/ 1995410 w 164"/>
              <a:gd name="T27" fmla="*/ 29345909 h 104"/>
              <a:gd name="T28" fmla="*/ 1088212 w 164"/>
              <a:gd name="T29" fmla="*/ 28070073 h 104"/>
              <a:gd name="T30" fmla="*/ 544319 w 164"/>
              <a:gd name="T31" fmla="*/ 27431873 h 104"/>
              <a:gd name="T32" fmla="*/ 181440 w 164"/>
              <a:gd name="T33" fmla="*/ 26793673 h 104"/>
              <a:gd name="T34" fmla="*/ 0 w 164"/>
              <a:gd name="T35" fmla="*/ 25836938 h 104"/>
              <a:gd name="T36" fmla="*/ 0 w 164"/>
              <a:gd name="T37" fmla="*/ 25199303 h 104"/>
              <a:gd name="T38" fmla="*/ 0 w 164"/>
              <a:gd name="T39" fmla="*/ 24242002 h 104"/>
              <a:gd name="T40" fmla="*/ 181440 w 164"/>
              <a:gd name="T41" fmla="*/ 23604367 h 104"/>
              <a:gd name="T42" fmla="*/ 544319 w 164"/>
              <a:gd name="T43" fmla="*/ 22647067 h 104"/>
              <a:gd name="T44" fmla="*/ 1088212 w 164"/>
              <a:gd name="T45" fmla="*/ 22328532 h 104"/>
              <a:gd name="T46" fmla="*/ 2176850 w 164"/>
              <a:gd name="T47" fmla="*/ 21371232 h 104"/>
              <a:gd name="T48" fmla="*/ 3627941 w 164"/>
              <a:gd name="T49" fmla="*/ 21052131 h 104"/>
              <a:gd name="T50" fmla="*/ 7256308 w 164"/>
              <a:gd name="T51" fmla="*/ 21052131 h 104"/>
              <a:gd name="T52" fmla="*/ 11065688 w 164"/>
              <a:gd name="T53" fmla="*/ 21371232 h 104"/>
              <a:gd name="T54" fmla="*/ 12698219 w 164"/>
              <a:gd name="T55" fmla="*/ 21371232 h 104"/>
              <a:gd name="T56" fmla="*/ 14330750 w 164"/>
              <a:gd name="T57" fmla="*/ 21371232 h 104"/>
              <a:gd name="T58" fmla="*/ 15782267 w 164"/>
              <a:gd name="T59" fmla="*/ 21371232 h 104"/>
              <a:gd name="T60" fmla="*/ 17051918 w 164"/>
              <a:gd name="T61" fmla="*/ 21371232 h 104"/>
              <a:gd name="T62" fmla="*/ 17051918 w 164"/>
              <a:gd name="T63" fmla="*/ 17862825 h 104"/>
              <a:gd name="T64" fmla="*/ 17051918 w 164"/>
              <a:gd name="T65" fmla="*/ 13715654 h 104"/>
              <a:gd name="T66" fmla="*/ 17051918 w 164"/>
              <a:gd name="T67" fmla="*/ 9250513 h 104"/>
              <a:gd name="T68" fmla="*/ 17051918 w 164"/>
              <a:gd name="T69" fmla="*/ 5741542 h 104"/>
              <a:gd name="T70" fmla="*/ 14330750 w 164"/>
              <a:gd name="T71" fmla="*/ 5422442 h 104"/>
              <a:gd name="T72" fmla="*/ 12153900 w 164"/>
              <a:gd name="T73" fmla="*/ 4784806 h 104"/>
              <a:gd name="T74" fmla="*/ 11247128 w 164"/>
              <a:gd name="T75" fmla="*/ 4146606 h 104"/>
              <a:gd name="T76" fmla="*/ 10339930 w 164"/>
              <a:gd name="T77" fmla="*/ 3189871 h 104"/>
              <a:gd name="T78" fmla="*/ 9433157 w 164"/>
              <a:gd name="T79" fmla="*/ 1914036 h 104"/>
              <a:gd name="T80" fmla="*/ 8525959 w 164"/>
              <a:gd name="T81" fmla="*/ 0 h 104"/>
              <a:gd name="T82" fmla="*/ 26485076 w 164"/>
              <a:gd name="T83" fmla="*/ 0 h 104"/>
              <a:gd name="T84" fmla="*/ 26666089 w 164"/>
              <a:gd name="T85" fmla="*/ 1914036 h 104"/>
              <a:gd name="T86" fmla="*/ 26847529 w 164"/>
              <a:gd name="T87" fmla="*/ 4146606 h 104"/>
              <a:gd name="T88" fmla="*/ 27210408 w 164"/>
              <a:gd name="T89" fmla="*/ 6060642 h 104"/>
              <a:gd name="T90" fmla="*/ 27573288 w 164"/>
              <a:gd name="T91" fmla="*/ 7974113 h 104"/>
              <a:gd name="T92" fmla="*/ 28299046 w 164"/>
              <a:gd name="T93" fmla="*/ 11163983 h 104"/>
              <a:gd name="T94" fmla="*/ 28842939 w 164"/>
              <a:gd name="T95" fmla="*/ 14672954 h 104"/>
              <a:gd name="T96" fmla="*/ 29568698 w 164"/>
              <a:gd name="T97" fmla="*/ 17224625 h 104"/>
              <a:gd name="T98" fmla="*/ 29750137 w 164"/>
              <a:gd name="T99" fmla="*/ 19776296 h 104"/>
              <a:gd name="T100" fmla="*/ 29568698 w 164"/>
              <a:gd name="T101" fmla="*/ 20733596 h 104"/>
              <a:gd name="T102" fmla="*/ 29024379 w 164"/>
              <a:gd name="T103" fmla="*/ 21690332 h 104"/>
              <a:gd name="T104" fmla="*/ 28480486 w 164"/>
              <a:gd name="T105" fmla="*/ 22647067 h 104"/>
              <a:gd name="T106" fmla="*/ 27754727 w 164"/>
              <a:gd name="T107" fmla="*/ 23285267 h 104"/>
              <a:gd name="T108" fmla="*/ 27754727 w 164"/>
              <a:gd name="T109" fmla="*/ 33173415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95" name="Freeform 197">
            <a:extLst>
              <a:ext uri="{FF2B5EF4-FFF2-40B4-BE49-F238E27FC236}">
                <a16:creationId xmlns:a16="http://schemas.microsoft.com/office/drawing/2014/main" id="{6E560518-F798-4DA8-80A2-5B8B8F5EFD4F}"/>
              </a:ext>
            </a:extLst>
          </p:cNvPr>
          <p:cNvSpPr>
            <a:spLocks/>
          </p:cNvSpPr>
          <p:nvPr>
            <p:custDataLst>
              <p:tags r:id="rId124"/>
            </p:custDataLst>
          </p:nvPr>
        </p:nvSpPr>
        <p:spPr bwMode="auto">
          <a:xfrm>
            <a:off x="3348089" y="6533069"/>
            <a:ext cx="33423" cy="73182"/>
          </a:xfrm>
          <a:custGeom>
            <a:avLst/>
            <a:gdLst>
              <a:gd name="T0" fmla="*/ 0 w 53"/>
              <a:gd name="T1" fmla="*/ 72378971 h 19"/>
              <a:gd name="T2" fmla="*/ 1413054 w 53"/>
              <a:gd name="T3" fmla="*/ 117617708 h 19"/>
              <a:gd name="T4" fmla="*/ 2826109 w 53"/>
              <a:gd name="T5" fmla="*/ 153805689 h 19"/>
              <a:gd name="T6" fmla="*/ 4441349 w 53"/>
              <a:gd name="T7" fmla="*/ 171901184 h 19"/>
              <a:gd name="T8" fmla="*/ 5854404 w 53"/>
              <a:gd name="T9" fmla="*/ 171901184 h 19"/>
              <a:gd name="T10" fmla="*/ 7065721 w 53"/>
              <a:gd name="T11" fmla="*/ 162853437 h 19"/>
              <a:gd name="T12" fmla="*/ 8478776 w 53"/>
              <a:gd name="T13" fmla="*/ 135710195 h 19"/>
              <a:gd name="T14" fmla="*/ 9487908 w 53"/>
              <a:gd name="T15" fmla="*/ 108569961 h 19"/>
              <a:gd name="T16" fmla="*/ 10699226 w 53"/>
              <a:gd name="T17" fmla="*/ 72378971 h 19"/>
              <a:gd name="T18" fmla="*/ 9487908 w 53"/>
              <a:gd name="T19" fmla="*/ 45235729 h 19"/>
              <a:gd name="T20" fmla="*/ 8478776 w 53"/>
              <a:gd name="T21" fmla="*/ 18095495 h 19"/>
              <a:gd name="T22" fmla="*/ 7065721 w 53"/>
              <a:gd name="T23" fmla="*/ 9047747 h 19"/>
              <a:gd name="T24" fmla="*/ 5854404 w 53"/>
              <a:gd name="T25" fmla="*/ 0 h 19"/>
              <a:gd name="T26" fmla="*/ 4441349 w 53"/>
              <a:gd name="T27" fmla="*/ 0 h 19"/>
              <a:gd name="T28" fmla="*/ 2826109 w 53"/>
              <a:gd name="T29" fmla="*/ 9047747 h 19"/>
              <a:gd name="T30" fmla="*/ 1413054 w 53"/>
              <a:gd name="T31" fmla="*/ 27143242 h 19"/>
              <a:gd name="T32" fmla="*/ 0 w 53"/>
              <a:gd name="T33" fmla="*/ 72378971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96" name="Freeform 198">
            <a:extLst>
              <a:ext uri="{FF2B5EF4-FFF2-40B4-BE49-F238E27FC236}">
                <a16:creationId xmlns:a16="http://schemas.microsoft.com/office/drawing/2014/main" id="{DC4DC2C2-E859-49CE-95B1-A37E1EC92FD7}"/>
              </a:ext>
            </a:extLst>
          </p:cNvPr>
          <p:cNvSpPr>
            <a:spLocks/>
          </p:cNvSpPr>
          <p:nvPr>
            <p:custDataLst>
              <p:tags r:id="rId125"/>
            </p:custDataLst>
          </p:nvPr>
        </p:nvSpPr>
        <p:spPr bwMode="auto">
          <a:xfrm>
            <a:off x="3300044" y="6504609"/>
            <a:ext cx="48044" cy="77247"/>
          </a:xfrm>
          <a:custGeom>
            <a:avLst/>
            <a:gdLst>
              <a:gd name="T0" fmla="*/ 0 w 80"/>
              <a:gd name="T1" fmla="*/ 0 h 18"/>
              <a:gd name="T2" fmla="*/ 190778 w 80"/>
              <a:gd name="T3" fmla="*/ 63889540 h 18"/>
              <a:gd name="T4" fmla="*/ 953016 w 80"/>
              <a:gd name="T5" fmla="*/ 127779080 h 18"/>
              <a:gd name="T6" fmla="*/ 1524913 w 80"/>
              <a:gd name="T7" fmla="*/ 149074506 h 18"/>
              <a:gd name="T8" fmla="*/ 2096373 w 80"/>
              <a:gd name="T9" fmla="*/ 170373195 h 18"/>
              <a:gd name="T10" fmla="*/ 2858611 w 80"/>
              <a:gd name="T11" fmla="*/ 191668621 h 18"/>
              <a:gd name="T12" fmla="*/ 3811627 w 80"/>
              <a:gd name="T13" fmla="*/ 191668621 h 18"/>
              <a:gd name="T14" fmla="*/ 4192746 w 80"/>
              <a:gd name="T15" fmla="*/ 159725482 h 18"/>
              <a:gd name="T16" fmla="*/ 4574302 w 80"/>
              <a:gd name="T17" fmla="*/ 138426793 h 18"/>
              <a:gd name="T18" fmla="*/ 4955421 w 80"/>
              <a:gd name="T19" fmla="*/ 117131368 h 18"/>
              <a:gd name="T20" fmla="*/ 5908000 w 80"/>
              <a:gd name="T21" fmla="*/ 106483655 h 18"/>
              <a:gd name="T22" fmla="*/ 7242135 w 80"/>
              <a:gd name="T23" fmla="*/ 85184966 h 18"/>
              <a:gd name="T24" fmla="*/ 8957389 w 80"/>
              <a:gd name="T25" fmla="*/ 74537253 h 18"/>
              <a:gd name="T26" fmla="*/ 10863421 w 80"/>
              <a:gd name="T27" fmla="*/ 74537253 h 18"/>
              <a:gd name="T28" fmla="*/ 12578675 w 80"/>
              <a:gd name="T29" fmla="*/ 63889540 h 18"/>
              <a:gd name="T30" fmla="*/ 13340913 w 80"/>
              <a:gd name="T31" fmla="*/ 53241827 h 18"/>
              <a:gd name="T32" fmla="*/ 14103588 w 80"/>
              <a:gd name="T33" fmla="*/ 42594115 h 18"/>
              <a:gd name="T34" fmla="*/ 14675048 w 80"/>
              <a:gd name="T35" fmla="*/ 21295426 h 18"/>
              <a:gd name="T36" fmla="*/ 15246945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97" name="Freeform 199">
            <a:extLst>
              <a:ext uri="{FF2B5EF4-FFF2-40B4-BE49-F238E27FC236}">
                <a16:creationId xmlns:a16="http://schemas.microsoft.com/office/drawing/2014/main" id="{F0DF639E-D80A-40FA-AF70-61638A20D267}"/>
              </a:ext>
            </a:extLst>
          </p:cNvPr>
          <p:cNvSpPr>
            <a:spLocks/>
          </p:cNvSpPr>
          <p:nvPr>
            <p:custDataLst>
              <p:tags r:id="rId126"/>
            </p:custDataLst>
          </p:nvPr>
        </p:nvSpPr>
        <p:spPr bwMode="auto">
          <a:xfrm>
            <a:off x="3300044" y="6478183"/>
            <a:ext cx="31333" cy="79279"/>
          </a:xfrm>
          <a:custGeom>
            <a:avLst/>
            <a:gdLst>
              <a:gd name="T0" fmla="*/ 4668699 w 46"/>
              <a:gd name="T1" fmla="*/ 0 h 27"/>
              <a:gd name="T2" fmla="*/ 0 w 46"/>
              <a:gd name="T3" fmla="*/ 89855205 h 27"/>
              <a:gd name="T4" fmla="*/ 2100746 w 46"/>
              <a:gd name="T5" fmla="*/ 109822780 h 27"/>
              <a:gd name="T6" fmla="*/ 3734766 w 46"/>
              <a:gd name="T7" fmla="*/ 124796785 h 27"/>
              <a:gd name="T8" fmla="*/ 5369270 w 46"/>
              <a:gd name="T9" fmla="*/ 134781690 h 27"/>
              <a:gd name="T10" fmla="*/ 6769445 w 46"/>
              <a:gd name="T11" fmla="*/ 134781690 h 27"/>
              <a:gd name="T12" fmla="*/ 7703378 w 46"/>
              <a:gd name="T13" fmla="*/ 134781690 h 27"/>
              <a:gd name="T14" fmla="*/ 8637311 w 46"/>
              <a:gd name="T15" fmla="*/ 124796785 h 27"/>
              <a:gd name="T16" fmla="*/ 9804124 w 46"/>
              <a:gd name="T17" fmla="*/ 109822780 h 27"/>
              <a:gd name="T18" fmla="*/ 10738057 w 46"/>
              <a:gd name="T19" fmla="*/ 89855205 h 27"/>
              <a:gd name="T20" fmla="*/ 9570761 w 46"/>
              <a:gd name="T21" fmla="*/ 79870300 h 27"/>
              <a:gd name="T22" fmla="*/ 7703378 w 46"/>
              <a:gd name="T23" fmla="*/ 54911390 h 27"/>
              <a:gd name="T24" fmla="*/ 6069358 w 46"/>
              <a:gd name="T25" fmla="*/ 24958910 h 27"/>
              <a:gd name="T26" fmla="*/ 4668699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98" name="Freeform 200">
            <a:extLst>
              <a:ext uri="{FF2B5EF4-FFF2-40B4-BE49-F238E27FC236}">
                <a16:creationId xmlns:a16="http://schemas.microsoft.com/office/drawing/2014/main" id="{2CB03EC1-6075-43D7-B0B5-85120AA71993}"/>
              </a:ext>
            </a:extLst>
          </p:cNvPr>
          <p:cNvSpPr>
            <a:spLocks/>
          </p:cNvSpPr>
          <p:nvPr>
            <p:custDataLst>
              <p:tags r:id="rId127"/>
            </p:custDataLst>
          </p:nvPr>
        </p:nvSpPr>
        <p:spPr bwMode="auto">
          <a:xfrm>
            <a:off x="3258266" y="6470052"/>
            <a:ext cx="35511" cy="79279"/>
          </a:xfrm>
          <a:custGeom>
            <a:avLst/>
            <a:gdLst>
              <a:gd name="T0" fmla="*/ 7522633 w 54"/>
              <a:gd name="T1" fmla="*/ 0 h 39"/>
              <a:gd name="T2" fmla="*/ 4424774 w 54"/>
              <a:gd name="T3" fmla="*/ 9570020 h 39"/>
              <a:gd name="T4" fmla="*/ 2212622 w 54"/>
              <a:gd name="T5" fmla="*/ 23925823 h 39"/>
              <a:gd name="T6" fmla="*/ 1327385 w 54"/>
              <a:gd name="T7" fmla="*/ 31102951 h 39"/>
              <a:gd name="T8" fmla="*/ 884767 w 54"/>
              <a:gd name="T9" fmla="*/ 38281626 h 39"/>
              <a:gd name="T10" fmla="*/ 442619 w 54"/>
              <a:gd name="T11" fmla="*/ 47851646 h 39"/>
              <a:gd name="T12" fmla="*/ 0 w 54"/>
              <a:gd name="T13" fmla="*/ 57421666 h 39"/>
              <a:gd name="T14" fmla="*/ 442619 w 54"/>
              <a:gd name="T15" fmla="*/ 66991686 h 39"/>
              <a:gd name="T16" fmla="*/ 663693 w 54"/>
              <a:gd name="T17" fmla="*/ 76561706 h 39"/>
              <a:gd name="T18" fmla="*/ 1106311 w 54"/>
              <a:gd name="T19" fmla="*/ 83740381 h 39"/>
              <a:gd name="T20" fmla="*/ 1770004 w 54"/>
              <a:gd name="T21" fmla="*/ 88524617 h 39"/>
              <a:gd name="T22" fmla="*/ 2433696 w 54"/>
              <a:gd name="T23" fmla="*/ 90917509 h 39"/>
              <a:gd name="T24" fmla="*/ 3540007 w 54"/>
              <a:gd name="T25" fmla="*/ 93310401 h 39"/>
              <a:gd name="T26" fmla="*/ 4424774 w 54"/>
              <a:gd name="T27" fmla="*/ 93310401 h 39"/>
              <a:gd name="T28" fmla="*/ 5531085 w 54"/>
              <a:gd name="T29" fmla="*/ 93310401 h 39"/>
              <a:gd name="T30" fmla="*/ 6637396 w 54"/>
              <a:gd name="T31" fmla="*/ 90917509 h 39"/>
              <a:gd name="T32" fmla="*/ 7522633 w 54"/>
              <a:gd name="T33" fmla="*/ 88524617 h 39"/>
              <a:gd name="T34" fmla="*/ 8628474 w 54"/>
              <a:gd name="T35" fmla="*/ 83740381 h 39"/>
              <a:gd name="T36" fmla="*/ 9513711 w 54"/>
              <a:gd name="T37" fmla="*/ 78954597 h 39"/>
              <a:gd name="T38" fmla="*/ 10398478 w 54"/>
              <a:gd name="T39" fmla="*/ 71777469 h 39"/>
              <a:gd name="T40" fmla="*/ 11062641 w 54"/>
              <a:gd name="T41" fmla="*/ 62207449 h 39"/>
              <a:gd name="T42" fmla="*/ 11504789 w 54"/>
              <a:gd name="T43" fmla="*/ 52635883 h 39"/>
              <a:gd name="T44" fmla="*/ 11947407 w 54"/>
              <a:gd name="T45" fmla="*/ 43065863 h 39"/>
              <a:gd name="T46" fmla="*/ 11283715 w 54"/>
              <a:gd name="T47" fmla="*/ 40674518 h 39"/>
              <a:gd name="T48" fmla="*/ 10620022 w 54"/>
              <a:gd name="T49" fmla="*/ 38281626 h 39"/>
              <a:gd name="T50" fmla="*/ 9734785 w 54"/>
              <a:gd name="T51" fmla="*/ 33495843 h 39"/>
              <a:gd name="T52" fmla="*/ 9292637 w 54"/>
              <a:gd name="T53" fmla="*/ 26318715 h 39"/>
              <a:gd name="T54" fmla="*/ 8628474 w 54"/>
              <a:gd name="T55" fmla="*/ 19140040 h 39"/>
              <a:gd name="T56" fmla="*/ 8186326 w 54"/>
              <a:gd name="T57" fmla="*/ 11962912 h 39"/>
              <a:gd name="T58" fmla="*/ 7522633 w 54"/>
              <a:gd name="T59" fmla="*/ 4785783 h 39"/>
              <a:gd name="T60" fmla="*/ 7522633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699" name="Freeform 201">
            <a:extLst>
              <a:ext uri="{FF2B5EF4-FFF2-40B4-BE49-F238E27FC236}">
                <a16:creationId xmlns:a16="http://schemas.microsoft.com/office/drawing/2014/main" id="{7D1C745B-3C05-4C93-B207-39A6383029BB}"/>
              </a:ext>
            </a:extLst>
          </p:cNvPr>
          <p:cNvSpPr>
            <a:spLocks/>
          </p:cNvSpPr>
          <p:nvPr>
            <p:custDataLst>
              <p:tags r:id="rId128"/>
            </p:custDataLst>
          </p:nvPr>
        </p:nvSpPr>
        <p:spPr bwMode="auto">
          <a:xfrm>
            <a:off x="3222753" y="6457856"/>
            <a:ext cx="39690" cy="77247"/>
          </a:xfrm>
          <a:custGeom>
            <a:avLst/>
            <a:gdLst>
              <a:gd name="T0" fmla="*/ 0 w 60"/>
              <a:gd name="T1" fmla="*/ 168675957 h 15"/>
              <a:gd name="T2" fmla="*/ 2268379 w 60"/>
              <a:gd name="T3" fmla="*/ 199341109 h 15"/>
              <a:gd name="T4" fmla="*/ 4082891 w 60"/>
              <a:gd name="T5" fmla="*/ 214675642 h 15"/>
              <a:gd name="T6" fmla="*/ 6124099 w 60"/>
              <a:gd name="T7" fmla="*/ 230010176 h 15"/>
              <a:gd name="T8" fmla="*/ 7938611 w 60"/>
              <a:gd name="T9" fmla="*/ 230010176 h 15"/>
              <a:gd name="T10" fmla="*/ 9299258 w 60"/>
              <a:gd name="T11" fmla="*/ 214675642 h 15"/>
              <a:gd name="T12" fmla="*/ 10887075 w 60"/>
              <a:gd name="T13" fmla="*/ 184006575 h 15"/>
              <a:gd name="T14" fmla="*/ 12474893 w 60"/>
              <a:gd name="T15" fmla="*/ 138006889 h 15"/>
              <a:gd name="T16" fmla="*/ 13608844 w 60"/>
              <a:gd name="T17" fmla="*/ 76668753 h 15"/>
              <a:gd name="T18" fmla="*/ 12928283 w 60"/>
              <a:gd name="T19" fmla="*/ 46003602 h 15"/>
              <a:gd name="T20" fmla="*/ 12248198 w 60"/>
              <a:gd name="T21" fmla="*/ 0 h 15"/>
              <a:gd name="T22" fmla="*/ 11567636 w 60"/>
              <a:gd name="T23" fmla="*/ 0 h 15"/>
              <a:gd name="T24" fmla="*/ 10660380 w 60"/>
              <a:gd name="T25" fmla="*/ 0 h 15"/>
              <a:gd name="T26" fmla="*/ 9072563 w 60"/>
              <a:gd name="T27" fmla="*/ 0 h 15"/>
              <a:gd name="T28" fmla="*/ 7484745 w 60"/>
              <a:gd name="T29" fmla="*/ 46003602 h 15"/>
              <a:gd name="T30" fmla="*/ 5443538 w 60"/>
              <a:gd name="T31" fmla="*/ 92003287 h 15"/>
              <a:gd name="T32" fmla="*/ 3629025 w 60"/>
              <a:gd name="T33" fmla="*/ 122672355 h 15"/>
              <a:gd name="T34" fmla="*/ 1587818 w 60"/>
              <a:gd name="T35" fmla="*/ 153341423 h 15"/>
              <a:gd name="T36" fmla="*/ 0 w 60"/>
              <a:gd name="T37" fmla="*/ 168675957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00" name="Freeform 202">
            <a:extLst>
              <a:ext uri="{FF2B5EF4-FFF2-40B4-BE49-F238E27FC236}">
                <a16:creationId xmlns:a16="http://schemas.microsoft.com/office/drawing/2014/main" id="{5FA592F0-BF93-483A-A85E-648C19BDF55F}"/>
              </a:ext>
            </a:extLst>
          </p:cNvPr>
          <p:cNvSpPr>
            <a:spLocks/>
          </p:cNvSpPr>
          <p:nvPr>
            <p:custDataLst>
              <p:tags r:id="rId129"/>
            </p:custDataLst>
          </p:nvPr>
        </p:nvSpPr>
        <p:spPr bwMode="auto">
          <a:xfrm>
            <a:off x="3189331" y="6441593"/>
            <a:ext cx="48046" cy="73182"/>
          </a:xfrm>
          <a:custGeom>
            <a:avLst/>
            <a:gdLst>
              <a:gd name="T0" fmla="*/ 7123360 w 79"/>
              <a:gd name="T1" fmla="*/ 0 h 32"/>
              <a:gd name="T2" fmla="*/ 6054856 w 79"/>
              <a:gd name="T3" fmla="*/ 3189684 h 32"/>
              <a:gd name="T4" fmla="*/ 5342520 w 79"/>
              <a:gd name="T5" fmla="*/ 6379369 h 32"/>
              <a:gd name="T6" fmla="*/ 4452100 w 79"/>
              <a:gd name="T7" fmla="*/ 12758738 h 32"/>
              <a:gd name="T8" fmla="*/ 3561680 w 79"/>
              <a:gd name="T9" fmla="*/ 19138106 h 32"/>
              <a:gd name="T10" fmla="*/ 2671260 w 79"/>
              <a:gd name="T11" fmla="*/ 28705373 h 32"/>
              <a:gd name="T12" fmla="*/ 1780840 w 79"/>
              <a:gd name="T13" fmla="*/ 35084742 h 32"/>
              <a:gd name="T14" fmla="*/ 890420 w 79"/>
              <a:gd name="T15" fmla="*/ 38274427 h 32"/>
              <a:gd name="T16" fmla="*/ 0 w 79"/>
              <a:gd name="T17" fmla="*/ 41464111 h 32"/>
              <a:gd name="T18" fmla="*/ 890420 w 79"/>
              <a:gd name="T19" fmla="*/ 66981586 h 32"/>
              <a:gd name="T20" fmla="*/ 1780840 w 79"/>
              <a:gd name="T21" fmla="*/ 82928222 h 32"/>
              <a:gd name="T22" fmla="*/ 2137008 w 79"/>
              <a:gd name="T23" fmla="*/ 92497275 h 32"/>
              <a:gd name="T24" fmla="*/ 2671260 w 79"/>
              <a:gd name="T25" fmla="*/ 98876644 h 32"/>
              <a:gd name="T26" fmla="*/ 3205512 w 79"/>
              <a:gd name="T27" fmla="*/ 98876644 h 32"/>
              <a:gd name="T28" fmla="*/ 3561680 w 79"/>
              <a:gd name="T29" fmla="*/ 102066328 h 32"/>
              <a:gd name="T30" fmla="*/ 4808268 w 79"/>
              <a:gd name="T31" fmla="*/ 98876644 h 32"/>
              <a:gd name="T32" fmla="*/ 6054856 w 79"/>
              <a:gd name="T33" fmla="*/ 95686959 h 32"/>
              <a:gd name="T34" fmla="*/ 7301444 w 79"/>
              <a:gd name="T35" fmla="*/ 86117906 h 32"/>
              <a:gd name="T36" fmla="*/ 8548032 w 79"/>
              <a:gd name="T37" fmla="*/ 76550639 h 32"/>
              <a:gd name="T38" fmla="*/ 11041208 w 79"/>
              <a:gd name="T39" fmla="*/ 57412533 h 32"/>
              <a:gd name="T40" fmla="*/ 14068636 w 79"/>
              <a:gd name="T41" fmla="*/ 41464111 h 32"/>
              <a:gd name="T42" fmla="*/ 11931628 w 79"/>
              <a:gd name="T43" fmla="*/ 19138106 h 32"/>
              <a:gd name="T44" fmla="*/ 10328872 w 79"/>
              <a:gd name="T45" fmla="*/ 6379369 h 32"/>
              <a:gd name="T46" fmla="*/ 8726116 w 79"/>
              <a:gd name="T47" fmla="*/ 3189684 h 32"/>
              <a:gd name="T48" fmla="*/ 712336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01" name="Freeform 203">
            <a:extLst>
              <a:ext uri="{FF2B5EF4-FFF2-40B4-BE49-F238E27FC236}">
                <a16:creationId xmlns:a16="http://schemas.microsoft.com/office/drawing/2014/main" id="{DCF721C9-9222-43AE-A19B-9F2FBBFD1036}"/>
              </a:ext>
            </a:extLst>
          </p:cNvPr>
          <p:cNvSpPr>
            <a:spLocks/>
          </p:cNvSpPr>
          <p:nvPr>
            <p:custDataLst>
              <p:tags r:id="rId130"/>
            </p:custDataLst>
          </p:nvPr>
        </p:nvSpPr>
        <p:spPr bwMode="auto">
          <a:xfrm>
            <a:off x="3180975" y="6417199"/>
            <a:ext cx="41779" cy="73182"/>
          </a:xfrm>
          <a:custGeom>
            <a:avLst/>
            <a:gdLst>
              <a:gd name="T0" fmla="*/ 6892703 w 66"/>
              <a:gd name="T1" fmla="*/ 0 h 19"/>
              <a:gd name="T2" fmla="*/ 5221398 w 66"/>
              <a:gd name="T3" fmla="*/ 9047747 h 19"/>
              <a:gd name="T4" fmla="*/ 3968263 w 66"/>
              <a:gd name="T5" fmla="*/ 18095495 h 19"/>
              <a:gd name="T6" fmla="*/ 2715127 w 66"/>
              <a:gd name="T7" fmla="*/ 36190989 h 19"/>
              <a:gd name="T8" fmla="*/ 1879703 w 66"/>
              <a:gd name="T9" fmla="*/ 63331224 h 19"/>
              <a:gd name="T10" fmla="*/ 1044280 w 66"/>
              <a:gd name="T11" fmla="*/ 99522213 h 19"/>
              <a:gd name="T12" fmla="*/ 417712 w 66"/>
              <a:gd name="T13" fmla="*/ 126665455 h 19"/>
              <a:gd name="T14" fmla="*/ 0 w 66"/>
              <a:gd name="T15" fmla="*/ 153805689 h 19"/>
              <a:gd name="T16" fmla="*/ 0 w 66"/>
              <a:gd name="T17" fmla="*/ 171901184 h 19"/>
              <a:gd name="T18" fmla="*/ 3968263 w 66"/>
              <a:gd name="T19" fmla="*/ 171901184 h 19"/>
              <a:gd name="T20" fmla="*/ 7936982 w 66"/>
              <a:gd name="T21" fmla="*/ 171901184 h 19"/>
              <a:gd name="T22" fmla="*/ 9607830 w 66"/>
              <a:gd name="T23" fmla="*/ 162853437 h 19"/>
              <a:gd name="T24" fmla="*/ 11278677 w 66"/>
              <a:gd name="T25" fmla="*/ 153805689 h 19"/>
              <a:gd name="T26" fmla="*/ 12740668 w 66"/>
              <a:gd name="T27" fmla="*/ 135710195 h 19"/>
              <a:gd name="T28" fmla="*/ 13784948 w 66"/>
              <a:gd name="T29" fmla="*/ 117617708 h 19"/>
              <a:gd name="T30" fmla="*/ 11905245 w 66"/>
              <a:gd name="T31" fmla="*/ 72378971 h 19"/>
              <a:gd name="T32" fmla="*/ 10443253 w 66"/>
              <a:gd name="T33" fmla="*/ 36190989 h 19"/>
              <a:gd name="T34" fmla="*/ 8772406 w 66"/>
              <a:gd name="T35" fmla="*/ 9047747 h 19"/>
              <a:gd name="T36" fmla="*/ 6892703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02" name="Freeform 204">
            <a:extLst>
              <a:ext uri="{FF2B5EF4-FFF2-40B4-BE49-F238E27FC236}">
                <a16:creationId xmlns:a16="http://schemas.microsoft.com/office/drawing/2014/main" id="{2781DAA5-D2C2-4A4E-BEF4-F83B94FEDB03}"/>
              </a:ext>
            </a:extLst>
          </p:cNvPr>
          <p:cNvSpPr>
            <a:spLocks/>
          </p:cNvSpPr>
          <p:nvPr>
            <p:custDataLst>
              <p:tags r:id="rId131"/>
            </p:custDataLst>
          </p:nvPr>
        </p:nvSpPr>
        <p:spPr bwMode="auto">
          <a:xfrm>
            <a:off x="3041018" y="6014700"/>
            <a:ext cx="35511" cy="77247"/>
          </a:xfrm>
          <a:custGeom>
            <a:avLst/>
            <a:gdLst>
              <a:gd name="T0" fmla="*/ 2985698 w 53"/>
              <a:gd name="T1" fmla="*/ 0 h 80"/>
              <a:gd name="T2" fmla="*/ 1837426 w 53"/>
              <a:gd name="T3" fmla="*/ 2842816 h 80"/>
              <a:gd name="T4" fmla="*/ 918713 w 53"/>
              <a:gd name="T5" fmla="*/ 5686385 h 80"/>
              <a:gd name="T6" fmla="*/ 459117 w 53"/>
              <a:gd name="T7" fmla="*/ 7392075 h 80"/>
              <a:gd name="T8" fmla="*/ 229558 w 53"/>
              <a:gd name="T9" fmla="*/ 9097764 h 80"/>
              <a:gd name="T10" fmla="*/ 0 w 53"/>
              <a:gd name="T11" fmla="*/ 11372017 h 80"/>
              <a:gd name="T12" fmla="*/ 0 w 53"/>
              <a:gd name="T13" fmla="*/ 14215586 h 80"/>
              <a:gd name="T14" fmla="*/ 0 w 53"/>
              <a:gd name="T15" fmla="*/ 17058402 h 80"/>
              <a:gd name="T16" fmla="*/ 459117 w 53"/>
              <a:gd name="T17" fmla="*/ 22175470 h 80"/>
              <a:gd name="T18" fmla="*/ 1377830 w 53"/>
              <a:gd name="T19" fmla="*/ 27293292 h 80"/>
              <a:gd name="T20" fmla="*/ 2066985 w 53"/>
              <a:gd name="T21" fmla="*/ 32411114 h 80"/>
              <a:gd name="T22" fmla="*/ 2985698 w 53"/>
              <a:gd name="T23" fmla="*/ 37528183 h 80"/>
              <a:gd name="T24" fmla="*/ 4593566 w 53"/>
              <a:gd name="T25" fmla="*/ 41508878 h 80"/>
              <a:gd name="T26" fmla="*/ 5052683 w 53"/>
              <a:gd name="T27" fmla="*/ 43214568 h 80"/>
              <a:gd name="T28" fmla="*/ 5971396 w 53"/>
              <a:gd name="T29" fmla="*/ 44351694 h 80"/>
              <a:gd name="T30" fmla="*/ 6890109 w 53"/>
              <a:gd name="T31" fmla="*/ 45488820 h 80"/>
              <a:gd name="T32" fmla="*/ 7579264 w 53"/>
              <a:gd name="T33" fmla="*/ 45488820 h 80"/>
              <a:gd name="T34" fmla="*/ 8268419 w 53"/>
              <a:gd name="T35" fmla="*/ 44920257 h 80"/>
              <a:gd name="T36" fmla="*/ 8727536 w 53"/>
              <a:gd name="T37" fmla="*/ 44351694 h 80"/>
              <a:gd name="T38" fmla="*/ 9646249 w 53"/>
              <a:gd name="T39" fmla="*/ 43214568 h 80"/>
              <a:gd name="T40" fmla="*/ 10335404 w 53"/>
              <a:gd name="T41" fmla="*/ 41508878 h 80"/>
              <a:gd name="T42" fmla="*/ 11024558 w 53"/>
              <a:gd name="T43" fmla="*/ 39802435 h 80"/>
              <a:gd name="T44" fmla="*/ 11713713 w 53"/>
              <a:gd name="T45" fmla="*/ 38096746 h 80"/>
              <a:gd name="T46" fmla="*/ 12172830 w 53"/>
              <a:gd name="T47" fmla="*/ 36391056 h 80"/>
              <a:gd name="T48" fmla="*/ 12172830 w 53"/>
              <a:gd name="T49" fmla="*/ 35253930 h 80"/>
              <a:gd name="T50" fmla="*/ 11943272 w 53"/>
              <a:gd name="T51" fmla="*/ 30704671 h 80"/>
              <a:gd name="T52" fmla="*/ 11254117 w 53"/>
              <a:gd name="T53" fmla="*/ 26724729 h 80"/>
              <a:gd name="T54" fmla="*/ 10564962 w 53"/>
              <a:gd name="T55" fmla="*/ 23881913 h 80"/>
              <a:gd name="T56" fmla="*/ 9876287 w 53"/>
              <a:gd name="T57" fmla="*/ 21038344 h 80"/>
              <a:gd name="T58" fmla="*/ 9187132 w 53"/>
              <a:gd name="T59" fmla="*/ 18195528 h 80"/>
              <a:gd name="T60" fmla="*/ 8268419 w 53"/>
              <a:gd name="T61" fmla="*/ 15352713 h 80"/>
              <a:gd name="T62" fmla="*/ 7808823 w 53"/>
              <a:gd name="T63" fmla="*/ 11372017 h 80"/>
              <a:gd name="T64" fmla="*/ 7579264 w 53"/>
              <a:gd name="T65" fmla="*/ 6823512 h 80"/>
              <a:gd name="T66" fmla="*/ 7579264 w 53"/>
              <a:gd name="T67" fmla="*/ 5686385 h 80"/>
              <a:gd name="T68" fmla="*/ 7120147 w 53"/>
              <a:gd name="T69" fmla="*/ 4549259 h 80"/>
              <a:gd name="T70" fmla="*/ 6660551 w 53"/>
              <a:gd name="T71" fmla="*/ 3411379 h 80"/>
              <a:gd name="T72" fmla="*/ 5741838 w 53"/>
              <a:gd name="T73" fmla="*/ 2274253 h 80"/>
              <a:gd name="T74" fmla="*/ 4364008 w 53"/>
              <a:gd name="T75" fmla="*/ 568563 h 80"/>
              <a:gd name="T76" fmla="*/ 2985698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03" name="Freeform 205">
            <a:extLst>
              <a:ext uri="{FF2B5EF4-FFF2-40B4-BE49-F238E27FC236}">
                <a16:creationId xmlns:a16="http://schemas.microsoft.com/office/drawing/2014/main" id="{8FAC05D8-7DE7-471A-A31B-77F39488FF59}"/>
              </a:ext>
            </a:extLst>
          </p:cNvPr>
          <p:cNvSpPr>
            <a:spLocks/>
          </p:cNvSpPr>
          <p:nvPr>
            <p:custDataLst>
              <p:tags r:id="rId132"/>
            </p:custDataLst>
          </p:nvPr>
        </p:nvSpPr>
        <p:spPr bwMode="auto">
          <a:xfrm>
            <a:off x="3084885" y="6138701"/>
            <a:ext cx="22979" cy="69116"/>
          </a:xfrm>
          <a:custGeom>
            <a:avLst/>
            <a:gdLst>
              <a:gd name="T0" fmla="*/ 0 w 41"/>
              <a:gd name="T1" fmla="*/ 67751177 h 43"/>
              <a:gd name="T2" fmla="*/ 4898159 w 41"/>
              <a:gd name="T3" fmla="*/ 67751177 h 43"/>
              <a:gd name="T4" fmla="*/ 7437960 w 41"/>
              <a:gd name="T5" fmla="*/ 37815136 h 43"/>
              <a:gd name="T6" fmla="*/ 6893626 w 41"/>
              <a:gd name="T7" fmla="*/ 18907568 h 43"/>
              <a:gd name="T8" fmla="*/ 6168272 w 41"/>
              <a:gd name="T9" fmla="*/ 0 h 43"/>
              <a:gd name="T10" fmla="*/ 4898159 w 41"/>
              <a:gd name="T11" fmla="*/ 6302523 h 43"/>
              <a:gd name="T12" fmla="*/ 3628471 w 41"/>
              <a:gd name="T13" fmla="*/ 14180362 h 43"/>
              <a:gd name="T14" fmla="*/ 2721247 w 41"/>
              <a:gd name="T15" fmla="*/ 22058202 h 43"/>
              <a:gd name="T16" fmla="*/ 1814022 w 41"/>
              <a:gd name="T17" fmla="*/ 29936041 h 43"/>
              <a:gd name="T18" fmla="*/ 1088669 w 41"/>
              <a:gd name="T19" fmla="*/ 37815136 h 43"/>
              <a:gd name="T20" fmla="*/ 544334 w 41"/>
              <a:gd name="T21" fmla="*/ 47268292 h 43"/>
              <a:gd name="T22" fmla="*/ 181445 w 41"/>
              <a:gd name="T23" fmla="*/ 58298021 h 43"/>
              <a:gd name="T24" fmla="*/ 0 w 41"/>
              <a:gd name="T25" fmla="*/ 67751177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04" name="Freeform 206">
            <a:extLst>
              <a:ext uri="{FF2B5EF4-FFF2-40B4-BE49-F238E27FC236}">
                <a16:creationId xmlns:a16="http://schemas.microsoft.com/office/drawing/2014/main" id="{F33C185B-95EC-467C-83E2-DD6FFDB02711}"/>
              </a:ext>
            </a:extLst>
          </p:cNvPr>
          <p:cNvSpPr>
            <a:spLocks/>
          </p:cNvSpPr>
          <p:nvPr>
            <p:custDataLst>
              <p:tags r:id="rId133"/>
            </p:custDataLst>
          </p:nvPr>
        </p:nvSpPr>
        <p:spPr bwMode="auto">
          <a:xfrm>
            <a:off x="3091152" y="6167161"/>
            <a:ext cx="10444" cy="75216"/>
          </a:xfrm>
          <a:custGeom>
            <a:avLst/>
            <a:gdLst>
              <a:gd name="T0" fmla="*/ 3149798 w 20"/>
              <a:gd name="T1" fmla="*/ 0 h 24"/>
              <a:gd name="T2" fmla="*/ 0 w 20"/>
              <a:gd name="T3" fmla="*/ 0 h 24"/>
              <a:gd name="T4" fmla="*/ 157549 w 20"/>
              <a:gd name="T5" fmla="*/ 29948528 h 24"/>
              <a:gd name="T6" fmla="*/ 315099 w 20"/>
              <a:gd name="T7" fmla="*/ 53905882 h 24"/>
              <a:gd name="T8" fmla="*/ 629801 w 20"/>
              <a:gd name="T9" fmla="*/ 77865683 h 24"/>
              <a:gd name="T10" fmla="*/ 1102449 w 20"/>
              <a:gd name="T11" fmla="*/ 101823037 h 24"/>
              <a:gd name="T12" fmla="*/ 1575098 w 20"/>
              <a:gd name="T13" fmla="*/ 119794112 h 24"/>
              <a:gd name="T14" fmla="*/ 2204899 w 20"/>
              <a:gd name="T15" fmla="*/ 131771565 h 24"/>
              <a:gd name="T16" fmla="*/ 2677150 w 20"/>
              <a:gd name="T17" fmla="*/ 143751465 h 24"/>
              <a:gd name="T18" fmla="*/ 3149798 w 20"/>
              <a:gd name="T19" fmla="*/ 143751465 h 24"/>
              <a:gd name="T20" fmla="*/ 3149798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05" name="Freeform 207">
            <a:extLst>
              <a:ext uri="{FF2B5EF4-FFF2-40B4-BE49-F238E27FC236}">
                <a16:creationId xmlns:a16="http://schemas.microsoft.com/office/drawing/2014/main" id="{E2B3DD6D-5DCA-44F9-A458-82FD305EC8E1}"/>
              </a:ext>
            </a:extLst>
          </p:cNvPr>
          <p:cNvSpPr>
            <a:spLocks/>
          </p:cNvSpPr>
          <p:nvPr>
            <p:custDataLst>
              <p:tags r:id="rId134"/>
            </p:custDataLst>
          </p:nvPr>
        </p:nvSpPr>
        <p:spPr bwMode="auto">
          <a:xfrm>
            <a:off x="3109952" y="6246441"/>
            <a:ext cx="25067" cy="79279"/>
          </a:xfrm>
          <a:custGeom>
            <a:avLst/>
            <a:gdLst>
              <a:gd name="T0" fmla="*/ 0 w 39"/>
              <a:gd name="T1" fmla="*/ 23617939 h 43"/>
              <a:gd name="T2" fmla="*/ 401201 w 39"/>
              <a:gd name="T3" fmla="*/ 33457928 h 43"/>
              <a:gd name="T4" fmla="*/ 1203156 w 39"/>
              <a:gd name="T5" fmla="*/ 43299321 h 43"/>
              <a:gd name="T6" fmla="*/ 2405864 w 39"/>
              <a:gd name="T7" fmla="*/ 53139310 h 43"/>
              <a:gd name="T8" fmla="*/ 3207819 w 39"/>
              <a:gd name="T9" fmla="*/ 62980703 h 43"/>
              <a:gd name="T10" fmla="*/ 4611575 w 39"/>
              <a:gd name="T11" fmla="*/ 72822095 h 43"/>
              <a:gd name="T12" fmla="*/ 5614131 w 39"/>
              <a:gd name="T13" fmla="*/ 78725528 h 43"/>
              <a:gd name="T14" fmla="*/ 6816839 w 39"/>
              <a:gd name="T15" fmla="*/ 84630363 h 43"/>
              <a:gd name="T16" fmla="*/ 7819394 w 39"/>
              <a:gd name="T17" fmla="*/ 84630363 h 43"/>
              <a:gd name="T18" fmla="*/ 7618793 w 39"/>
              <a:gd name="T19" fmla="*/ 62980703 h 43"/>
              <a:gd name="T20" fmla="*/ 7218040 w 39"/>
              <a:gd name="T21" fmla="*/ 37394485 h 43"/>
              <a:gd name="T22" fmla="*/ 6816839 w 39"/>
              <a:gd name="T23" fmla="*/ 15744825 h 43"/>
              <a:gd name="T24" fmla="*/ 6416085 w 39"/>
              <a:gd name="T25" fmla="*/ 0 h 43"/>
              <a:gd name="T26" fmla="*/ 3809621 w 39"/>
              <a:gd name="T27" fmla="*/ 5904835 h 43"/>
              <a:gd name="T28" fmla="*/ 1203156 w 39"/>
              <a:gd name="T29" fmla="*/ 11808268 h 43"/>
              <a:gd name="T30" fmla="*/ 0 w 39"/>
              <a:gd name="T31" fmla="*/ 23617939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06" name="Freeform 208">
            <a:extLst>
              <a:ext uri="{FF2B5EF4-FFF2-40B4-BE49-F238E27FC236}">
                <a16:creationId xmlns:a16="http://schemas.microsoft.com/office/drawing/2014/main" id="{F92FD807-9C23-4F2A-8283-03D4395250D8}"/>
              </a:ext>
            </a:extLst>
          </p:cNvPr>
          <p:cNvSpPr>
            <a:spLocks/>
          </p:cNvSpPr>
          <p:nvPr>
            <p:custDataLst>
              <p:tags r:id="rId135"/>
            </p:custDataLst>
          </p:nvPr>
        </p:nvSpPr>
        <p:spPr bwMode="auto">
          <a:xfrm>
            <a:off x="3093240" y="6264737"/>
            <a:ext cx="37601" cy="75216"/>
          </a:xfrm>
          <a:custGeom>
            <a:avLst/>
            <a:gdLst>
              <a:gd name="T0" fmla="*/ 6982532 w 55"/>
              <a:gd name="T1" fmla="*/ 23336039 h 62"/>
              <a:gd name="T2" fmla="*/ 1926453 w 55"/>
              <a:gd name="T3" fmla="*/ 0 h 62"/>
              <a:gd name="T4" fmla="*/ 963226 w 55"/>
              <a:gd name="T5" fmla="*/ 4487773 h 62"/>
              <a:gd name="T6" fmla="*/ 240929 w 55"/>
              <a:gd name="T7" fmla="*/ 9872721 h 62"/>
              <a:gd name="T8" fmla="*/ 0 w 55"/>
              <a:gd name="T9" fmla="*/ 14360494 h 62"/>
              <a:gd name="T10" fmla="*/ 0 w 55"/>
              <a:gd name="T11" fmla="*/ 18848266 h 62"/>
              <a:gd name="T12" fmla="*/ 481368 w 55"/>
              <a:gd name="T13" fmla="*/ 23336039 h 62"/>
              <a:gd name="T14" fmla="*/ 963226 w 55"/>
              <a:gd name="T15" fmla="*/ 27823812 h 62"/>
              <a:gd name="T16" fmla="*/ 1926453 w 55"/>
              <a:gd name="T17" fmla="*/ 32311584 h 62"/>
              <a:gd name="T18" fmla="*/ 2648750 w 55"/>
              <a:gd name="T19" fmla="*/ 36799357 h 62"/>
              <a:gd name="T20" fmla="*/ 3852414 w 55"/>
              <a:gd name="T21" fmla="*/ 40389007 h 62"/>
              <a:gd name="T22" fmla="*/ 5056570 w 55"/>
              <a:gd name="T23" fmla="*/ 43979604 h 62"/>
              <a:gd name="T24" fmla="*/ 6260235 w 55"/>
              <a:gd name="T25" fmla="*/ 47570201 h 62"/>
              <a:gd name="T26" fmla="*/ 7945758 w 55"/>
              <a:gd name="T27" fmla="*/ 50262675 h 62"/>
              <a:gd name="T28" fmla="*/ 9149423 w 55"/>
              <a:gd name="T29" fmla="*/ 52057026 h 62"/>
              <a:gd name="T30" fmla="*/ 10594017 w 55"/>
              <a:gd name="T31" fmla="*/ 53852325 h 62"/>
              <a:gd name="T32" fmla="*/ 11798172 w 55"/>
              <a:gd name="T33" fmla="*/ 54750448 h 62"/>
              <a:gd name="T34" fmla="*/ 13242766 w 55"/>
              <a:gd name="T35" fmla="*/ 55647623 h 62"/>
              <a:gd name="T36" fmla="*/ 13001837 w 55"/>
              <a:gd name="T37" fmla="*/ 47570201 h 62"/>
              <a:gd name="T38" fmla="*/ 12761398 w 55"/>
              <a:gd name="T39" fmla="*/ 41287130 h 62"/>
              <a:gd name="T40" fmla="*/ 11798172 w 55"/>
              <a:gd name="T41" fmla="*/ 35901234 h 62"/>
              <a:gd name="T42" fmla="*/ 11075875 w 55"/>
              <a:gd name="T43" fmla="*/ 31414409 h 62"/>
              <a:gd name="T44" fmla="*/ 10353578 w 55"/>
              <a:gd name="T45" fmla="*/ 27823812 h 62"/>
              <a:gd name="T46" fmla="*/ 9149423 w 55"/>
              <a:gd name="T47" fmla="*/ 25131338 h 62"/>
              <a:gd name="T48" fmla="*/ 7945758 w 55"/>
              <a:gd name="T49" fmla="*/ 23336039 h 62"/>
              <a:gd name="T50" fmla="*/ 6982532 w 55"/>
              <a:gd name="T51" fmla="*/ 23336039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07" name="Freeform 209">
            <a:extLst>
              <a:ext uri="{FF2B5EF4-FFF2-40B4-BE49-F238E27FC236}">
                <a16:creationId xmlns:a16="http://schemas.microsoft.com/office/drawing/2014/main" id="{B64D61C6-1E6D-4119-BB26-2842CE21E4F7}"/>
              </a:ext>
            </a:extLst>
          </p:cNvPr>
          <p:cNvSpPr>
            <a:spLocks/>
          </p:cNvSpPr>
          <p:nvPr>
            <p:custDataLst>
              <p:tags r:id="rId136"/>
            </p:custDataLst>
          </p:nvPr>
        </p:nvSpPr>
        <p:spPr bwMode="auto">
          <a:xfrm>
            <a:off x="3135019" y="6307427"/>
            <a:ext cx="14623" cy="75213"/>
          </a:xfrm>
          <a:custGeom>
            <a:avLst/>
            <a:gdLst>
              <a:gd name="T0" fmla="*/ 3326298 w 35"/>
              <a:gd name="T1" fmla="*/ 24257015 h 43"/>
              <a:gd name="T2" fmla="*/ 705453 w 35"/>
              <a:gd name="T3" fmla="*/ 0 h 43"/>
              <a:gd name="T4" fmla="*/ 403207 w 35"/>
              <a:gd name="T5" fmla="*/ 14927394 h 43"/>
              <a:gd name="T6" fmla="*/ 0 w 35"/>
              <a:gd name="T7" fmla="*/ 35452560 h 43"/>
              <a:gd name="T8" fmla="*/ 201603 w 35"/>
              <a:gd name="T9" fmla="*/ 52244513 h 43"/>
              <a:gd name="T10" fmla="*/ 503850 w 35"/>
              <a:gd name="T11" fmla="*/ 67171906 h 43"/>
              <a:gd name="T12" fmla="*/ 604810 w 35"/>
              <a:gd name="T13" fmla="*/ 72769679 h 43"/>
              <a:gd name="T14" fmla="*/ 806414 w 35"/>
              <a:gd name="T15" fmla="*/ 76501528 h 43"/>
              <a:gd name="T16" fmla="*/ 1108660 w 35"/>
              <a:gd name="T17" fmla="*/ 80233376 h 43"/>
              <a:gd name="T18" fmla="*/ 1411224 w 35"/>
              <a:gd name="T19" fmla="*/ 80233376 h 43"/>
              <a:gd name="T20" fmla="*/ 1814431 w 35"/>
              <a:gd name="T21" fmla="*/ 80233376 h 43"/>
              <a:gd name="T22" fmla="*/ 2217638 w 35"/>
              <a:gd name="T23" fmla="*/ 78367452 h 43"/>
              <a:gd name="T24" fmla="*/ 2620845 w 35"/>
              <a:gd name="T25" fmla="*/ 76501528 h 43"/>
              <a:gd name="T26" fmla="*/ 2822448 w 35"/>
              <a:gd name="T27" fmla="*/ 72769679 h 43"/>
              <a:gd name="T28" fmla="*/ 3124694 w 35"/>
              <a:gd name="T29" fmla="*/ 65305982 h 43"/>
              <a:gd name="T30" fmla="*/ 3326298 w 35"/>
              <a:gd name="T31" fmla="*/ 55976361 h 43"/>
              <a:gd name="T32" fmla="*/ 3527901 w 35"/>
              <a:gd name="T33" fmla="*/ 37318485 h 43"/>
              <a:gd name="T34" fmla="*/ 3326298 w 35"/>
              <a:gd name="T35" fmla="*/ 24257015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08" name="Freeform 210">
            <a:extLst>
              <a:ext uri="{FF2B5EF4-FFF2-40B4-BE49-F238E27FC236}">
                <a16:creationId xmlns:a16="http://schemas.microsoft.com/office/drawing/2014/main" id="{36ED60FD-1769-4A02-8758-9D547BBCC943}"/>
              </a:ext>
            </a:extLst>
          </p:cNvPr>
          <p:cNvSpPr>
            <a:spLocks/>
          </p:cNvSpPr>
          <p:nvPr>
            <p:custDataLst>
              <p:tags r:id="rId137"/>
            </p:custDataLst>
          </p:nvPr>
        </p:nvSpPr>
        <p:spPr bwMode="auto">
          <a:xfrm>
            <a:off x="3130841" y="6350116"/>
            <a:ext cx="27156" cy="73182"/>
          </a:xfrm>
          <a:custGeom>
            <a:avLst/>
            <a:gdLst>
              <a:gd name="T0" fmla="*/ 8035581 w 53"/>
              <a:gd name="T1" fmla="*/ 0 h 21"/>
              <a:gd name="T2" fmla="*/ 6216020 w 53"/>
              <a:gd name="T3" fmla="*/ 7000938 h 21"/>
              <a:gd name="T4" fmla="*/ 4851642 w 53"/>
              <a:gd name="T5" fmla="*/ 14001876 h 21"/>
              <a:gd name="T6" fmla="*/ 3790199 w 53"/>
              <a:gd name="T7" fmla="*/ 35002044 h 21"/>
              <a:gd name="T8" fmla="*/ 3183939 w 53"/>
              <a:gd name="T9" fmla="*/ 49003920 h 21"/>
              <a:gd name="T10" fmla="*/ 2577289 w 53"/>
              <a:gd name="T11" fmla="*/ 70006734 h 21"/>
              <a:gd name="T12" fmla="*/ 1971028 w 53"/>
              <a:gd name="T13" fmla="*/ 91006902 h 21"/>
              <a:gd name="T14" fmla="*/ 1212910 w 53"/>
              <a:gd name="T15" fmla="*/ 112009716 h 21"/>
              <a:gd name="T16" fmla="*/ 0 w 53"/>
              <a:gd name="T17" fmla="*/ 126008946 h 21"/>
              <a:gd name="T18" fmla="*/ 758118 w 53"/>
              <a:gd name="T19" fmla="*/ 140010822 h 21"/>
              <a:gd name="T20" fmla="*/ 1667703 w 53"/>
              <a:gd name="T21" fmla="*/ 147011760 h 21"/>
              <a:gd name="T22" fmla="*/ 2577289 w 53"/>
              <a:gd name="T23" fmla="*/ 147011760 h 21"/>
              <a:gd name="T24" fmla="*/ 3638731 w 53"/>
              <a:gd name="T25" fmla="*/ 147011760 h 21"/>
              <a:gd name="T26" fmla="*/ 5761227 w 53"/>
              <a:gd name="T27" fmla="*/ 133009884 h 21"/>
              <a:gd name="T28" fmla="*/ 8035581 w 53"/>
              <a:gd name="T29" fmla="*/ 126008946 h 21"/>
              <a:gd name="T30" fmla="*/ 8035581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09" name="Freeform 211">
            <a:extLst>
              <a:ext uri="{FF2B5EF4-FFF2-40B4-BE49-F238E27FC236}">
                <a16:creationId xmlns:a16="http://schemas.microsoft.com/office/drawing/2014/main" id="{41349122-DDF0-4925-A2D1-B0B977C06805}"/>
              </a:ext>
            </a:extLst>
          </p:cNvPr>
          <p:cNvSpPr>
            <a:spLocks/>
          </p:cNvSpPr>
          <p:nvPr>
            <p:custDataLst>
              <p:tags r:id="rId138"/>
            </p:custDataLst>
          </p:nvPr>
        </p:nvSpPr>
        <p:spPr bwMode="auto">
          <a:xfrm>
            <a:off x="3164264" y="6368411"/>
            <a:ext cx="22979" cy="75213"/>
          </a:xfrm>
          <a:custGeom>
            <a:avLst/>
            <a:gdLst>
              <a:gd name="T0" fmla="*/ 3628649 w 43"/>
              <a:gd name="T1" fmla="*/ 0 h 38"/>
              <a:gd name="T2" fmla="*/ 1979005 w 43"/>
              <a:gd name="T3" fmla="*/ 0 h 38"/>
              <a:gd name="T4" fmla="*/ 329766 w 43"/>
              <a:gd name="T5" fmla="*/ 0 h 38"/>
              <a:gd name="T6" fmla="*/ 164883 w 43"/>
              <a:gd name="T7" fmla="*/ 0 h 38"/>
              <a:gd name="T8" fmla="*/ 0 w 43"/>
              <a:gd name="T9" fmla="*/ 2261937 h 38"/>
              <a:gd name="T10" fmla="*/ 0 w 43"/>
              <a:gd name="T11" fmla="*/ 6785811 h 38"/>
              <a:gd name="T12" fmla="*/ 0 w 43"/>
              <a:gd name="T13" fmla="*/ 13571621 h 38"/>
              <a:gd name="T14" fmla="*/ 164883 w 43"/>
              <a:gd name="T15" fmla="*/ 22617864 h 38"/>
              <a:gd name="T16" fmla="*/ 329766 w 43"/>
              <a:gd name="T17" fmla="*/ 27141738 h 38"/>
              <a:gd name="T18" fmla="*/ 494650 w 43"/>
              <a:gd name="T19" fmla="*/ 40713359 h 38"/>
              <a:gd name="T20" fmla="*/ 824822 w 43"/>
              <a:gd name="T21" fmla="*/ 56546917 h 38"/>
              <a:gd name="T22" fmla="*/ 1649238 w 43"/>
              <a:gd name="T23" fmla="*/ 67855097 h 38"/>
              <a:gd name="T24" fmla="*/ 2474060 w 43"/>
              <a:gd name="T25" fmla="*/ 76902845 h 38"/>
              <a:gd name="T26" fmla="*/ 3463360 w 43"/>
              <a:gd name="T27" fmla="*/ 83688655 h 38"/>
              <a:gd name="T28" fmla="*/ 4453065 w 43"/>
              <a:gd name="T29" fmla="*/ 85950592 h 38"/>
              <a:gd name="T30" fmla="*/ 5772537 w 43"/>
              <a:gd name="T31" fmla="*/ 85950592 h 38"/>
              <a:gd name="T32" fmla="*/ 7092009 w 43"/>
              <a:gd name="T33" fmla="*/ 83688655 h 38"/>
              <a:gd name="T34" fmla="*/ 6597359 w 43"/>
              <a:gd name="T35" fmla="*/ 65593161 h 38"/>
              <a:gd name="T36" fmla="*/ 5937420 w 43"/>
              <a:gd name="T37" fmla="*/ 52023043 h 38"/>
              <a:gd name="T38" fmla="*/ 5442770 w 43"/>
              <a:gd name="T39" fmla="*/ 38451422 h 38"/>
              <a:gd name="T40" fmla="*/ 4947715 w 43"/>
              <a:gd name="T41" fmla="*/ 29403675 h 38"/>
              <a:gd name="T42" fmla="*/ 4453065 w 43"/>
              <a:gd name="T43" fmla="*/ 22617864 h 38"/>
              <a:gd name="T44" fmla="*/ 3958415 w 43"/>
              <a:gd name="T45" fmla="*/ 15833558 h 38"/>
              <a:gd name="T46" fmla="*/ 3793532 w 43"/>
              <a:gd name="T47" fmla="*/ 9047747 h 38"/>
              <a:gd name="T48" fmla="*/ 3628649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10" name="Freeform 212">
            <a:extLst>
              <a:ext uri="{FF2B5EF4-FFF2-40B4-BE49-F238E27FC236}">
                <a16:creationId xmlns:a16="http://schemas.microsoft.com/office/drawing/2014/main" id="{D920E82D-2DA1-4D51-9DD6-BA065898D0F4}"/>
              </a:ext>
            </a:extLst>
          </p:cNvPr>
          <p:cNvSpPr>
            <a:spLocks/>
          </p:cNvSpPr>
          <p:nvPr>
            <p:custDataLst>
              <p:tags r:id="rId139"/>
            </p:custDataLst>
          </p:nvPr>
        </p:nvSpPr>
        <p:spPr bwMode="auto">
          <a:xfrm>
            <a:off x="3166353" y="6407034"/>
            <a:ext cx="8355" cy="73182"/>
          </a:xfrm>
          <a:custGeom>
            <a:avLst/>
            <a:gdLst>
              <a:gd name="T0" fmla="*/ 0 w 20"/>
              <a:gd name="T1" fmla="*/ 0 h 5"/>
              <a:gd name="T2" fmla="*/ 100965 w 20"/>
              <a:gd name="T3" fmla="*/ 261289800 h 5"/>
              <a:gd name="T4" fmla="*/ 201613 w 20"/>
              <a:gd name="T5" fmla="*/ 391934700 h 5"/>
              <a:gd name="T6" fmla="*/ 403225 w 20"/>
              <a:gd name="T7" fmla="*/ 522579600 h 5"/>
              <a:gd name="T8" fmla="*/ 705803 w 20"/>
              <a:gd name="T9" fmla="*/ 653224500 h 5"/>
              <a:gd name="T10" fmla="*/ 1109028 w 20"/>
              <a:gd name="T11" fmla="*/ 522579600 h 5"/>
              <a:gd name="T12" fmla="*/ 1411288 w 20"/>
              <a:gd name="T13" fmla="*/ 391934700 h 5"/>
              <a:gd name="T14" fmla="*/ 1713865 w 20"/>
              <a:gd name="T15" fmla="*/ 261289800 h 5"/>
              <a:gd name="T16" fmla="*/ 2016125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11" name="Freeform 213">
            <a:extLst>
              <a:ext uri="{FF2B5EF4-FFF2-40B4-BE49-F238E27FC236}">
                <a16:creationId xmlns:a16="http://schemas.microsoft.com/office/drawing/2014/main" id="{790FDA43-BBB3-4CFB-9C84-9547DC423E99}"/>
              </a:ext>
            </a:extLst>
          </p:cNvPr>
          <p:cNvSpPr>
            <a:spLocks/>
          </p:cNvSpPr>
          <p:nvPr>
            <p:custDataLst>
              <p:tags r:id="rId140"/>
            </p:custDataLst>
          </p:nvPr>
        </p:nvSpPr>
        <p:spPr bwMode="auto">
          <a:xfrm>
            <a:off x="3268710" y="6496479"/>
            <a:ext cx="50134" cy="75216"/>
          </a:xfrm>
          <a:custGeom>
            <a:avLst/>
            <a:gdLst>
              <a:gd name="T0" fmla="*/ 9155613 w 73"/>
              <a:gd name="T1" fmla="*/ 0 h 22"/>
              <a:gd name="T2" fmla="*/ 7324682 w 73"/>
              <a:gd name="T3" fmla="*/ 6748895 h 22"/>
              <a:gd name="T4" fmla="*/ 5951124 w 73"/>
              <a:gd name="T5" fmla="*/ 13495193 h 22"/>
              <a:gd name="T6" fmla="*/ 4577567 w 73"/>
              <a:gd name="T7" fmla="*/ 33741880 h 22"/>
              <a:gd name="T8" fmla="*/ 3433175 w 73"/>
              <a:gd name="T9" fmla="*/ 53985968 h 22"/>
              <a:gd name="T10" fmla="*/ 1373557 w 73"/>
              <a:gd name="T11" fmla="*/ 94474145 h 22"/>
              <a:gd name="T12" fmla="*/ 0 w 73"/>
              <a:gd name="T13" fmla="*/ 128216025 h 22"/>
              <a:gd name="T14" fmla="*/ 4577567 w 73"/>
              <a:gd name="T15" fmla="*/ 134964920 h 22"/>
              <a:gd name="T16" fmla="*/ 8926926 w 73"/>
              <a:gd name="T17" fmla="*/ 148460114 h 22"/>
              <a:gd name="T18" fmla="*/ 11215709 w 73"/>
              <a:gd name="T19" fmla="*/ 148460114 h 22"/>
              <a:gd name="T20" fmla="*/ 13046640 w 73"/>
              <a:gd name="T21" fmla="*/ 148460114 h 22"/>
              <a:gd name="T22" fmla="*/ 14878050 w 73"/>
              <a:gd name="T23" fmla="*/ 141711218 h 22"/>
              <a:gd name="T24" fmla="*/ 16708981 w 73"/>
              <a:gd name="T25" fmla="*/ 128216025 h 22"/>
              <a:gd name="T26" fmla="*/ 14648885 w 73"/>
              <a:gd name="T27" fmla="*/ 94474145 h 22"/>
              <a:gd name="T28" fmla="*/ 12817953 w 73"/>
              <a:gd name="T29" fmla="*/ 53985968 h 22"/>
              <a:gd name="T30" fmla="*/ 12131414 w 73"/>
              <a:gd name="T31" fmla="*/ 33741880 h 22"/>
              <a:gd name="T32" fmla="*/ 11215709 w 73"/>
              <a:gd name="T33" fmla="*/ 13495193 h 22"/>
              <a:gd name="T34" fmla="*/ 10071317 w 73"/>
              <a:gd name="T35" fmla="*/ 6748895 h 22"/>
              <a:gd name="T36" fmla="*/ 9155613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12" name="Freeform 214">
            <a:extLst>
              <a:ext uri="{FF2B5EF4-FFF2-40B4-BE49-F238E27FC236}">
                <a16:creationId xmlns:a16="http://schemas.microsoft.com/office/drawing/2014/main" id="{AF495B2B-3132-46F8-AEB3-219EB4E6CA14}"/>
              </a:ext>
            </a:extLst>
          </p:cNvPr>
          <p:cNvSpPr>
            <a:spLocks/>
          </p:cNvSpPr>
          <p:nvPr>
            <p:custDataLst>
              <p:tags r:id="rId141"/>
            </p:custDataLst>
          </p:nvPr>
        </p:nvSpPr>
        <p:spPr bwMode="auto">
          <a:xfrm>
            <a:off x="3323022" y="6421264"/>
            <a:ext cx="171292" cy="130101"/>
          </a:xfrm>
          <a:custGeom>
            <a:avLst/>
            <a:gdLst>
              <a:gd name="T0" fmla="*/ 45632377 w 281"/>
              <a:gd name="T1" fmla="*/ 45113636 h 193"/>
              <a:gd name="T2" fmla="*/ 36505901 w 281"/>
              <a:gd name="T3" fmla="*/ 45919440 h 193"/>
              <a:gd name="T4" fmla="*/ 32622379 w 281"/>
              <a:gd name="T5" fmla="*/ 45113636 h 193"/>
              <a:gd name="T6" fmla="*/ 30097848 w 281"/>
              <a:gd name="T7" fmla="*/ 44039403 h 193"/>
              <a:gd name="T8" fmla="*/ 25243555 w 281"/>
              <a:gd name="T9" fmla="*/ 36251862 h 193"/>
              <a:gd name="T10" fmla="*/ 20194491 w 281"/>
              <a:gd name="T11" fmla="*/ 25242141 h 193"/>
              <a:gd name="T12" fmla="*/ 18252951 w 281"/>
              <a:gd name="T13" fmla="*/ 19871495 h 193"/>
              <a:gd name="T14" fmla="*/ 16893520 w 281"/>
              <a:gd name="T15" fmla="*/ 13695044 h 193"/>
              <a:gd name="T16" fmla="*/ 16117080 w 281"/>
              <a:gd name="T17" fmla="*/ 7250165 h 193"/>
              <a:gd name="T18" fmla="*/ 8349595 w 281"/>
              <a:gd name="T19" fmla="*/ 0 h 193"/>
              <a:gd name="T20" fmla="*/ 5436843 w 281"/>
              <a:gd name="T21" fmla="*/ 13963991 h 193"/>
              <a:gd name="T22" fmla="*/ 3495302 w 281"/>
              <a:gd name="T23" fmla="*/ 16380368 h 193"/>
              <a:gd name="T24" fmla="*/ 1165101 w 281"/>
              <a:gd name="T25" fmla="*/ 18528833 h 193"/>
              <a:gd name="T26" fmla="*/ 0 w 281"/>
              <a:gd name="T27" fmla="*/ 19603066 h 193"/>
              <a:gd name="T28" fmla="*/ 194330 w 281"/>
              <a:gd name="T29" fmla="*/ 20139924 h 193"/>
              <a:gd name="T30" fmla="*/ 1747651 w 281"/>
              <a:gd name="T31" fmla="*/ 21751014 h 193"/>
              <a:gd name="T32" fmla="*/ 7184494 w 281"/>
              <a:gd name="T33" fmla="*/ 29806983 h 193"/>
              <a:gd name="T34" fmla="*/ 8738255 w 281"/>
              <a:gd name="T35" fmla="*/ 32761253 h 193"/>
              <a:gd name="T36" fmla="*/ 10291576 w 281"/>
              <a:gd name="T37" fmla="*/ 34640772 h 193"/>
              <a:gd name="T38" fmla="*/ 12039227 w 281"/>
              <a:gd name="T39" fmla="*/ 35983434 h 193"/>
              <a:gd name="T40" fmla="*/ 13786878 w 281"/>
              <a:gd name="T41" fmla="*/ 36520291 h 193"/>
              <a:gd name="T42" fmla="*/ 14757649 w 281"/>
              <a:gd name="T43" fmla="*/ 37862953 h 193"/>
              <a:gd name="T44" fmla="*/ 15340199 w 281"/>
              <a:gd name="T45" fmla="*/ 39742990 h 193"/>
              <a:gd name="T46" fmla="*/ 16699630 w 281"/>
              <a:gd name="T47" fmla="*/ 41085651 h 193"/>
              <a:gd name="T48" fmla="*/ 19223721 w 281"/>
              <a:gd name="T49" fmla="*/ 41354080 h 193"/>
              <a:gd name="T50" fmla="*/ 20583152 w 281"/>
              <a:gd name="T51" fmla="*/ 42159884 h 193"/>
              <a:gd name="T52" fmla="*/ 21165702 w 281"/>
              <a:gd name="T53" fmla="*/ 43770974 h 193"/>
              <a:gd name="T54" fmla="*/ 21165702 w 281"/>
              <a:gd name="T55" fmla="*/ 48067388 h 193"/>
              <a:gd name="T56" fmla="*/ 21553923 w 281"/>
              <a:gd name="T57" fmla="*/ 50752711 h 193"/>
              <a:gd name="T58" fmla="*/ 22330803 w 281"/>
              <a:gd name="T59" fmla="*/ 51826944 h 193"/>
              <a:gd name="T60" fmla="*/ 25049225 w 281"/>
              <a:gd name="T61" fmla="*/ 51826944 h 193"/>
              <a:gd name="T62" fmla="*/ 31845499 w 281"/>
              <a:gd name="T63" fmla="*/ 51290087 h 193"/>
              <a:gd name="T64" fmla="*/ 34952581 w 281"/>
              <a:gd name="T65" fmla="*/ 50752711 h 193"/>
              <a:gd name="T66" fmla="*/ 37282341 w 281"/>
              <a:gd name="T67" fmla="*/ 49947425 h 193"/>
              <a:gd name="T68" fmla="*/ 41166304 w 281"/>
              <a:gd name="T69" fmla="*/ 50484282 h 193"/>
              <a:gd name="T70" fmla="*/ 54564522 w 281"/>
              <a:gd name="T71" fmla="*/ 44845207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13" name="Freeform 215">
            <a:extLst>
              <a:ext uri="{FF2B5EF4-FFF2-40B4-BE49-F238E27FC236}">
                <a16:creationId xmlns:a16="http://schemas.microsoft.com/office/drawing/2014/main" id="{3FAA0293-38EA-4B97-8700-AB13FE4B7D67}"/>
              </a:ext>
            </a:extLst>
          </p:cNvPr>
          <p:cNvSpPr>
            <a:spLocks/>
          </p:cNvSpPr>
          <p:nvPr>
            <p:custDataLst>
              <p:tags r:id="rId142"/>
            </p:custDataLst>
          </p:nvPr>
        </p:nvSpPr>
        <p:spPr bwMode="auto">
          <a:xfrm>
            <a:off x="2698434" y="3516356"/>
            <a:ext cx="73111" cy="77247"/>
          </a:xfrm>
          <a:custGeom>
            <a:avLst/>
            <a:gdLst>
              <a:gd name="T0" fmla="*/ 0 w 120"/>
              <a:gd name="T1" fmla="*/ 19802760 h 56"/>
              <a:gd name="T2" fmla="*/ 762245 w 120"/>
              <a:gd name="T3" fmla="*/ 28603870 h 56"/>
              <a:gd name="T4" fmla="*/ 1906050 w 120"/>
              <a:gd name="T5" fmla="*/ 36304710 h 56"/>
              <a:gd name="T6" fmla="*/ 2859075 w 120"/>
              <a:gd name="T7" fmla="*/ 40704741 h 56"/>
              <a:gd name="T8" fmla="*/ 4002443 w 120"/>
              <a:gd name="T9" fmla="*/ 45105821 h 56"/>
              <a:gd name="T10" fmla="*/ 5145811 w 120"/>
              <a:gd name="T11" fmla="*/ 48406630 h 56"/>
              <a:gd name="T12" fmla="*/ 6670739 w 120"/>
              <a:gd name="T13" fmla="*/ 50606121 h 56"/>
              <a:gd name="T14" fmla="*/ 8195229 w 120"/>
              <a:gd name="T15" fmla="*/ 52806661 h 56"/>
              <a:gd name="T16" fmla="*/ 9720157 w 120"/>
              <a:gd name="T17" fmla="*/ 53906931 h 56"/>
              <a:gd name="T18" fmla="*/ 12769575 w 120"/>
              <a:gd name="T19" fmla="*/ 55007201 h 56"/>
              <a:gd name="T20" fmla="*/ 16200116 w 120"/>
              <a:gd name="T21" fmla="*/ 56107470 h 56"/>
              <a:gd name="T22" fmla="*/ 19440314 w 120"/>
              <a:gd name="T23" fmla="*/ 57207740 h 56"/>
              <a:gd name="T24" fmla="*/ 22870855 w 120"/>
              <a:gd name="T25" fmla="*/ 61607771 h 56"/>
              <a:gd name="T26" fmla="*/ 22870855 w 120"/>
              <a:gd name="T27" fmla="*/ 40704741 h 56"/>
              <a:gd name="T28" fmla="*/ 21155584 w 120"/>
              <a:gd name="T29" fmla="*/ 37404980 h 56"/>
              <a:gd name="T30" fmla="*/ 19440314 w 120"/>
              <a:gd name="T31" fmla="*/ 33003901 h 56"/>
              <a:gd name="T32" fmla="*/ 17915386 w 120"/>
              <a:gd name="T33" fmla="*/ 26403330 h 56"/>
              <a:gd name="T34" fmla="*/ 16772018 w 120"/>
              <a:gd name="T35" fmla="*/ 19802760 h 56"/>
              <a:gd name="T36" fmla="*/ 15437870 w 120"/>
              <a:gd name="T37" fmla="*/ 14301411 h 56"/>
              <a:gd name="T38" fmla="*/ 14294502 w 120"/>
              <a:gd name="T39" fmla="*/ 7700840 h 56"/>
              <a:gd name="T40" fmla="*/ 12769575 w 120"/>
              <a:gd name="T41" fmla="*/ 3300810 h 56"/>
              <a:gd name="T42" fmla="*/ 11435427 w 120"/>
              <a:gd name="T43" fmla="*/ 0 h 56"/>
              <a:gd name="T44" fmla="*/ 10482402 w 120"/>
              <a:gd name="T45" fmla="*/ 1100270 h 56"/>
              <a:gd name="T46" fmla="*/ 9148255 w 120"/>
              <a:gd name="T47" fmla="*/ 3300810 h 56"/>
              <a:gd name="T48" fmla="*/ 7814107 w 120"/>
              <a:gd name="T49" fmla="*/ 6600570 h 56"/>
              <a:gd name="T50" fmla="*/ 6289616 w 120"/>
              <a:gd name="T51" fmla="*/ 9901380 h 56"/>
              <a:gd name="T52" fmla="*/ 4574346 w 120"/>
              <a:gd name="T53" fmla="*/ 14301411 h 56"/>
              <a:gd name="T54" fmla="*/ 3049418 w 120"/>
              <a:gd name="T55" fmla="*/ 16501950 h 56"/>
              <a:gd name="T56" fmla="*/ 1524927 w 120"/>
              <a:gd name="T57" fmla="*/ 19802760 h 56"/>
              <a:gd name="T58" fmla="*/ 0 w 120"/>
              <a:gd name="T59" fmla="*/ 19802760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ED7D31">
                  <a:lumMod val="75000"/>
                </a:srgbClr>
              </a:solidFill>
              <a:effectLst/>
              <a:uLnTx/>
              <a:uFillTx/>
              <a:latin typeface="Arial" panose="020B0604020202020204" pitchFamily="34" charset="0"/>
              <a:ea typeface="MS PGothic" panose="020B0600070205080204" pitchFamily="34" charset="-128"/>
              <a:cs typeface="Arial"/>
            </a:endParaRPr>
          </a:p>
        </p:txBody>
      </p:sp>
      <p:sp>
        <p:nvSpPr>
          <p:cNvPr id="714" name="Freeform 216">
            <a:extLst>
              <a:ext uri="{FF2B5EF4-FFF2-40B4-BE49-F238E27FC236}">
                <a16:creationId xmlns:a16="http://schemas.microsoft.com/office/drawing/2014/main" id="{C14DFEFA-9B2C-4287-AC00-0C1AF8D45A6F}"/>
              </a:ext>
            </a:extLst>
          </p:cNvPr>
          <p:cNvSpPr>
            <a:spLocks/>
          </p:cNvSpPr>
          <p:nvPr>
            <p:custDataLst>
              <p:tags r:id="rId143"/>
            </p:custDataLst>
          </p:nvPr>
        </p:nvSpPr>
        <p:spPr bwMode="auto">
          <a:xfrm>
            <a:off x="3302133" y="3357795"/>
            <a:ext cx="348851" cy="142298"/>
          </a:xfrm>
          <a:custGeom>
            <a:avLst/>
            <a:gdLst>
              <a:gd name="T0" fmla="*/ 24250495 w 574"/>
              <a:gd name="T1" fmla="*/ 288343 h 204"/>
              <a:gd name="T2" fmla="*/ 18140241 w 574"/>
              <a:gd name="T3" fmla="*/ 1730056 h 204"/>
              <a:gd name="T4" fmla="*/ 12602864 w 574"/>
              <a:gd name="T5" fmla="*/ 4612946 h 204"/>
              <a:gd name="T6" fmla="*/ 8210804 w 574"/>
              <a:gd name="T7" fmla="*/ 7496373 h 204"/>
              <a:gd name="T8" fmla="*/ 5728336 w 574"/>
              <a:gd name="T9" fmla="*/ 10090920 h 204"/>
              <a:gd name="T10" fmla="*/ 3055346 w 574"/>
              <a:gd name="T11" fmla="*/ 14704403 h 204"/>
              <a:gd name="T12" fmla="*/ 763836 w 574"/>
              <a:gd name="T13" fmla="*/ 20470719 h 204"/>
              <a:gd name="T14" fmla="*/ 0 w 574"/>
              <a:gd name="T15" fmla="*/ 23641952 h 204"/>
              <a:gd name="T16" fmla="*/ 190959 w 574"/>
              <a:gd name="T17" fmla="*/ 24795322 h 204"/>
              <a:gd name="T18" fmla="*/ 2482468 w 574"/>
              <a:gd name="T19" fmla="*/ 24795322 h 204"/>
              <a:gd name="T20" fmla="*/ 5537377 w 574"/>
              <a:gd name="T21" fmla="*/ 23930294 h 204"/>
              <a:gd name="T22" fmla="*/ 9929436 w 574"/>
              <a:gd name="T23" fmla="*/ 21623553 h 204"/>
              <a:gd name="T24" fmla="*/ 15275854 w 574"/>
              <a:gd name="T25" fmla="*/ 16722264 h 204"/>
              <a:gd name="T26" fmla="*/ 19476955 w 574"/>
              <a:gd name="T27" fmla="*/ 13262689 h 204"/>
              <a:gd name="T28" fmla="*/ 22722822 w 574"/>
              <a:gd name="T29" fmla="*/ 11532633 h 204"/>
              <a:gd name="T30" fmla="*/ 33416095 w 574"/>
              <a:gd name="T31" fmla="*/ 10667605 h 204"/>
              <a:gd name="T32" fmla="*/ 33607054 w 574"/>
              <a:gd name="T33" fmla="*/ 13839375 h 204"/>
              <a:gd name="T34" fmla="*/ 34370891 w 574"/>
              <a:gd name="T35" fmla="*/ 15857236 h 204"/>
              <a:gd name="T36" fmla="*/ 35134727 w 574"/>
              <a:gd name="T37" fmla="*/ 17010607 h 204"/>
              <a:gd name="T38" fmla="*/ 36280482 w 574"/>
              <a:gd name="T39" fmla="*/ 17587292 h 204"/>
              <a:gd name="T40" fmla="*/ 43727450 w 574"/>
              <a:gd name="T41" fmla="*/ 17587292 h 204"/>
              <a:gd name="T42" fmla="*/ 51365377 w 574"/>
              <a:gd name="T43" fmla="*/ 22488581 h 204"/>
              <a:gd name="T44" fmla="*/ 57666590 w 574"/>
              <a:gd name="T45" fmla="*/ 27389870 h 204"/>
              <a:gd name="T46" fmla="*/ 64158763 w 574"/>
              <a:gd name="T47" fmla="*/ 32003352 h 204"/>
              <a:gd name="T48" fmla="*/ 71606168 w 574"/>
              <a:gd name="T49" fmla="*/ 35462928 h 204"/>
              <a:gd name="T50" fmla="*/ 71796690 w 574"/>
              <a:gd name="T51" fmla="*/ 38634160 h 204"/>
              <a:gd name="T52" fmla="*/ 72942444 w 574"/>
              <a:gd name="T53" fmla="*/ 40940901 h 204"/>
              <a:gd name="T54" fmla="*/ 75615872 w 574"/>
              <a:gd name="T55" fmla="*/ 43824328 h 204"/>
              <a:gd name="T56" fmla="*/ 81726126 w 574"/>
              <a:gd name="T57" fmla="*/ 47860589 h 204"/>
              <a:gd name="T58" fmla="*/ 76761627 w 574"/>
              <a:gd name="T59" fmla="*/ 55068619 h 204"/>
              <a:gd name="T60" fmla="*/ 77716422 w 574"/>
              <a:gd name="T61" fmla="*/ 56798138 h 204"/>
              <a:gd name="T62" fmla="*/ 79053136 w 574"/>
              <a:gd name="T63" fmla="*/ 57951508 h 204"/>
              <a:gd name="T64" fmla="*/ 81917085 w 574"/>
              <a:gd name="T65" fmla="*/ 58816536 h 204"/>
              <a:gd name="T66" fmla="*/ 88027777 w 574"/>
              <a:gd name="T67" fmla="*/ 58816536 h 204"/>
              <a:gd name="T68" fmla="*/ 105976621 w 574"/>
              <a:gd name="T69" fmla="*/ 54491933 h 204"/>
              <a:gd name="T70" fmla="*/ 106740458 w 574"/>
              <a:gd name="T71" fmla="*/ 52761877 h 204"/>
              <a:gd name="T72" fmla="*/ 107886212 w 574"/>
              <a:gd name="T73" fmla="*/ 51031821 h 204"/>
              <a:gd name="T74" fmla="*/ 109222926 w 574"/>
              <a:gd name="T75" fmla="*/ 49878987 h 204"/>
              <a:gd name="T76" fmla="*/ 109604844 w 574"/>
              <a:gd name="T77" fmla="*/ 46418875 h 204"/>
              <a:gd name="T78" fmla="*/ 107122376 w 574"/>
              <a:gd name="T79" fmla="*/ 44112671 h 204"/>
              <a:gd name="T80" fmla="*/ 101584999 w 574"/>
              <a:gd name="T81" fmla="*/ 42670957 h 204"/>
              <a:gd name="T82" fmla="*/ 96238581 w 574"/>
              <a:gd name="T83" fmla="*/ 39787531 h 204"/>
              <a:gd name="T84" fmla="*/ 90700767 w 574"/>
              <a:gd name="T85" fmla="*/ 35751270 h 204"/>
              <a:gd name="T86" fmla="*/ 82680922 w 574"/>
              <a:gd name="T87" fmla="*/ 28831583 h 204"/>
              <a:gd name="T88" fmla="*/ 73133404 w 574"/>
              <a:gd name="T89" fmla="*/ 19605691 h 204"/>
              <a:gd name="T90" fmla="*/ 68359863 w 574"/>
              <a:gd name="T91" fmla="*/ 15568894 h 204"/>
              <a:gd name="T92" fmla="*/ 66450272 w 574"/>
              <a:gd name="T93" fmla="*/ 14992208 h 204"/>
              <a:gd name="T94" fmla="*/ 63013445 w 574"/>
              <a:gd name="T95" fmla="*/ 14992208 h 204"/>
              <a:gd name="T96" fmla="*/ 59576181 w 574"/>
              <a:gd name="T97" fmla="*/ 14704403 h 204"/>
              <a:gd name="T98" fmla="*/ 57666590 w 574"/>
              <a:gd name="T99" fmla="*/ 14127717 h 204"/>
              <a:gd name="T100" fmla="*/ 56138917 w 574"/>
              <a:gd name="T101" fmla="*/ 12397661 h 204"/>
              <a:gd name="T102" fmla="*/ 55375081 w 574"/>
              <a:gd name="T103" fmla="*/ 9225892 h 204"/>
              <a:gd name="T104" fmla="*/ 27114882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15" name="Freeform 217">
            <a:extLst>
              <a:ext uri="{FF2B5EF4-FFF2-40B4-BE49-F238E27FC236}">
                <a16:creationId xmlns:a16="http://schemas.microsoft.com/office/drawing/2014/main" id="{AF7F2D73-2531-4306-A4D2-BF6990C9AEBE}"/>
              </a:ext>
            </a:extLst>
          </p:cNvPr>
          <p:cNvSpPr>
            <a:spLocks/>
          </p:cNvSpPr>
          <p:nvPr>
            <p:custDataLst>
              <p:tags r:id="rId144"/>
            </p:custDataLst>
          </p:nvPr>
        </p:nvSpPr>
        <p:spPr bwMode="auto">
          <a:xfrm>
            <a:off x="2924038" y="3471633"/>
            <a:ext cx="125336" cy="89445"/>
          </a:xfrm>
          <a:custGeom>
            <a:avLst/>
            <a:gdLst>
              <a:gd name="T0" fmla="*/ 7562083 w 207"/>
              <a:gd name="T1" fmla="*/ 37821880 h 129"/>
              <a:gd name="T2" fmla="*/ 9221979 w 207"/>
              <a:gd name="T3" fmla="*/ 35476219 h 129"/>
              <a:gd name="T4" fmla="*/ 11066547 w 207"/>
              <a:gd name="T5" fmla="*/ 33716974 h 129"/>
              <a:gd name="T6" fmla="*/ 12911114 w 207"/>
              <a:gd name="T7" fmla="*/ 32251207 h 129"/>
              <a:gd name="T8" fmla="*/ 14939924 w 207"/>
              <a:gd name="T9" fmla="*/ 30785440 h 129"/>
              <a:gd name="T10" fmla="*/ 19366457 w 207"/>
              <a:gd name="T11" fmla="*/ 29026195 h 129"/>
              <a:gd name="T12" fmla="*/ 23792990 w 207"/>
              <a:gd name="T13" fmla="*/ 26974012 h 129"/>
              <a:gd name="T14" fmla="*/ 28035281 w 207"/>
              <a:gd name="T15" fmla="*/ 25507704 h 129"/>
              <a:gd name="T16" fmla="*/ 31908658 w 207"/>
              <a:gd name="T17" fmla="*/ 23748459 h 129"/>
              <a:gd name="T18" fmla="*/ 33568554 w 207"/>
              <a:gd name="T19" fmla="*/ 22575628 h 129"/>
              <a:gd name="T20" fmla="*/ 35228880 w 207"/>
              <a:gd name="T21" fmla="*/ 21403340 h 129"/>
              <a:gd name="T22" fmla="*/ 36888776 w 207"/>
              <a:gd name="T23" fmla="*/ 19644094 h 129"/>
              <a:gd name="T24" fmla="*/ 38179758 w 207"/>
              <a:gd name="T25" fmla="*/ 17884849 h 129"/>
              <a:gd name="T26" fmla="*/ 36519862 w 207"/>
              <a:gd name="T27" fmla="*/ 15832667 h 129"/>
              <a:gd name="T28" fmla="*/ 34675295 w 207"/>
              <a:gd name="T29" fmla="*/ 13779943 h 129"/>
              <a:gd name="T30" fmla="*/ 33015399 w 207"/>
              <a:gd name="T31" fmla="*/ 12314176 h 129"/>
              <a:gd name="T32" fmla="*/ 31170831 w 207"/>
              <a:gd name="T33" fmla="*/ 10554931 h 129"/>
              <a:gd name="T34" fmla="*/ 27666367 w 207"/>
              <a:gd name="T35" fmla="*/ 8502748 h 129"/>
              <a:gd name="T36" fmla="*/ 23792990 w 207"/>
              <a:gd name="T37" fmla="*/ 6743503 h 129"/>
              <a:gd name="T38" fmla="*/ 19735371 w 207"/>
              <a:gd name="T39" fmla="*/ 5277736 h 129"/>
              <a:gd name="T40" fmla="*/ 15677751 w 207"/>
              <a:gd name="T41" fmla="*/ 3811428 h 129"/>
              <a:gd name="T42" fmla="*/ 11620132 w 207"/>
              <a:gd name="T43" fmla="*/ 2052182 h 129"/>
              <a:gd name="T44" fmla="*/ 7562083 w 207"/>
              <a:gd name="T45" fmla="*/ 0 h 129"/>
              <a:gd name="T46" fmla="*/ 0 w 207"/>
              <a:gd name="T47" fmla="*/ 0 h 129"/>
              <a:gd name="T48" fmla="*/ 184242 w 207"/>
              <a:gd name="T49" fmla="*/ 1759245 h 129"/>
              <a:gd name="T50" fmla="*/ 368914 w 207"/>
              <a:gd name="T51" fmla="*/ 3811428 h 129"/>
              <a:gd name="T52" fmla="*/ 737827 w 207"/>
              <a:gd name="T53" fmla="*/ 5570673 h 129"/>
              <a:gd name="T54" fmla="*/ 1106741 w 207"/>
              <a:gd name="T55" fmla="*/ 7329918 h 129"/>
              <a:gd name="T56" fmla="*/ 1844568 w 207"/>
              <a:gd name="T57" fmla="*/ 10261994 h 129"/>
              <a:gd name="T58" fmla="*/ 2397723 w 207"/>
              <a:gd name="T59" fmla="*/ 13487006 h 129"/>
              <a:gd name="T60" fmla="*/ 3135550 w 207"/>
              <a:gd name="T61" fmla="*/ 15832667 h 129"/>
              <a:gd name="T62" fmla="*/ 3319792 w 207"/>
              <a:gd name="T63" fmla="*/ 18177786 h 129"/>
              <a:gd name="T64" fmla="*/ 3135550 w 207"/>
              <a:gd name="T65" fmla="*/ 19057679 h 129"/>
              <a:gd name="T66" fmla="*/ 2582395 w 207"/>
              <a:gd name="T67" fmla="*/ 19937031 h 129"/>
              <a:gd name="T68" fmla="*/ 2028810 w 207"/>
              <a:gd name="T69" fmla="*/ 20816924 h 129"/>
              <a:gd name="T70" fmla="*/ 1290983 w 207"/>
              <a:gd name="T71" fmla="*/ 21403340 h 129"/>
              <a:gd name="T72" fmla="*/ 0 w 207"/>
              <a:gd name="T73" fmla="*/ 30491962 h 129"/>
              <a:gd name="T74" fmla="*/ 737827 w 207"/>
              <a:gd name="T75" fmla="*/ 31078377 h 129"/>
              <a:gd name="T76" fmla="*/ 2397723 w 207"/>
              <a:gd name="T77" fmla="*/ 32251207 h 129"/>
              <a:gd name="T78" fmla="*/ 3504464 w 207"/>
              <a:gd name="T79" fmla="*/ 33130559 h 129"/>
              <a:gd name="T80" fmla="*/ 4611204 w 207"/>
              <a:gd name="T81" fmla="*/ 34303389 h 129"/>
              <a:gd name="T82" fmla="*/ 6086429 w 207"/>
              <a:gd name="T83" fmla="*/ 35769698 h 129"/>
              <a:gd name="T84" fmla="*/ 7562083 w 207"/>
              <a:gd name="T85" fmla="*/ 3782188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B050"/>
              </a:solidFill>
              <a:effectLst/>
              <a:uLnTx/>
              <a:uFillTx/>
              <a:latin typeface="Arial" panose="020B0604020202020204" pitchFamily="34" charset="0"/>
              <a:ea typeface="MS PGothic" panose="020B0600070205080204" pitchFamily="34" charset="-128"/>
              <a:cs typeface="Arial"/>
            </a:endParaRPr>
          </a:p>
        </p:txBody>
      </p:sp>
      <p:sp>
        <p:nvSpPr>
          <p:cNvPr id="716" name="Freeform 218">
            <a:extLst>
              <a:ext uri="{FF2B5EF4-FFF2-40B4-BE49-F238E27FC236}">
                <a16:creationId xmlns:a16="http://schemas.microsoft.com/office/drawing/2014/main" id="{B29473F3-724E-49FC-9EB4-2AABE243740D}"/>
              </a:ext>
            </a:extLst>
          </p:cNvPr>
          <p:cNvSpPr>
            <a:spLocks/>
          </p:cNvSpPr>
          <p:nvPr>
            <p:custDataLst>
              <p:tags r:id="rId145"/>
            </p:custDataLst>
          </p:nvPr>
        </p:nvSpPr>
        <p:spPr bwMode="auto">
          <a:xfrm>
            <a:off x="2324516" y="3548880"/>
            <a:ext cx="45956" cy="109773"/>
          </a:xfrm>
          <a:custGeom>
            <a:avLst/>
            <a:gdLst>
              <a:gd name="T0" fmla="*/ 15436420 w 72"/>
              <a:gd name="T1" fmla="*/ 0 h 154"/>
              <a:gd name="T2" fmla="*/ 14793274 w 72"/>
              <a:gd name="T3" fmla="*/ 1193762 h 154"/>
              <a:gd name="T4" fmla="*/ 14364511 w 72"/>
              <a:gd name="T5" fmla="*/ 2686374 h 154"/>
              <a:gd name="T6" fmla="*/ 14150129 w 72"/>
              <a:gd name="T7" fmla="*/ 3880136 h 154"/>
              <a:gd name="T8" fmla="*/ 14150129 w 72"/>
              <a:gd name="T9" fmla="*/ 5372748 h 154"/>
              <a:gd name="T10" fmla="*/ 14150129 w 72"/>
              <a:gd name="T11" fmla="*/ 8059123 h 154"/>
              <a:gd name="T12" fmla="*/ 14150129 w 72"/>
              <a:gd name="T13" fmla="*/ 11044347 h 154"/>
              <a:gd name="T14" fmla="*/ 14793274 w 72"/>
              <a:gd name="T15" fmla="*/ 12835263 h 154"/>
              <a:gd name="T16" fmla="*/ 15222038 w 72"/>
              <a:gd name="T17" fmla="*/ 14924483 h 154"/>
              <a:gd name="T18" fmla="*/ 15222038 w 72"/>
              <a:gd name="T19" fmla="*/ 17014250 h 154"/>
              <a:gd name="T20" fmla="*/ 15222038 w 72"/>
              <a:gd name="T21" fmla="*/ 19401774 h 154"/>
              <a:gd name="T22" fmla="*/ 14793274 w 72"/>
              <a:gd name="T23" fmla="*/ 21789844 h 154"/>
              <a:gd name="T24" fmla="*/ 14364511 w 72"/>
              <a:gd name="T25" fmla="*/ 24476218 h 154"/>
              <a:gd name="T26" fmla="*/ 13935747 w 72"/>
              <a:gd name="T27" fmla="*/ 27162592 h 154"/>
              <a:gd name="T28" fmla="*/ 13078220 w 72"/>
              <a:gd name="T29" fmla="*/ 29848967 h 154"/>
              <a:gd name="T30" fmla="*/ 11362702 w 72"/>
              <a:gd name="T31" fmla="*/ 34625107 h 154"/>
              <a:gd name="T32" fmla="*/ 9433265 w 72"/>
              <a:gd name="T33" fmla="*/ 39102398 h 154"/>
              <a:gd name="T34" fmla="*/ 7289446 w 72"/>
              <a:gd name="T35" fmla="*/ 42983080 h 154"/>
              <a:gd name="T36" fmla="*/ 5574391 w 72"/>
              <a:gd name="T37" fmla="*/ 45967758 h 154"/>
              <a:gd name="T38" fmla="*/ 5574391 w 72"/>
              <a:gd name="T39" fmla="*/ 42087622 h 154"/>
              <a:gd name="T40" fmla="*/ 3215728 w 72"/>
              <a:gd name="T41" fmla="*/ 42983080 h 154"/>
              <a:gd name="T42" fmla="*/ 0 w 72"/>
              <a:gd name="T43" fmla="*/ 44176842 h 154"/>
              <a:gd name="T44" fmla="*/ 643146 w 72"/>
              <a:gd name="T45" fmla="*/ 38505243 h 154"/>
              <a:gd name="T46" fmla="*/ 1715055 w 72"/>
              <a:gd name="T47" fmla="*/ 31341579 h 154"/>
              <a:gd name="T48" fmla="*/ 1929437 w 72"/>
              <a:gd name="T49" fmla="*/ 27461443 h 154"/>
              <a:gd name="T50" fmla="*/ 2572582 w 72"/>
              <a:gd name="T51" fmla="*/ 22984152 h 154"/>
              <a:gd name="T52" fmla="*/ 3215728 w 72"/>
              <a:gd name="T53" fmla="*/ 18805166 h 154"/>
              <a:gd name="T54" fmla="*/ 4288100 w 72"/>
              <a:gd name="T55" fmla="*/ 14626179 h 154"/>
              <a:gd name="T56" fmla="*/ 4288100 w 72"/>
              <a:gd name="T57" fmla="*/ 0 h 154"/>
              <a:gd name="T58" fmla="*/ 5360010 w 72"/>
              <a:gd name="T59" fmla="*/ 0 h 154"/>
              <a:gd name="T60" fmla="*/ 8146974 w 72"/>
              <a:gd name="T61" fmla="*/ 0 h 154"/>
              <a:gd name="T62" fmla="*/ 12006310 w 72"/>
              <a:gd name="T63" fmla="*/ 0 h 154"/>
              <a:gd name="T64" fmla="*/ 15436420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17" name="Freeform 219">
            <a:extLst>
              <a:ext uri="{FF2B5EF4-FFF2-40B4-BE49-F238E27FC236}">
                <a16:creationId xmlns:a16="http://schemas.microsoft.com/office/drawing/2014/main" id="{195DC079-DA99-4573-A8C3-26ED1753246C}"/>
              </a:ext>
            </a:extLst>
          </p:cNvPr>
          <p:cNvSpPr>
            <a:spLocks/>
          </p:cNvSpPr>
          <p:nvPr>
            <p:custDataLst>
              <p:tags r:id="rId146"/>
            </p:custDataLst>
          </p:nvPr>
        </p:nvSpPr>
        <p:spPr bwMode="auto">
          <a:xfrm>
            <a:off x="2213804" y="3548880"/>
            <a:ext cx="129513" cy="191085"/>
          </a:xfrm>
          <a:custGeom>
            <a:avLst/>
            <a:gdLst>
              <a:gd name="T0" fmla="*/ 1532309 w 214"/>
              <a:gd name="T1" fmla="*/ 60121941 h 271"/>
              <a:gd name="T2" fmla="*/ 2298683 w 214"/>
              <a:gd name="T3" fmla="*/ 52570455 h 271"/>
              <a:gd name="T4" fmla="*/ 4597365 w 214"/>
              <a:gd name="T5" fmla="*/ 42986126 h 271"/>
              <a:gd name="T6" fmla="*/ 6704783 w 214"/>
              <a:gd name="T7" fmla="*/ 34272707 h 271"/>
              <a:gd name="T8" fmla="*/ 8428795 w 214"/>
              <a:gd name="T9" fmla="*/ 32529808 h 271"/>
              <a:gd name="T10" fmla="*/ 12451489 w 214"/>
              <a:gd name="T11" fmla="*/ 32239325 h 271"/>
              <a:gd name="T12" fmla="*/ 17048854 w 214"/>
              <a:gd name="T13" fmla="*/ 32239325 h 271"/>
              <a:gd name="T14" fmla="*/ 20305613 w 214"/>
              <a:gd name="T15" fmla="*/ 31948842 h 271"/>
              <a:gd name="T16" fmla="*/ 22987264 w 214"/>
              <a:gd name="T17" fmla="*/ 30496965 h 271"/>
              <a:gd name="T18" fmla="*/ 24902978 w 214"/>
              <a:gd name="T19" fmla="*/ 27301649 h 271"/>
              <a:gd name="T20" fmla="*/ 21646657 w 214"/>
              <a:gd name="T21" fmla="*/ 21202580 h 271"/>
              <a:gd name="T22" fmla="*/ 16474184 w 214"/>
              <a:gd name="T23" fmla="*/ 16845870 h 271"/>
              <a:gd name="T24" fmla="*/ 14750172 w 214"/>
              <a:gd name="T25" fmla="*/ 14232061 h 271"/>
              <a:gd name="T26" fmla="*/ 14175501 w 214"/>
              <a:gd name="T27" fmla="*/ 11908195 h 271"/>
              <a:gd name="T28" fmla="*/ 14367204 w 214"/>
              <a:gd name="T29" fmla="*/ 9875351 h 271"/>
              <a:gd name="T30" fmla="*/ 15708248 w 214"/>
              <a:gd name="T31" fmla="*/ 8132452 h 271"/>
              <a:gd name="T32" fmla="*/ 19347537 w 214"/>
              <a:gd name="T33" fmla="*/ 5518642 h 271"/>
              <a:gd name="T34" fmla="*/ 28734408 w 214"/>
              <a:gd name="T35" fmla="*/ 871450 h 271"/>
              <a:gd name="T36" fmla="*/ 34481114 w 214"/>
              <a:gd name="T37" fmla="*/ 0 h 271"/>
              <a:gd name="T38" fmla="*/ 37929138 w 214"/>
              <a:gd name="T39" fmla="*/ 0 h 271"/>
              <a:gd name="T40" fmla="*/ 39653150 w 214"/>
              <a:gd name="T41" fmla="*/ 14232061 h 271"/>
              <a:gd name="T42" fmla="*/ 38120841 w 214"/>
              <a:gd name="T43" fmla="*/ 22364513 h 271"/>
              <a:gd name="T44" fmla="*/ 37354468 w 214"/>
              <a:gd name="T45" fmla="*/ 30496965 h 271"/>
              <a:gd name="T46" fmla="*/ 35822158 w 214"/>
              <a:gd name="T47" fmla="*/ 42986126 h 271"/>
              <a:gd name="T48" fmla="*/ 40802491 w 214"/>
              <a:gd name="T49" fmla="*/ 44728486 h 271"/>
              <a:gd name="T50" fmla="*/ 40994194 w 214"/>
              <a:gd name="T51" fmla="*/ 48213746 h 271"/>
              <a:gd name="T52" fmla="*/ 40227821 w 214"/>
              <a:gd name="T53" fmla="*/ 50537611 h 271"/>
              <a:gd name="T54" fmla="*/ 39653150 w 214"/>
              <a:gd name="T55" fmla="*/ 51409061 h 271"/>
              <a:gd name="T56" fmla="*/ 38312544 w 214"/>
              <a:gd name="T57" fmla="*/ 51699544 h 271"/>
              <a:gd name="T58" fmla="*/ 36779797 w 214"/>
              <a:gd name="T59" fmla="*/ 56927164 h 271"/>
              <a:gd name="T60" fmla="*/ 34672817 w 214"/>
              <a:gd name="T61" fmla="*/ 62155323 h 271"/>
              <a:gd name="T62" fmla="*/ 29692046 w 214"/>
              <a:gd name="T63" fmla="*/ 70578258 h 271"/>
              <a:gd name="T64" fmla="*/ 22987264 w 214"/>
              <a:gd name="T65" fmla="*/ 78710710 h 271"/>
              <a:gd name="T66" fmla="*/ 16665887 w 214"/>
              <a:gd name="T67" fmla="*/ 75806417 h 271"/>
              <a:gd name="T68" fmla="*/ 10535774 w 214"/>
              <a:gd name="T69" fmla="*/ 72030674 h 271"/>
              <a:gd name="T70" fmla="*/ 0 w 214"/>
              <a:gd name="T71" fmla="*/ 64188706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18" name="Freeform 220">
            <a:extLst>
              <a:ext uri="{FF2B5EF4-FFF2-40B4-BE49-F238E27FC236}">
                <a16:creationId xmlns:a16="http://schemas.microsoft.com/office/drawing/2014/main" id="{79E1B7A9-4B28-440E-8E3F-3166E72B16B1}"/>
              </a:ext>
            </a:extLst>
          </p:cNvPr>
          <p:cNvSpPr>
            <a:spLocks/>
          </p:cNvSpPr>
          <p:nvPr>
            <p:custDataLst>
              <p:tags r:id="rId147"/>
            </p:custDataLst>
          </p:nvPr>
        </p:nvSpPr>
        <p:spPr bwMode="auto">
          <a:xfrm>
            <a:off x="2280649" y="3693212"/>
            <a:ext cx="98179" cy="75213"/>
          </a:xfrm>
          <a:custGeom>
            <a:avLst/>
            <a:gdLst>
              <a:gd name="T0" fmla="*/ 13080625 w 153"/>
              <a:gd name="T1" fmla="*/ 0 h 80"/>
              <a:gd name="T2" fmla="*/ 18094825 w 153"/>
              <a:gd name="T3" fmla="*/ 7144464 h 80"/>
              <a:gd name="T4" fmla="*/ 22672927 w 153"/>
              <a:gd name="T5" fmla="*/ 12247959 h 80"/>
              <a:gd name="T6" fmla="*/ 25071003 w 153"/>
              <a:gd name="T7" fmla="*/ 14289643 h 80"/>
              <a:gd name="T8" fmla="*/ 27469078 w 153"/>
              <a:gd name="T9" fmla="*/ 15820549 h 80"/>
              <a:gd name="T10" fmla="*/ 28995424 w 153"/>
              <a:gd name="T11" fmla="*/ 16330613 h 80"/>
              <a:gd name="T12" fmla="*/ 30303253 w 153"/>
              <a:gd name="T13" fmla="*/ 16330613 h 80"/>
              <a:gd name="T14" fmla="*/ 31829598 w 153"/>
              <a:gd name="T15" fmla="*/ 15820549 h 80"/>
              <a:gd name="T16" fmla="*/ 33355476 w 153"/>
              <a:gd name="T17" fmla="*/ 15309771 h 80"/>
              <a:gd name="T18" fmla="*/ 33355476 w 153"/>
              <a:gd name="T19" fmla="*/ 28578572 h 80"/>
              <a:gd name="T20" fmla="*/ 32483279 w 153"/>
              <a:gd name="T21" fmla="*/ 30620256 h 80"/>
              <a:gd name="T22" fmla="*/ 31611548 w 153"/>
              <a:gd name="T23" fmla="*/ 33171289 h 80"/>
              <a:gd name="T24" fmla="*/ 30085203 w 153"/>
              <a:gd name="T25" fmla="*/ 35212973 h 80"/>
              <a:gd name="T26" fmla="*/ 28777374 w 153"/>
              <a:gd name="T27" fmla="*/ 36743878 h 80"/>
              <a:gd name="T28" fmla="*/ 27251029 w 153"/>
              <a:gd name="T29" fmla="*/ 38274784 h 80"/>
              <a:gd name="T30" fmla="*/ 25943200 w 153"/>
              <a:gd name="T31" fmla="*/ 39805689 h 80"/>
              <a:gd name="T32" fmla="*/ 24416855 w 153"/>
              <a:gd name="T33" fmla="*/ 40316468 h 80"/>
              <a:gd name="T34" fmla="*/ 23109026 w 153"/>
              <a:gd name="T35" fmla="*/ 40826531 h 80"/>
              <a:gd name="T36" fmla="*/ 19620704 w 153"/>
              <a:gd name="T37" fmla="*/ 37764720 h 80"/>
              <a:gd name="T38" fmla="*/ 16568947 w 153"/>
              <a:gd name="T39" fmla="*/ 36233814 h 80"/>
              <a:gd name="T40" fmla="*/ 13734773 w 153"/>
              <a:gd name="T41" fmla="*/ 35212973 h 80"/>
              <a:gd name="T42" fmla="*/ 10900598 w 153"/>
              <a:gd name="T43" fmla="*/ 35212973 h 80"/>
              <a:gd name="T44" fmla="*/ 8502523 w 153"/>
              <a:gd name="T45" fmla="*/ 34702909 h 80"/>
              <a:gd name="T46" fmla="*/ 5886398 w 153"/>
              <a:gd name="T47" fmla="*/ 34192131 h 80"/>
              <a:gd name="T48" fmla="*/ 3052224 w 153"/>
              <a:gd name="T49" fmla="*/ 33171289 h 80"/>
              <a:gd name="T50" fmla="*/ 0 w 153"/>
              <a:gd name="T51" fmla="*/ 31640383 h 80"/>
              <a:gd name="T52" fmla="*/ 1525878 w 153"/>
              <a:gd name="T53" fmla="*/ 29599414 h 80"/>
              <a:gd name="T54" fmla="*/ 5014201 w 153"/>
              <a:gd name="T55" fmla="*/ 22965013 h 80"/>
              <a:gd name="T56" fmla="*/ 7412276 w 153"/>
              <a:gd name="T57" fmla="*/ 18882360 h 80"/>
              <a:gd name="T58" fmla="*/ 9810352 w 153"/>
              <a:gd name="T59" fmla="*/ 14289643 h 80"/>
              <a:gd name="T60" fmla="*/ 12208427 w 153"/>
              <a:gd name="T61" fmla="*/ 8675370 h 80"/>
              <a:gd name="T62" fmla="*/ 14606503 w 153"/>
              <a:gd name="T63" fmla="*/ 3061811 h 80"/>
              <a:gd name="T64" fmla="*/ 13080625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FCD5B5"/>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19" name="Freeform 221">
            <a:extLst>
              <a:ext uri="{FF2B5EF4-FFF2-40B4-BE49-F238E27FC236}">
                <a16:creationId xmlns:a16="http://schemas.microsoft.com/office/drawing/2014/main" id="{64C13242-F574-4D74-B417-90786C65EA82}"/>
              </a:ext>
            </a:extLst>
          </p:cNvPr>
          <p:cNvSpPr>
            <a:spLocks/>
          </p:cNvSpPr>
          <p:nvPr>
            <p:custDataLst>
              <p:tags r:id="rId148"/>
            </p:custDataLst>
          </p:nvPr>
        </p:nvSpPr>
        <p:spPr bwMode="auto">
          <a:xfrm>
            <a:off x="2324516" y="3644423"/>
            <a:ext cx="198448" cy="113838"/>
          </a:xfrm>
          <a:custGeom>
            <a:avLst/>
            <a:gdLst>
              <a:gd name="T0" fmla="*/ 0 w 332"/>
              <a:gd name="T1" fmla="*/ 20552418 h 169"/>
              <a:gd name="T2" fmla="*/ 8148609 w 332"/>
              <a:gd name="T3" fmla="*/ 26958742 h 169"/>
              <a:gd name="T4" fmla="*/ 12223128 w 332"/>
              <a:gd name="T5" fmla="*/ 28826909 h 169"/>
              <a:gd name="T6" fmla="*/ 14630486 w 332"/>
              <a:gd name="T7" fmla="*/ 29094012 h 169"/>
              <a:gd name="T8" fmla="*/ 17223323 w 332"/>
              <a:gd name="T9" fmla="*/ 28559807 h 169"/>
              <a:gd name="T10" fmla="*/ 16667746 w 332"/>
              <a:gd name="T11" fmla="*/ 38435879 h 169"/>
              <a:gd name="T12" fmla="*/ 17593851 w 332"/>
              <a:gd name="T13" fmla="*/ 41104836 h 169"/>
              <a:gd name="T14" fmla="*/ 18334477 w 332"/>
              <a:gd name="T15" fmla="*/ 43507208 h 169"/>
              <a:gd name="T16" fmla="*/ 19816160 w 332"/>
              <a:gd name="T17" fmla="*/ 44841687 h 169"/>
              <a:gd name="T18" fmla="*/ 21668371 w 332"/>
              <a:gd name="T19" fmla="*/ 45108789 h 169"/>
              <a:gd name="T20" fmla="*/ 22779525 w 332"/>
              <a:gd name="T21" fmla="*/ 44307998 h 169"/>
              <a:gd name="T22" fmla="*/ 24446257 w 332"/>
              <a:gd name="T23" fmla="*/ 41905627 h 169"/>
              <a:gd name="T24" fmla="*/ 27039094 w 332"/>
              <a:gd name="T25" fmla="*/ 36300610 h 169"/>
              <a:gd name="T26" fmla="*/ 32224337 w 332"/>
              <a:gd name="T27" fmla="*/ 30695076 h 169"/>
              <a:gd name="T28" fmla="*/ 39632320 w 332"/>
              <a:gd name="T29" fmla="*/ 25623747 h 169"/>
              <a:gd name="T30" fmla="*/ 47410831 w 332"/>
              <a:gd name="T31" fmla="*/ 21353209 h 169"/>
              <a:gd name="T32" fmla="*/ 56300066 w 332"/>
              <a:gd name="T33" fmla="*/ 17349773 h 169"/>
              <a:gd name="T34" fmla="*/ 61485740 w 332"/>
              <a:gd name="T35" fmla="*/ 12277927 h 169"/>
              <a:gd name="T36" fmla="*/ 61485740 w 332"/>
              <a:gd name="T37" fmla="*/ 5872119 h 169"/>
              <a:gd name="T38" fmla="*/ 59263431 w 332"/>
              <a:gd name="T39" fmla="*/ 533688 h 169"/>
              <a:gd name="T40" fmla="*/ 52411026 w 332"/>
              <a:gd name="T41" fmla="*/ 267102 h 169"/>
              <a:gd name="T42" fmla="*/ 43336311 w 332"/>
              <a:gd name="T43" fmla="*/ 0 h 169"/>
              <a:gd name="T44" fmla="*/ 33335492 w 332"/>
              <a:gd name="T45" fmla="*/ 267102 h 169"/>
              <a:gd name="T46" fmla="*/ 24260777 w 332"/>
              <a:gd name="T47" fmla="*/ 1067893 h 169"/>
              <a:gd name="T48" fmla="*/ 16667746 w 332"/>
              <a:gd name="T49" fmla="*/ 2668957 h 169"/>
              <a:gd name="T50" fmla="*/ 10926495 w 332"/>
              <a:gd name="T51" fmla="*/ 5071329 h 169"/>
              <a:gd name="T52" fmla="*/ 7778511 w 332"/>
              <a:gd name="T53" fmla="*/ 5872119 h 169"/>
              <a:gd name="T54" fmla="*/ 6481877 w 332"/>
              <a:gd name="T55" fmla="*/ 6139222 h 169"/>
              <a:gd name="T56" fmla="*/ 6296828 w 332"/>
              <a:gd name="T57" fmla="*/ 6940012 h 169"/>
              <a:gd name="T58" fmla="*/ 6111349 w 332"/>
              <a:gd name="T59" fmla="*/ 10142658 h 169"/>
              <a:gd name="T60" fmla="*/ 5370723 w 332"/>
              <a:gd name="T61" fmla="*/ 11744239 h 169"/>
              <a:gd name="T62" fmla="*/ 4259569 w 332"/>
              <a:gd name="T63" fmla="*/ 12277927 h 169"/>
              <a:gd name="T64" fmla="*/ 3518942 w 332"/>
              <a:gd name="T65" fmla="*/ 14680299 h 169"/>
              <a:gd name="T66" fmla="*/ 2037260 w 332"/>
              <a:gd name="T67" fmla="*/ 19217940 h 169"/>
              <a:gd name="T68" fmla="*/ 1296203 w 332"/>
              <a:gd name="T69" fmla="*/ 22153999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20" name="Freeform 222">
            <a:extLst>
              <a:ext uri="{FF2B5EF4-FFF2-40B4-BE49-F238E27FC236}">
                <a16:creationId xmlns:a16="http://schemas.microsoft.com/office/drawing/2014/main" id="{26EA82F5-99CA-4B6F-9D7B-AE115E8C16FA}"/>
              </a:ext>
            </a:extLst>
          </p:cNvPr>
          <p:cNvSpPr>
            <a:spLocks/>
          </p:cNvSpPr>
          <p:nvPr>
            <p:custDataLst>
              <p:tags r:id="rId149"/>
            </p:custDataLst>
          </p:nvPr>
        </p:nvSpPr>
        <p:spPr bwMode="auto">
          <a:xfrm>
            <a:off x="2347495" y="3683046"/>
            <a:ext cx="175469" cy="160593"/>
          </a:xfrm>
          <a:custGeom>
            <a:avLst/>
            <a:gdLst>
              <a:gd name="T0" fmla="*/ 8460486 w 286"/>
              <a:gd name="T1" fmla="*/ 23268914 h 235"/>
              <a:gd name="T2" fmla="*/ 9422125 w 286"/>
              <a:gd name="T3" fmla="*/ 25974795 h 235"/>
              <a:gd name="T4" fmla="*/ 10191260 w 286"/>
              <a:gd name="T5" fmla="*/ 28409672 h 235"/>
              <a:gd name="T6" fmla="*/ 11729530 w 286"/>
              <a:gd name="T7" fmla="*/ 29762612 h 235"/>
              <a:gd name="T8" fmla="*/ 13652368 w 286"/>
              <a:gd name="T9" fmla="*/ 30033096 h 235"/>
              <a:gd name="T10" fmla="*/ 14806071 w 286"/>
              <a:gd name="T11" fmla="*/ 29221124 h 235"/>
              <a:gd name="T12" fmla="*/ 16536405 w 286"/>
              <a:gd name="T13" fmla="*/ 26786247 h 235"/>
              <a:gd name="T14" fmla="*/ 19228378 w 286"/>
              <a:gd name="T15" fmla="*/ 21104521 h 235"/>
              <a:gd name="T16" fmla="*/ 24612324 w 286"/>
              <a:gd name="T17" fmla="*/ 15422274 h 235"/>
              <a:gd name="T18" fmla="*/ 32304114 w 286"/>
              <a:gd name="T19" fmla="*/ 10281516 h 235"/>
              <a:gd name="T20" fmla="*/ 40380033 w 286"/>
              <a:gd name="T21" fmla="*/ 5952731 h 235"/>
              <a:gd name="T22" fmla="*/ 49609655 w 286"/>
              <a:gd name="T23" fmla="*/ 1893909 h 235"/>
              <a:gd name="T24" fmla="*/ 54993601 w 286"/>
              <a:gd name="T25" fmla="*/ 2976365 h 235"/>
              <a:gd name="T26" fmla="*/ 54224465 w 286"/>
              <a:gd name="T27" fmla="*/ 8658092 h 235"/>
              <a:gd name="T28" fmla="*/ 52301628 w 286"/>
              <a:gd name="T29" fmla="*/ 18939608 h 235"/>
              <a:gd name="T30" fmla="*/ 48840519 w 286"/>
              <a:gd name="T31" fmla="*/ 34632886 h 235"/>
              <a:gd name="T32" fmla="*/ 46917682 w 286"/>
              <a:gd name="T33" fmla="*/ 47078795 h 235"/>
              <a:gd name="T34" fmla="*/ 46148546 w 286"/>
              <a:gd name="T35" fmla="*/ 55736887 h 235"/>
              <a:gd name="T36" fmla="*/ 28073871 w 286"/>
              <a:gd name="T37" fmla="*/ 58442768 h 235"/>
              <a:gd name="T38" fmla="*/ 26535162 w 286"/>
              <a:gd name="T39" fmla="*/ 58983736 h 235"/>
              <a:gd name="T40" fmla="*/ 25381459 w 286"/>
              <a:gd name="T41" fmla="*/ 60336677 h 235"/>
              <a:gd name="T42" fmla="*/ 24420260 w 286"/>
              <a:gd name="T43" fmla="*/ 63583526 h 235"/>
              <a:gd name="T44" fmla="*/ 20959152 w 286"/>
              <a:gd name="T45" fmla="*/ 58713252 h 235"/>
              <a:gd name="T46" fmla="*/ 18074676 w 286"/>
              <a:gd name="T47" fmla="*/ 53842978 h 235"/>
              <a:gd name="T48" fmla="*/ 13267800 w 286"/>
              <a:gd name="T49" fmla="*/ 43290978 h 235"/>
              <a:gd name="T50" fmla="*/ 10575827 w 286"/>
              <a:gd name="T51" fmla="*/ 38420704 h 235"/>
              <a:gd name="T52" fmla="*/ 7883854 w 286"/>
              <a:gd name="T53" fmla="*/ 33820914 h 235"/>
              <a:gd name="T54" fmla="*/ 4230243 w 286"/>
              <a:gd name="T55" fmla="*/ 29762612 h 235"/>
              <a:gd name="T56" fmla="*/ 0 w 286"/>
              <a:gd name="T57" fmla="*/ 26786247 h 235"/>
              <a:gd name="T58" fmla="*/ 2499908 w 286"/>
              <a:gd name="T59" fmla="*/ 26245279 h 235"/>
              <a:gd name="T60" fmla="*/ 4999378 w 286"/>
              <a:gd name="T61" fmla="*/ 24621854 h 235"/>
              <a:gd name="T62" fmla="*/ 7499287 w 286"/>
              <a:gd name="T63" fmla="*/ 22727945 h 235"/>
              <a:gd name="T64" fmla="*/ 9037557 w 286"/>
              <a:gd name="T65" fmla="*/ 20292548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0872A6"/>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21" name="Freeform 223">
            <a:extLst>
              <a:ext uri="{FF2B5EF4-FFF2-40B4-BE49-F238E27FC236}">
                <a16:creationId xmlns:a16="http://schemas.microsoft.com/office/drawing/2014/main" id="{9C14F5B3-34D2-4B47-9687-4B3C49F78D98}"/>
              </a:ext>
            </a:extLst>
          </p:cNvPr>
          <p:cNvSpPr>
            <a:spLocks/>
          </p:cNvSpPr>
          <p:nvPr>
            <p:custDataLst>
              <p:tags r:id="rId150"/>
            </p:custDataLst>
          </p:nvPr>
        </p:nvSpPr>
        <p:spPr bwMode="auto">
          <a:xfrm>
            <a:off x="2418518" y="3829410"/>
            <a:ext cx="116979" cy="130101"/>
          </a:xfrm>
          <a:custGeom>
            <a:avLst/>
            <a:gdLst>
              <a:gd name="T0" fmla="*/ 31668346 w 205"/>
              <a:gd name="T1" fmla="*/ 50723364 h 191"/>
              <a:gd name="T2" fmla="*/ 29478321 w 205"/>
              <a:gd name="T3" fmla="*/ 50723364 h 191"/>
              <a:gd name="T4" fmla="*/ 26614790 w 205"/>
              <a:gd name="T5" fmla="*/ 50723364 h 191"/>
              <a:gd name="T6" fmla="*/ 24256492 w 205"/>
              <a:gd name="T7" fmla="*/ 49352518 h 191"/>
              <a:gd name="T8" fmla="*/ 22909069 w 205"/>
              <a:gd name="T9" fmla="*/ 47433440 h 191"/>
              <a:gd name="T10" fmla="*/ 21729919 w 205"/>
              <a:gd name="T11" fmla="*/ 44691750 h 191"/>
              <a:gd name="T12" fmla="*/ 20213812 w 205"/>
              <a:gd name="T13" fmla="*/ 40304836 h 191"/>
              <a:gd name="T14" fmla="*/ 18529430 w 205"/>
              <a:gd name="T15" fmla="*/ 35917922 h 191"/>
              <a:gd name="T16" fmla="*/ 16676364 w 205"/>
              <a:gd name="T17" fmla="*/ 33175708 h 191"/>
              <a:gd name="T18" fmla="*/ 15665489 w 205"/>
              <a:gd name="T19" fmla="*/ 34547077 h 191"/>
              <a:gd name="T20" fmla="*/ 15160256 w 205"/>
              <a:gd name="T21" fmla="*/ 37014389 h 191"/>
              <a:gd name="T22" fmla="*/ 14149791 w 205"/>
              <a:gd name="T23" fmla="*/ 35643544 h 191"/>
              <a:gd name="T24" fmla="*/ 12128451 w 205"/>
              <a:gd name="T25" fmla="*/ 30982251 h 191"/>
              <a:gd name="T26" fmla="*/ 9433194 w 205"/>
              <a:gd name="T27" fmla="*/ 23853647 h 191"/>
              <a:gd name="T28" fmla="*/ 6906211 w 205"/>
              <a:gd name="T29" fmla="*/ 18370267 h 191"/>
              <a:gd name="T30" fmla="*/ 5221830 w 205"/>
              <a:gd name="T31" fmla="*/ 15902432 h 191"/>
              <a:gd name="T32" fmla="*/ 4379639 w 205"/>
              <a:gd name="T33" fmla="*/ 16450665 h 191"/>
              <a:gd name="T34" fmla="*/ 4884871 w 205"/>
              <a:gd name="T35" fmla="*/ 18918500 h 191"/>
              <a:gd name="T36" fmla="*/ 5727062 w 205"/>
              <a:gd name="T37" fmla="*/ 21386336 h 191"/>
              <a:gd name="T38" fmla="*/ 6906211 w 205"/>
              <a:gd name="T39" fmla="*/ 23031036 h 191"/>
              <a:gd name="T40" fmla="*/ 7748812 w 205"/>
              <a:gd name="T41" fmla="*/ 28788795 h 191"/>
              <a:gd name="T42" fmla="*/ 2190025 w 205"/>
              <a:gd name="T43" fmla="*/ 26869716 h 191"/>
              <a:gd name="T44" fmla="*/ 673917 w 205"/>
              <a:gd name="T45" fmla="*/ 23031036 h 191"/>
              <a:gd name="T46" fmla="*/ 0 w 205"/>
              <a:gd name="T47" fmla="*/ 16450665 h 191"/>
              <a:gd name="T48" fmla="*/ 0 w 205"/>
              <a:gd name="T49" fmla="*/ 10419051 h 191"/>
              <a:gd name="T50" fmla="*/ 505232 w 205"/>
              <a:gd name="T51" fmla="*/ 7676837 h 191"/>
              <a:gd name="T52" fmla="*/ 1347423 w 205"/>
              <a:gd name="T53" fmla="*/ 6032137 h 191"/>
              <a:gd name="T54" fmla="*/ 2358299 w 205"/>
              <a:gd name="T55" fmla="*/ 3564302 h 191"/>
              <a:gd name="T56" fmla="*/ 3368763 w 205"/>
              <a:gd name="T57" fmla="*/ 1096467 h 191"/>
              <a:gd name="T58" fmla="*/ 4716597 w 205"/>
              <a:gd name="T59" fmla="*/ 0 h 191"/>
              <a:gd name="T60" fmla="*/ 21224276 w 205"/>
              <a:gd name="T61" fmla="*/ 1645224 h 191"/>
              <a:gd name="T62" fmla="*/ 21392961 w 205"/>
              <a:gd name="T63" fmla="*/ 5757759 h 191"/>
              <a:gd name="T64" fmla="*/ 21898193 w 205"/>
              <a:gd name="T65" fmla="*/ 10144673 h 191"/>
              <a:gd name="T66" fmla="*/ 24088218 w 205"/>
              <a:gd name="T67" fmla="*/ 19192879 h 191"/>
              <a:gd name="T68" fmla="*/ 27793940 w 205"/>
              <a:gd name="T69" fmla="*/ 27966706 h 191"/>
              <a:gd name="T70" fmla="*/ 29815280 w 205"/>
              <a:gd name="T71" fmla="*/ 32079242 h 191"/>
              <a:gd name="T72" fmla="*/ 32341852 w 205"/>
              <a:gd name="T73" fmla="*/ 35643544 h 191"/>
              <a:gd name="T74" fmla="*/ 31836620 w 205"/>
              <a:gd name="T75" fmla="*/ 39207846 h 191"/>
              <a:gd name="T76" fmla="*/ 31836620 w 205"/>
              <a:gd name="T77" fmla="*/ 42772148 h 191"/>
              <a:gd name="T78" fmla="*/ 32341852 w 205"/>
              <a:gd name="T79" fmla="*/ 52368587 h 191"/>
              <a:gd name="T80" fmla="*/ 34531877 w 205"/>
              <a:gd name="T81" fmla="*/ 50723364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chemeClr val="bg1">
              <a:lumMod val="65000"/>
            </a:schemeClr>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22" name="Freeform 224">
            <a:extLst>
              <a:ext uri="{FF2B5EF4-FFF2-40B4-BE49-F238E27FC236}">
                <a16:creationId xmlns:a16="http://schemas.microsoft.com/office/drawing/2014/main" id="{92B84D81-B3F1-4782-8C8A-C7E53565E218}"/>
              </a:ext>
            </a:extLst>
          </p:cNvPr>
          <p:cNvSpPr>
            <a:spLocks/>
          </p:cNvSpPr>
          <p:nvPr>
            <p:custDataLst>
              <p:tags r:id="rId151"/>
            </p:custDataLst>
          </p:nvPr>
        </p:nvSpPr>
        <p:spPr bwMode="auto">
          <a:xfrm>
            <a:off x="2531320" y="3900560"/>
            <a:ext cx="198447" cy="103673"/>
          </a:xfrm>
          <a:custGeom>
            <a:avLst/>
            <a:gdLst>
              <a:gd name="T0" fmla="*/ 565854 w 329"/>
              <a:gd name="T1" fmla="*/ 15408028 h 154"/>
              <a:gd name="T2" fmla="*/ 0 w 329"/>
              <a:gd name="T3" fmla="*/ 11157857 h 154"/>
              <a:gd name="T4" fmla="*/ 377381 w 329"/>
              <a:gd name="T5" fmla="*/ 8235414 h 154"/>
              <a:gd name="T6" fmla="*/ 3206219 w 329"/>
              <a:gd name="T7" fmla="*/ 8766814 h 154"/>
              <a:gd name="T8" fmla="*/ 6789385 w 329"/>
              <a:gd name="T9" fmla="*/ 10891899 h 154"/>
              <a:gd name="T10" fmla="*/ 9240842 w 329"/>
              <a:gd name="T11" fmla="*/ 11423300 h 154"/>
              <a:gd name="T12" fmla="*/ 12635535 w 329"/>
              <a:gd name="T13" fmla="*/ 11423300 h 154"/>
              <a:gd name="T14" fmla="*/ 16218701 w 329"/>
              <a:gd name="T15" fmla="*/ 10360499 h 154"/>
              <a:gd name="T16" fmla="*/ 20745103 w 329"/>
              <a:gd name="T17" fmla="*/ 7969972 h 154"/>
              <a:gd name="T18" fmla="*/ 26402779 w 329"/>
              <a:gd name="T19" fmla="*/ 3453328 h 154"/>
              <a:gd name="T20" fmla="*/ 30551799 w 329"/>
              <a:gd name="T21" fmla="*/ 1062800 h 154"/>
              <a:gd name="T22" fmla="*/ 33757584 w 329"/>
              <a:gd name="T23" fmla="*/ 0 h 154"/>
              <a:gd name="T24" fmla="*/ 38283986 w 329"/>
              <a:gd name="T25" fmla="*/ 0 h 154"/>
              <a:gd name="T26" fmla="*/ 42244533 w 329"/>
              <a:gd name="T27" fmla="*/ 1594200 h 154"/>
              <a:gd name="T28" fmla="*/ 45827699 w 329"/>
              <a:gd name="T29" fmla="*/ 3984728 h 154"/>
              <a:gd name="T30" fmla="*/ 48845011 w 329"/>
              <a:gd name="T31" fmla="*/ 7438571 h 154"/>
              <a:gd name="T32" fmla="*/ 52805558 w 329"/>
              <a:gd name="T33" fmla="*/ 12220142 h 154"/>
              <a:gd name="T34" fmla="*/ 56954578 w 329"/>
              <a:gd name="T35" fmla="*/ 16205386 h 154"/>
              <a:gd name="T36" fmla="*/ 60160363 w 329"/>
              <a:gd name="T37" fmla="*/ 17799071 h 154"/>
              <a:gd name="T38" fmla="*/ 59029089 w 329"/>
              <a:gd name="T39" fmla="*/ 21784314 h 154"/>
              <a:gd name="T40" fmla="*/ 55257015 w 329"/>
              <a:gd name="T41" fmla="*/ 28160085 h 154"/>
              <a:gd name="T42" fmla="*/ 52239703 w 329"/>
              <a:gd name="T43" fmla="*/ 36660942 h 154"/>
              <a:gd name="T44" fmla="*/ 49976720 w 329"/>
              <a:gd name="T45" fmla="*/ 40646185 h 154"/>
              <a:gd name="T46" fmla="*/ 47713302 w 329"/>
              <a:gd name="T47" fmla="*/ 38786542 h 154"/>
              <a:gd name="T48" fmla="*/ 45261845 w 329"/>
              <a:gd name="T49" fmla="*/ 36129541 h 154"/>
              <a:gd name="T50" fmla="*/ 43375808 w 329"/>
              <a:gd name="T51" fmla="*/ 33473056 h 154"/>
              <a:gd name="T52" fmla="*/ 43375808 w 329"/>
              <a:gd name="T53" fmla="*/ 30285170 h 154"/>
              <a:gd name="T54" fmla="*/ 44319043 w 329"/>
              <a:gd name="T55" fmla="*/ 26565885 h 154"/>
              <a:gd name="T56" fmla="*/ 46958974 w 329"/>
              <a:gd name="T57" fmla="*/ 22846599 h 154"/>
              <a:gd name="T58" fmla="*/ 43941662 w 329"/>
              <a:gd name="T59" fmla="*/ 18065028 h 154"/>
              <a:gd name="T60" fmla="*/ 39038314 w 329"/>
              <a:gd name="T61" fmla="*/ 14611185 h 154"/>
              <a:gd name="T62" fmla="*/ 36775330 w 329"/>
              <a:gd name="T63" fmla="*/ 10891899 h 154"/>
              <a:gd name="T64" fmla="*/ 33757584 w 329"/>
              <a:gd name="T65" fmla="*/ 9032256 h 154"/>
              <a:gd name="T66" fmla="*/ 30740273 w 329"/>
              <a:gd name="T67" fmla="*/ 10891899 h 154"/>
              <a:gd name="T68" fmla="*/ 28288816 w 329"/>
              <a:gd name="T69" fmla="*/ 13282942 h 154"/>
              <a:gd name="T70" fmla="*/ 26402779 w 329"/>
              <a:gd name="T71" fmla="*/ 16205386 h 154"/>
              <a:gd name="T72" fmla="*/ 24894123 w 329"/>
              <a:gd name="T73" fmla="*/ 19658713 h 154"/>
              <a:gd name="T74" fmla="*/ 24139795 w 329"/>
              <a:gd name="T75" fmla="*/ 23377999 h 154"/>
              <a:gd name="T76" fmla="*/ 23196560 w 329"/>
              <a:gd name="T77" fmla="*/ 28956928 h 154"/>
              <a:gd name="T78" fmla="*/ 23008086 w 329"/>
              <a:gd name="T79" fmla="*/ 33207614 h 154"/>
              <a:gd name="T80" fmla="*/ 22253758 w 329"/>
              <a:gd name="T81" fmla="*/ 34269899 h 154"/>
              <a:gd name="T82" fmla="*/ 20367722 w 329"/>
              <a:gd name="T83" fmla="*/ 35864099 h 154"/>
              <a:gd name="T84" fmla="*/ 18104738 w 329"/>
              <a:gd name="T85" fmla="*/ 35864099 h 154"/>
              <a:gd name="T86" fmla="*/ 15652847 w 329"/>
              <a:gd name="T87" fmla="*/ 34269899 h 154"/>
              <a:gd name="T88" fmla="*/ 12447062 w 329"/>
              <a:gd name="T89" fmla="*/ 30816571 h 154"/>
              <a:gd name="T90" fmla="*/ 9052369 w 329"/>
              <a:gd name="T91" fmla="*/ 24972200 h 154"/>
              <a:gd name="T92" fmla="*/ 6223531 w 329"/>
              <a:gd name="T93" fmla="*/ 21252914 h 154"/>
              <a:gd name="T94" fmla="*/ 4149021 w 329"/>
              <a:gd name="T95" fmla="*/ 19658713 h 154"/>
              <a:gd name="T96" fmla="*/ 565854 w 329"/>
              <a:gd name="T97" fmla="*/ 19393271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0872A6"/>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23" name="Freeform 225">
            <a:extLst>
              <a:ext uri="{FF2B5EF4-FFF2-40B4-BE49-F238E27FC236}">
                <a16:creationId xmlns:a16="http://schemas.microsoft.com/office/drawing/2014/main" id="{DD454442-5869-4056-AEBB-54CDC327D257}"/>
              </a:ext>
            </a:extLst>
          </p:cNvPr>
          <p:cNvSpPr>
            <a:spLocks/>
          </p:cNvSpPr>
          <p:nvPr>
            <p:custDataLst>
              <p:tags r:id="rId152"/>
            </p:custDataLst>
          </p:nvPr>
        </p:nvSpPr>
        <p:spPr bwMode="auto">
          <a:xfrm>
            <a:off x="3479692" y="5530887"/>
            <a:ext cx="185914" cy="203282"/>
          </a:xfrm>
          <a:custGeom>
            <a:avLst/>
            <a:gdLst>
              <a:gd name="T0" fmla="*/ 56402692 w 306"/>
              <a:gd name="T1" fmla="*/ 51029662 h 293"/>
              <a:gd name="T2" fmla="*/ 56212690 w 306"/>
              <a:gd name="T3" fmla="*/ 52157448 h 293"/>
              <a:gd name="T4" fmla="*/ 55263116 w 306"/>
              <a:gd name="T5" fmla="*/ 54694966 h 293"/>
              <a:gd name="T6" fmla="*/ 53553970 w 306"/>
              <a:gd name="T7" fmla="*/ 56104699 h 293"/>
              <a:gd name="T8" fmla="*/ 51654822 w 306"/>
              <a:gd name="T9" fmla="*/ 56668592 h 293"/>
              <a:gd name="T10" fmla="*/ 49945676 w 306"/>
              <a:gd name="T11" fmla="*/ 58359740 h 293"/>
              <a:gd name="T12" fmla="*/ 48046528 w 306"/>
              <a:gd name="T13" fmla="*/ 64562563 h 293"/>
              <a:gd name="T14" fmla="*/ 45957814 w 306"/>
              <a:gd name="T15" fmla="*/ 71610695 h 293"/>
              <a:gd name="T16" fmla="*/ 43868664 w 306"/>
              <a:gd name="T17" fmla="*/ 75275999 h 293"/>
              <a:gd name="T18" fmla="*/ 41969516 w 306"/>
              <a:gd name="T19" fmla="*/ 76967678 h 293"/>
              <a:gd name="T20" fmla="*/ 37981653 w 306"/>
              <a:gd name="T21" fmla="*/ 79222719 h 293"/>
              <a:gd name="T22" fmla="*/ 31145069 w 306"/>
              <a:gd name="T23" fmla="*/ 81760238 h 293"/>
              <a:gd name="T24" fmla="*/ 26397199 w 306"/>
              <a:gd name="T25" fmla="*/ 82606077 h 293"/>
              <a:gd name="T26" fmla="*/ 23358475 w 306"/>
              <a:gd name="T27" fmla="*/ 82606077 h 293"/>
              <a:gd name="T28" fmla="*/ 20130185 w 306"/>
              <a:gd name="T29" fmla="*/ 81760238 h 293"/>
              <a:gd name="T30" fmla="*/ 17471465 w 306"/>
              <a:gd name="T31" fmla="*/ 80632452 h 293"/>
              <a:gd name="T32" fmla="*/ 15192749 w 306"/>
              <a:gd name="T33" fmla="*/ 78376880 h 293"/>
              <a:gd name="T34" fmla="*/ 13483602 w 306"/>
              <a:gd name="T35" fmla="*/ 75557946 h 293"/>
              <a:gd name="T36" fmla="*/ 190002 w 306"/>
              <a:gd name="T37" fmla="*/ 66536189 h 293"/>
              <a:gd name="T38" fmla="*/ 0 w 306"/>
              <a:gd name="T39" fmla="*/ 24810230 h 293"/>
              <a:gd name="T40" fmla="*/ 190002 w 306"/>
              <a:gd name="T41" fmla="*/ 13814848 h 293"/>
              <a:gd name="T42" fmla="*/ 759572 w 306"/>
              <a:gd name="T43" fmla="*/ 9867597 h 293"/>
              <a:gd name="T44" fmla="*/ 2089150 w 306"/>
              <a:gd name="T45" fmla="*/ 5920346 h 293"/>
              <a:gd name="T46" fmla="*/ 3798296 w 306"/>
              <a:gd name="T47" fmla="*/ 2255572 h 293"/>
              <a:gd name="T48" fmla="*/ 7786158 w 306"/>
              <a:gd name="T49" fmla="*/ 563893 h 293"/>
              <a:gd name="T50" fmla="*/ 10065310 w 306"/>
              <a:gd name="T51" fmla="*/ 0 h 293"/>
              <a:gd name="T52" fmla="*/ 13673169 w 306"/>
              <a:gd name="T53" fmla="*/ 1691679 h 293"/>
              <a:gd name="T54" fmla="*/ 15192749 w 306"/>
              <a:gd name="T55" fmla="*/ 1973626 h 293"/>
              <a:gd name="T56" fmla="*/ 15952321 w 306"/>
              <a:gd name="T57" fmla="*/ 1127786 h 293"/>
              <a:gd name="T58" fmla="*/ 16521891 w 306"/>
              <a:gd name="T59" fmla="*/ 1409733 h 293"/>
              <a:gd name="T60" fmla="*/ 17091897 w 306"/>
              <a:gd name="T61" fmla="*/ 3101412 h 293"/>
              <a:gd name="T62" fmla="*/ 18801043 w 306"/>
              <a:gd name="T63" fmla="*/ 5356453 h 293"/>
              <a:gd name="T64" fmla="*/ 22978907 w 306"/>
              <a:gd name="T65" fmla="*/ 8739811 h 293"/>
              <a:gd name="T66" fmla="*/ 28106345 w 306"/>
              <a:gd name="T67" fmla="*/ 11559276 h 293"/>
              <a:gd name="T68" fmla="*/ 34563361 w 306"/>
              <a:gd name="T69" fmla="*/ 16633782 h 293"/>
              <a:gd name="T70" fmla="*/ 39880801 w 306"/>
              <a:gd name="T71" fmla="*/ 22272712 h 293"/>
              <a:gd name="T72" fmla="*/ 45767812 w 306"/>
              <a:gd name="T73" fmla="*/ 28756950 h 293"/>
              <a:gd name="T74" fmla="*/ 49566108 w 306"/>
              <a:gd name="T75" fmla="*/ 32986148 h 293"/>
              <a:gd name="T76" fmla="*/ 50515682 w 306"/>
              <a:gd name="T77" fmla="*/ 34959773 h 293"/>
              <a:gd name="T78" fmla="*/ 53174402 w 306"/>
              <a:gd name="T79" fmla="*/ 38060654 h 293"/>
              <a:gd name="T80" fmla="*/ 56782696 w 306"/>
              <a:gd name="T81" fmla="*/ 42571798 h 293"/>
              <a:gd name="T82" fmla="*/ 58111838 w 306"/>
              <a:gd name="T83" fmla="*/ 45391263 h 293"/>
              <a:gd name="T84" fmla="*/ 57731834 w 306"/>
              <a:gd name="T85" fmla="*/ 46800464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24" name="Freeform 226">
            <a:extLst>
              <a:ext uri="{FF2B5EF4-FFF2-40B4-BE49-F238E27FC236}">
                <a16:creationId xmlns:a16="http://schemas.microsoft.com/office/drawing/2014/main" id="{639765C9-4BA5-4798-ACB1-340FF13B4EFA}"/>
              </a:ext>
            </a:extLst>
          </p:cNvPr>
          <p:cNvSpPr>
            <a:spLocks/>
          </p:cNvSpPr>
          <p:nvPr>
            <p:custDataLst>
              <p:tags r:id="rId153"/>
            </p:custDataLst>
          </p:nvPr>
        </p:nvSpPr>
        <p:spPr bwMode="auto">
          <a:xfrm>
            <a:off x="5631284" y="1131850"/>
            <a:ext cx="330050" cy="119936"/>
          </a:xfrm>
          <a:custGeom>
            <a:avLst/>
            <a:gdLst>
              <a:gd name="T0" fmla="*/ 13888101 w 546"/>
              <a:gd name="T1" fmla="*/ 5381864 h 173"/>
              <a:gd name="T2" fmla="*/ 17641501 w 546"/>
              <a:gd name="T3" fmla="*/ 9631151 h 173"/>
              <a:gd name="T4" fmla="*/ 20644568 w 546"/>
              <a:gd name="T5" fmla="*/ 7648079 h 173"/>
              <a:gd name="T6" fmla="*/ 24773568 w 546"/>
              <a:gd name="T7" fmla="*/ 7648079 h 173"/>
              <a:gd name="T8" fmla="*/ 30216085 w 546"/>
              <a:gd name="T9" fmla="*/ 12463655 h 173"/>
              <a:gd name="T10" fmla="*/ 39224853 w 546"/>
              <a:gd name="T11" fmla="*/ 5381864 h 173"/>
              <a:gd name="T12" fmla="*/ 45605720 w 546"/>
              <a:gd name="T13" fmla="*/ 5381864 h 173"/>
              <a:gd name="T14" fmla="*/ 48796370 w 546"/>
              <a:gd name="T15" fmla="*/ 4532432 h 173"/>
              <a:gd name="T16" fmla="*/ 50485487 w 546"/>
              <a:gd name="T17" fmla="*/ 3965612 h 173"/>
              <a:gd name="T18" fmla="*/ 52362187 w 546"/>
              <a:gd name="T19" fmla="*/ 3115648 h 173"/>
              <a:gd name="T20" fmla="*/ 53675704 w 546"/>
              <a:gd name="T21" fmla="*/ 849964 h 173"/>
              <a:gd name="T22" fmla="*/ 60244588 w 546"/>
              <a:gd name="T23" fmla="*/ 1416252 h 173"/>
              <a:gd name="T24" fmla="*/ 62496888 w 546"/>
              <a:gd name="T25" fmla="*/ 3399324 h 173"/>
              <a:gd name="T26" fmla="*/ 65311938 w 546"/>
              <a:gd name="T27" fmla="*/ 1983072 h 173"/>
              <a:gd name="T28" fmla="*/ 66250288 w 546"/>
              <a:gd name="T29" fmla="*/ 0 h 173"/>
              <a:gd name="T30" fmla="*/ 68877755 w 546"/>
              <a:gd name="T31" fmla="*/ 1983072 h 173"/>
              <a:gd name="T32" fmla="*/ 73006755 w 546"/>
              <a:gd name="T33" fmla="*/ 1983072 h 173"/>
              <a:gd name="T34" fmla="*/ 81827506 w 546"/>
              <a:gd name="T35" fmla="*/ 283144 h 173"/>
              <a:gd name="T36" fmla="*/ 90460673 w 546"/>
              <a:gd name="T37" fmla="*/ 1699396 h 173"/>
              <a:gd name="T38" fmla="*/ 99093840 w 546"/>
              <a:gd name="T39" fmla="*/ 3399324 h 173"/>
              <a:gd name="T40" fmla="*/ 102284491 w 546"/>
              <a:gd name="T41" fmla="*/ 13879907 h 173"/>
              <a:gd name="T42" fmla="*/ 100782957 w 546"/>
              <a:gd name="T43" fmla="*/ 16996087 h 173"/>
              <a:gd name="T44" fmla="*/ 96278790 w 546"/>
              <a:gd name="T45" fmla="*/ 17562375 h 173"/>
              <a:gd name="T46" fmla="*/ 90648256 w 546"/>
              <a:gd name="T47" fmla="*/ 15296159 h 173"/>
              <a:gd name="T48" fmla="*/ 77510922 w 546"/>
              <a:gd name="T49" fmla="*/ 12463655 h 173"/>
              <a:gd name="T50" fmla="*/ 82202673 w 546"/>
              <a:gd name="T51" fmla="*/ 22944238 h 173"/>
              <a:gd name="T52" fmla="*/ 88396390 w 546"/>
              <a:gd name="T53" fmla="*/ 28892922 h 173"/>
              <a:gd name="T54" fmla="*/ 92524957 w 546"/>
              <a:gd name="T55" fmla="*/ 33708498 h 173"/>
              <a:gd name="T56" fmla="*/ 89147156 w 546"/>
              <a:gd name="T57" fmla="*/ 38524074 h 173"/>
              <a:gd name="T58" fmla="*/ 84267389 w 546"/>
              <a:gd name="T59" fmla="*/ 40223469 h 173"/>
              <a:gd name="T60" fmla="*/ 79950806 w 546"/>
              <a:gd name="T61" fmla="*/ 39940325 h 173"/>
              <a:gd name="T62" fmla="*/ 77323339 w 546"/>
              <a:gd name="T63" fmla="*/ 37957253 h 173"/>
              <a:gd name="T64" fmla="*/ 74883455 w 546"/>
              <a:gd name="T65" fmla="*/ 36824146 h 173"/>
              <a:gd name="T66" fmla="*/ 72255988 w 546"/>
              <a:gd name="T67" fmla="*/ 34274786 h 173"/>
              <a:gd name="T68" fmla="*/ 70379288 w 546"/>
              <a:gd name="T69" fmla="*/ 29459210 h 173"/>
              <a:gd name="T70" fmla="*/ 68502588 w 546"/>
              <a:gd name="T71" fmla="*/ 26060418 h 173"/>
              <a:gd name="T72" fmla="*/ 64561171 w 546"/>
              <a:gd name="T73" fmla="*/ 23794202 h 173"/>
              <a:gd name="T74" fmla="*/ 60995354 w 546"/>
              <a:gd name="T75" fmla="*/ 21527987 h 173"/>
              <a:gd name="T76" fmla="*/ 56866354 w 546"/>
              <a:gd name="T77" fmla="*/ 24644166 h 173"/>
              <a:gd name="T78" fmla="*/ 48420770 w 546"/>
              <a:gd name="T79" fmla="*/ 37957253 h 173"/>
              <a:gd name="T80" fmla="*/ 44291770 w 546"/>
              <a:gd name="T81" fmla="*/ 46172153 h 173"/>
              <a:gd name="T82" fmla="*/ 41289136 w 546"/>
              <a:gd name="T83" fmla="*/ 48721513 h 173"/>
              <a:gd name="T84" fmla="*/ 35283436 w 546"/>
              <a:gd name="T85" fmla="*/ 47305261 h 173"/>
              <a:gd name="T86" fmla="*/ 30966852 w 546"/>
              <a:gd name="T87" fmla="*/ 43905937 h 173"/>
              <a:gd name="T88" fmla="*/ 21207751 w 546"/>
              <a:gd name="T89" fmla="*/ 29742886 h 173"/>
              <a:gd name="T90" fmla="*/ 17829518 w 546"/>
              <a:gd name="T91" fmla="*/ 25777274 h 173"/>
              <a:gd name="T92" fmla="*/ 11260634 w 546"/>
              <a:gd name="T93" fmla="*/ 21527987 h 173"/>
              <a:gd name="T94" fmla="*/ 3002634 w 546"/>
              <a:gd name="T95" fmla="*/ 16429267 h 173"/>
              <a:gd name="T96" fmla="*/ 2064284 w 546"/>
              <a:gd name="T97" fmla="*/ 9631151 h 173"/>
              <a:gd name="T98" fmla="*/ 5254934 w 546"/>
              <a:gd name="T99" fmla="*/ 5381864 h 173"/>
              <a:gd name="T100" fmla="*/ 8820751 w 546"/>
              <a:gd name="T101" fmla="*/ 3399324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25" name="Freeform 227">
            <a:extLst>
              <a:ext uri="{FF2B5EF4-FFF2-40B4-BE49-F238E27FC236}">
                <a16:creationId xmlns:a16="http://schemas.microsoft.com/office/drawing/2014/main" id="{48DBB071-EC80-4546-8FC5-17027A9A4041}"/>
              </a:ext>
            </a:extLst>
          </p:cNvPr>
          <p:cNvSpPr>
            <a:spLocks/>
          </p:cNvSpPr>
          <p:nvPr>
            <p:custDataLst>
              <p:tags r:id="rId154"/>
            </p:custDataLst>
          </p:nvPr>
        </p:nvSpPr>
        <p:spPr bwMode="auto">
          <a:xfrm>
            <a:off x="5528926" y="1432709"/>
            <a:ext cx="626678" cy="469582"/>
          </a:xfrm>
          <a:custGeom>
            <a:avLst/>
            <a:gdLst>
              <a:gd name="T0" fmla="*/ 45045772 w 1037"/>
              <a:gd name="T1" fmla="*/ 171155139 h 690"/>
              <a:gd name="T2" fmla="*/ 29091989 w 1037"/>
              <a:gd name="T3" fmla="*/ 187940177 h 690"/>
              <a:gd name="T4" fmla="*/ 6005901 w 1037"/>
              <a:gd name="T5" fmla="*/ 179960491 h 690"/>
              <a:gd name="T6" fmla="*/ 12575437 w 1037"/>
              <a:gd name="T7" fmla="*/ 174456753 h 690"/>
              <a:gd name="T8" fmla="*/ 3378346 w 1037"/>
              <a:gd name="T9" fmla="*/ 164000594 h 690"/>
              <a:gd name="T10" fmla="*/ 8258276 w 1037"/>
              <a:gd name="T11" fmla="*/ 163725197 h 690"/>
              <a:gd name="T12" fmla="*/ 12575437 w 1037"/>
              <a:gd name="T13" fmla="*/ 156020383 h 690"/>
              <a:gd name="T14" fmla="*/ 1501584 w 1037"/>
              <a:gd name="T15" fmla="*/ 150242298 h 690"/>
              <a:gd name="T16" fmla="*/ 13888998 w 1037"/>
              <a:gd name="T17" fmla="*/ 143913418 h 690"/>
              <a:gd name="T18" fmla="*/ 0 w 1037"/>
              <a:gd name="T19" fmla="*/ 137309142 h 690"/>
              <a:gd name="T20" fmla="*/ 3753959 w 1037"/>
              <a:gd name="T21" fmla="*/ 125477049 h 690"/>
              <a:gd name="T22" fmla="*/ 6944715 w 1037"/>
              <a:gd name="T23" fmla="*/ 126852984 h 690"/>
              <a:gd name="T24" fmla="*/ 14452200 w 1037"/>
              <a:gd name="T25" fmla="*/ 123550846 h 690"/>
              <a:gd name="T26" fmla="*/ 17267344 w 1037"/>
              <a:gd name="T27" fmla="*/ 116671697 h 690"/>
              <a:gd name="T28" fmla="*/ 24399649 w 1037"/>
              <a:gd name="T29" fmla="*/ 112543894 h 690"/>
              <a:gd name="T30" fmla="*/ 41291813 w 1037"/>
              <a:gd name="T31" fmla="*/ 105114477 h 690"/>
              <a:gd name="T32" fmla="*/ 42605807 w 1037"/>
              <a:gd name="T33" fmla="*/ 93282383 h 690"/>
              <a:gd name="T34" fmla="*/ 53116459 w 1037"/>
              <a:gd name="T35" fmla="*/ 89429977 h 690"/>
              <a:gd name="T36" fmla="*/ 52928869 w 1037"/>
              <a:gd name="T37" fmla="*/ 85302173 h 690"/>
              <a:gd name="T38" fmla="*/ 55931603 w 1037"/>
              <a:gd name="T39" fmla="*/ 78423025 h 690"/>
              <a:gd name="T40" fmla="*/ 62876318 w 1037"/>
              <a:gd name="T41" fmla="*/ 66865804 h 690"/>
              <a:gd name="T42" fmla="*/ 64377902 w 1037"/>
              <a:gd name="T43" fmla="*/ 62188256 h 690"/>
              <a:gd name="T44" fmla="*/ 73199380 w 1037"/>
              <a:gd name="T45" fmla="*/ 55033711 h 690"/>
              <a:gd name="T46" fmla="*/ 72636178 w 1037"/>
              <a:gd name="T47" fmla="*/ 43201618 h 690"/>
              <a:gd name="T48" fmla="*/ 70008623 w 1037"/>
              <a:gd name="T49" fmla="*/ 39073814 h 690"/>
              <a:gd name="T50" fmla="*/ 62688728 w 1037"/>
              <a:gd name="T51" fmla="*/ 42375952 h 690"/>
              <a:gd name="T52" fmla="*/ 73199380 w 1037"/>
              <a:gd name="T53" fmla="*/ 28342259 h 690"/>
              <a:gd name="T54" fmla="*/ 77140928 w 1037"/>
              <a:gd name="T55" fmla="*/ 26416055 h 690"/>
              <a:gd name="T56" fmla="*/ 86900788 w 1037"/>
              <a:gd name="T57" fmla="*/ 31369000 h 690"/>
              <a:gd name="T58" fmla="*/ 87463557 w 1037"/>
              <a:gd name="T59" fmla="*/ 25040121 h 690"/>
              <a:gd name="T60" fmla="*/ 104731334 w 1037"/>
              <a:gd name="T61" fmla="*/ 16785038 h 690"/>
              <a:gd name="T62" fmla="*/ 110924824 w 1037"/>
              <a:gd name="T63" fmla="*/ 17335831 h 690"/>
              <a:gd name="T64" fmla="*/ 121060296 w 1037"/>
              <a:gd name="T65" fmla="*/ 15134231 h 690"/>
              <a:gd name="T66" fmla="*/ 121060296 w 1037"/>
              <a:gd name="T67" fmla="*/ 9080748 h 690"/>
              <a:gd name="T68" fmla="*/ 131195335 w 1037"/>
              <a:gd name="T69" fmla="*/ 3577010 h 690"/>
              <a:gd name="T70" fmla="*/ 132321739 w 1037"/>
              <a:gd name="T71" fmla="*/ 7979686 h 690"/>
              <a:gd name="T72" fmla="*/ 133635300 w 1037"/>
              <a:gd name="T73" fmla="*/ 11006952 h 690"/>
              <a:gd name="T74" fmla="*/ 142269188 w 1037"/>
              <a:gd name="T75" fmla="*/ 3302138 h 690"/>
              <a:gd name="T76" fmla="*/ 153343042 w 1037"/>
              <a:gd name="T77" fmla="*/ 1650807 h 690"/>
              <a:gd name="T78" fmla="*/ 158410561 w 1037"/>
              <a:gd name="T79" fmla="*/ 2201600 h 690"/>
              <a:gd name="T80" fmla="*/ 161788907 w 1037"/>
              <a:gd name="T81" fmla="*/ 3026741 h 690"/>
              <a:gd name="T82" fmla="*/ 173425963 w 1037"/>
              <a:gd name="T83" fmla="*/ 1650807 h 690"/>
              <a:gd name="T84" fmla="*/ 194634855 w 1037"/>
              <a:gd name="T85" fmla="*/ 11832093 h 690"/>
              <a:gd name="T86" fmla="*/ 188628954 w 1037"/>
              <a:gd name="T87" fmla="*/ 21738507 h 690"/>
              <a:gd name="T88" fmla="*/ 174551934 w 1037"/>
              <a:gd name="T89" fmla="*/ 15134231 h 690"/>
              <a:gd name="T90" fmla="*/ 163853693 w 1037"/>
              <a:gd name="T91" fmla="*/ 20362573 h 690"/>
              <a:gd name="T92" fmla="*/ 159161353 w 1037"/>
              <a:gd name="T93" fmla="*/ 31919793 h 690"/>
              <a:gd name="T94" fmla="*/ 152216637 w 1037"/>
              <a:gd name="T95" fmla="*/ 30543859 h 690"/>
              <a:gd name="T96" fmla="*/ 139829223 w 1037"/>
              <a:gd name="T97" fmla="*/ 35221407 h 690"/>
              <a:gd name="T98" fmla="*/ 130256953 w 1037"/>
              <a:gd name="T99" fmla="*/ 25315517 h 690"/>
              <a:gd name="T100" fmla="*/ 116367956 w 1037"/>
              <a:gd name="T101" fmla="*/ 30818731 h 690"/>
              <a:gd name="T102" fmla="*/ 100226583 w 1037"/>
              <a:gd name="T103" fmla="*/ 36872738 h 690"/>
              <a:gd name="T104" fmla="*/ 91217515 w 1037"/>
              <a:gd name="T105" fmla="*/ 57785580 h 690"/>
              <a:gd name="T106" fmla="*/ 80706864 w 1037"/>
              <a:gd name="T107" fmla="*/ 76772218 h 690"/>
              <a:gd name="T108" fmla="*/ 74888553 w 1037"/>
              <a:gd name="T109" fmla="*/ 100161532 h 690"/>
              <a:gd name="T110" fmla="*/ 62500706 w 1037"/>
              <a:gd name="T111" fmla="*/ 116946570 h 690"/>
              <a:gd name="T112" fmla="*/ 66630277 w 1037"/>
              <a:gd name="T113" fmla="*/ 136758873 h 690"/>
              <a:gd name="T114" fmla="*/ 66442254 w 1037"/>
              <a:gd name="T115" fmla="*/ 153543911 h 690"/>
              <a:gd name="T116" fmla="*/ 62125526 w 1037"/>
              <a:gd name="T117" fmla="*/ 169228936 h 690"/>
              <a:gd name="T118" fmla="*/ 55368834 w 1037"/>
              <a:gd name="T119" fmla="*/ 177484018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26" name="Freeform 228">
            <a:extLst>
              <a:ext uri="{FF2B5EF4-FFF2-40B4-BE49-F238E27FC236}">
                <a16:creationId xmlns:a16="http://schemas.microsoft.com/office/drawing/2014/main" id="{850AE62E-01EB-470E-BF71-D5DF2438E5A2}"/>
              </a:ext>
            </a:extLst>
          </p:cNvPr>
          <p:cNvSpPr>
            <a:spLocks/>
          </p:cNvSpPr>
          <p:nvPr>
            <p:custDataLst>
              <p:tags r:id="rId155"/>
            </p:custDataLst>
          </p:nvPr>
        </p:nvSpPr>
        <p:spPr bwMode="auto">
          <a:xfrm>
            <a:off x="6003113" y="2526369"/>
            <a:ext cx="68934" cy="117903"/>
          </a:xfrm>
          <a:custGeom>
            <a:avLst/>
            <a:gdLst>
              <a:gd name="T0" fmla="*/ 20181841 w 120"/>
              <a:gd name="T1" fmla="*/ 27084381 h 173"/>
              <a:gd name="T2" fmla="*/ 15472663 w 120"/>
              <a:gd name="T3" fmla="*/ 16414760 h 173"/>
              <a:gd name="T4" fmla="*/ 11772741 w 120"/>
              <a:gd name="T5" fmla="*/ 7660012 h 173"/>
              <a:gd name="T6" fmla="*/ 10090921 w 120"/>
              <a:gd name="T7" fmla="*/ 4377374 h 173"/>
              <a:gd name="T8" fmla="*/ 8913524 w 120"/>
              <a:gd name="T9" fmla="*/ 2188425 h 173"/>
              <a:gd name="T10" fmla="*/ 8072819 w 120"/>
              <a:gd name="T11" fmla="*/ 1094213 h 173"/>
              <a:gd name="T12" fmla="*/ 7568396 w 120"/>
              <a:gd name="T13" fmla="*/ 547106 h 173"/>
              <a:gd name="T14" fmla="*/ 7231703 w 120"/>
              <a:gd name="T15" fmla="*/ 273553 h 173"/>
              <a:gd name="T16" fmla="*/ 6559139 w 120"/>
              <a:gd name="T17" fmla="*/ 0 h 173"/>
              <a:gd name="T18" fmla="*/ 5549883 w 120"/>
              <a:gd name="T19" fmla="*/ 0 h 173"/>
              <a:gd name="T20" fmla="*/ 4541037 w 120"/>
              <a:gd name="T21" fmla="*/ 273553 h 173"/>
              <a:gd name="T22" fmla="*/ 4036204 w 120"/>
              <a:gd name="T23" fmla="*/ 820660 h 173"/>
              <a:gd name="T24" fmla="*/ 3531781 w 120"/>
              <a:gd name="T25" fmla="*/ 1367766 h 173"/>
              <a:gd name="T26" fmla="*/ 3195499 w 120"/>
              <a:gd name="T27" fmla="*/ 2188425 h 173"/>
              <a:gd name="T28" fmla="*/ 2691076 w 120"/>
              <a:gd name="T29" fmla="*/ 3283161 h 173"/>
              <a:gd name="T30" fmla="*/ 2522935 w 120"/>
              <a:gd name="T31" fmla="*/ 4103821 h 173"/>
              <a:gd name="T32" fmla="*/ 2522935 w 120"/>
              <a:gd name="T33" fmla="*/ 5471587 h 173"/>
              <a:gd name="T34" fmla="*/ 2354384 w 120"/>
              <a:gd name="T35" fmla="*/ 8207119 h 173"/>
              <a:gd name="T36" fmla="*/ 2018102 w 120"/>
              <a:gd name="T37" fmla="*/ 11490280 h 173"/>
              <a:gd name="T38" fmla="*/ 1681820 w 120"/>
              <a:gd name="T39" fmla="*/ 13131599 h 173"/>
              <a:gd name="T40" fmla="*/ 1345538 w 120"/>
              <a:gd name="T41" fmla="*/ 14772918 h 173"/>
              <a:gd name="T42" fmla="*/ 672564 w 120"/>
              <a:gd name="T43" fmla="*/ 16688313 h 173"/>
              <a:gd name="T44" fmla="*/ 0 w 120"/>
              <a:gd name="T45" fmla="*/ 18603186 h 173"/>
              <a:gd name="T46" fmla="*/ 841115 w 120"/>
              <a:gd name="T47" fmla="*/ 22433453 h 173"/>
              <a:gd name="T48" fmla="*/ 1681820 w 120"/>
              <a:gd name="T49" fmla="*/ 27084381 h 173"/>
              <a:gd name="T50" fmla="*/ 2522935 w 120"/>
              <a:gd name="T51" fmla="*/ 31461232 h 173"/>
              <a:gd name="T52" fmla="*/ 3363640 w 120"/>
              <a:gd name="T53" fmla="*/ 35291499 h 173"/>
              <a:gd name="T54" fmla="*/ 4036204 w 120"/>
              <a:gd name="T55" fmla="*/ 36659265 h 173"/>
              <a:gd name="T56" fmla="*/ 5045460 w 120"/>
              <a:gd name="T57" fmla="*/ 38027031 h 173"/>
              <a:gd name="T58" fmla="*/ 6222857 w 120"/>
              <a:gd name="T59" fmla="*/ 39668873 h 173"/>
              <a:gd name="T60" fmla="*/ 7736537 w 120"/>
              <a:gd name="T61" fmla="*/ 41310192 h 173"/>
              <a:gd name="T62" fmla="*/ 9081665 w 120"/>
              <a:gd name="T63" fmla="*/ 42951511 h 173"/>
              <a:gd name="T64" fmla="*/ 10090921 w 120"/>
              <a:gd name="T65" fmla="*/ 44593354 h 173"/>
              <a:gd name="T66" fmla="*/ 10427203 w 120"/>
              <a:gd name="T67" fmla="*/ 45140460 h 173"/>
              <a:gd name="T68" fmla="*/ 10932036 w 120"/>
              <a:gd name="T69" fmla="*/ 45961119 h 173"/>
              <a:gd name="T70" fmla="*/ 11100177 w 120"/>
              <a:gd name="T71" fmla="*/ 46508226 h 173"/>
              <a:gd name="T72" fmla="*/ 11268318 w 120"/>
              <a:gd name="T73" fmla="*/ 47328885 h 173"/>
              <a:gd name="T74" fmla="*/ 12781997 w 120"/>
              <a:gd name="T75" fmla="*/ 45687566 h 173"/>
              <a:gd name="T76" fmla="*/ 14463817 w 120"/>
              <a:gd name="T77" fmla="*/ 43772171 h 173"/>
              <a:gd name="T78" fmla="*/ 15640804 w 120"/>
              <a:gd name="T79" fmla="*/ 41583745 h 173"/>
              <a:gd name="T80" fmla="*/ 16986342 w 120"/>
              <a:gd name="T81" fmla="*/ 38848214 h 173"/>
              <a:gd name="T82" fmla="*/ 17827457 w 120"/>
              <a:gd name="T83" fmla="*/ 36112159 h 173"/>
              <a:gd name="T84" fmla="*/ 18836303 w 120"/>
              <a:gd name="T85" fmla="*/ 33103074 h 173"/>
              <a:gd name="T86" fmla="*/ 19509277 w 120"/>
              <a:gd name="T87" fmla="*/ 30093466 h 173"/>
              <a:gd name="T88" fmla="*/ 20181841 w 120"/>
              <a:gd name="T89" fmla="*/ 27084381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FCD5B5"/>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27" name="Freeform 229">
            <a:extLst>
              <a:ext uri="{FF2B5EF4-FFF2-40B4-BE49-F238E27FC236}">
                <a16:creationId xmlns:a16="http://schemas.microsoft.com/office/drawing/2014/main" id="{DFB8AEA3-7C34-4216-9D46-F70C7C59EF90}"/>
              </a:ext>
            </a:extLst>
          </p:cNvPr>
          <p:cNvSpPr>
            <a:spLocks/>
          </p:cNvSpPr>
          <p:nvPr>
            <p:custDataLst>
              <p:tags r:id="rId156"/>
            </p:custDataLst>
          </p:nvPr>
        </p:nvSpPr>
        <p:spPr bwMode="auto">
          <a:xfrm>
            <a:off x="5595772" y="2316988"/>
            <a:ext cx="116979" cy="77247"/>
          </a:xfrm>
          <a:custGeom>
            <a:avLst/>
            <a:gdLst>
              <a:gd name="T0" fmla="*/ 35395174 w 200"/>
              <a:gd name="T1" fmla="*/ 19758145 h 98"/>
              <a:gd name="T2" fmla="*/ 34510473 w 200"/>
              <a:gd name="T3" fmla="*/ 20117765 h 98"/>
              <a:gd name="T4" fmla="*/ 32917339 w 200"/>
              <a:gd name="T5" fmla="*/ 21554449 h 98"/>
              <a:gd name="T6" fmla="*/ 31324626 w 200"/>
              <a:gd name="T7" fmla="*/ 23350752 h 98"/>
              <a:gd name="T8" fmla="*/ 29378116 w 200"/>
              <a:gd name="T9" fmla="*/ 26224719 h 98"/>
              <a:gd name="T10" fmla="*/ 27431186 w 200"/>
              <a:gd name="T11" fmla="*/ 28739065 h 98"/>
              <a:gd name="T12" fmla="*/ 25661364 w 200"/>
              <a:gd name="T13" fmla="*/ 31254010 h 98"/>
              <a:gd name="T14" fmla="*/ 24245759 w 200"/>
              <a:gd name="T15" fmla="*/ 33409335 h 98"/>
              <a:gd name="T16" fmla="*/ 23537746 w 200"/>
              <a:gd name="T17" fmla="*/ 35205639 h 98"/>
              <a:gd name="T18" fmla="*/ 22475937 w 200"/>
              <a:gd name="T19" fmla="*/ 35205639 h 98"/>
              <a:gd name="T20" fmla="*/ 21591237 w 200"/>
              <a:gd name="T21" fmla="*/ 35205639 h 98"/>
              <a:gd name="T22" fmla="*/ 20529007 w 200"/>
              <a:gd name="T23" fmla="*/ 34846618 h 98"/>
              <a:gd name="T24" fmla="*/ 19644307 w 200"/>
              <a:gd name="T25" fmla="*/ 34127977 h 98"/>
              <a:gd name="T26" fmla="*/ 18759606 w 200"/>
              <a:gd name="T27" fmla="*/ 33409335 h 98"/>
              <a:gd name="T28" fmla="*/ 18228702 w 200"/>
              <a:gd name="T29" fmla="*/ 31613031 h 98"/>
              <a:gd name="T30" fmla="*/ 17874485 w 200"/>
              <a:gd name="T31" fmla="*/ 29457706 h 98"/>
              <a:gd name="T32" fmla="*/ 17697797 w 200"/>
              <a:gd name="T33" fmla="*/ 26583740 h 98"/>
              <a:gd name="T34" fmla="*/ 16104663 w 200"/>
              <a:gd name="T35" fmla="*/ 28739065 h 98"/>
              <a:gd name="T36" fmla="*/ 14511950 w 200"/>
              <a:gd name="T37" fmla="*/ 30894989 h 98"/>
              <a:gd name="T38" fmla="*/ 13803937 w 200"/>
              <a:gd name="T39" fmla="*/ 32331673 h 98"/>
              <a:gd name="T40" fmla="*/ 12742128 w 200"/>
              <a:gd name="T41" fmla="*/ 33409335 h 98"/>
              <a:gd name="T42" fmla="*/ 11857427 w 200"/>
              <a:gd name="T43" fmla="*/ 34486998 h 98"/>
              <a:gd name="T44" fmla="*/ 10618510 w 200"/>
              <a:gd name="T45" fmla="*/ 35205639 h 98"/>
              <a:gd name="T46" fmla="*/ 6902179 w 200"/>
              <a:gd name="T47" fmla="*/ 35205639 h 98"/>
              <a:gd name="T48" fmla="*/ 6017058 w 200"/>
              <a:gd name="T49" fmla="*/ 35205639 h 98"/>
              <a:gd name="T50" fmla="*/ 4955249 w 200"/>
              <a:gd name="T51" fmla="*/ 34127977 h 98"/>
              <a:gd name="T52" fmla="*/ 3893440 w 200"/>
              <a:gd name="T53" fmla="*/ 33050314 h 98"/>
              <a:gd name="T54" fmla="*/ 2654522 w 200"/>
              <a:gd name="T55" fmla="*/ 31972652 h 98"/>
              <a:gd name="T56" fmla="*/ 1592713 w 200"/>
              <a:gd name="T57" fmla="*/ 30535369 h 98"/>
              <a:gd name="T58" fmla="*/ 708013 w 200"/>
              <a:gd name="T59" fmla="*/ 29098685 h 98"/>
              <a:gd name="T60" fmla="*/ 177108 w 200"/>
              <a:gd name="T61" fmla="*/ 27661402 h 98"/>
              <a:gd name="T62" fmla="*/ 0 w 200"/>
              <a:gd name="T63" fmla="*/ 26583740 h 98"/>
              <a:gd name="T64" fmla="*/ 884701 w 200"/>
              <a:gd name="T65" fmla="*/ 25506077 h 98"/>
              <a:gd name="T66" fmla="*/ 1769822 w 200"/>
              <a:gd name="T67" fmla="*/ 24069394 h 98"/>
              <a:gd name="T68" fmla="*/ 2477835 w 200"/>
              <a:gd name="T69" fmla="*/ 21554449 h 98"/>
              <a:gd name="T70" fmla="*/ 3539644 w 200"/>
              <a:gd name="T71" fmla="*/ 19039503 h 98"/>
              <a:gd name="T72" fmla="*/ 4070548 w 200"/>
              <a:gd name="T73" fmla="*/ 16166136 h 98"/>
              <a:gd name="T74" fmla="*/ 4778140 w 200"/>
              <a:gd name="T75" fmla="*/ 13292170 h 98"/>
              <a:gd name="T76" fmla="*/ 5309465 w 200"/>
              <a:gd name="T77" fmla="*/ 10058583 h 98"/>
              <a:gd name="T78" fmla="*/ 5840370 w 200"/>
              <a:gd name="T79" fmla="*/ 6825595 h 98"/>
              <a:gd name="T80" fmla="*/ 11680319 w 200"/>
              <a:gd name="T81" fmla="*/ 5029291 h 98"/>
              <a:gd name="T82" fmla="*/ 18228702 w 200"/>
              <a:gd name="T83" fmla="*/ 3232987 h 98"/>
              <a:gd name="T84" fmla="*/ 25661364 w 200"/>
              <a:gd name="T85" fmla="*/ 1436684 h 98"/>
              <a:gd name="T86" fmla="*/ 34156257 w 200"/>
              <a:gd name="T87" fmla="*/ 0 h 98"/>
              <a:gd name="T88" fmla="*/ 29378116 w 200"/>
              <a:gd name="T89" fmla="*/ 11136245 h 98"/>
              <a:gd name="T90" fmla="*/ 29378116 w 200"/>
              <a:gd name="T91" fmla="*/ 12213908 h 98"/>
              <a:gd name="T92" fmla="*/ 29023900 w 200"/>
              <a:gd name="T93" fmla="*/ 13292170 h 98"/>
              <a:gd name="T94" fmla="*/ 28670103 w 200"/>
              <a:gd name="T95" fmla="*/ 14010212 h 98"/>
              <a:gd name="T96" fmla="*/ 28492995 w 200"/>
              <a:gd name="T97" fmla="*/ 14728853 h 98"/>
              <a:gd name="T98" fmla="*/ 27785403 w 200"/>
              <a:gd name="T99" fmla="*/ 16166136 h 98"/>
              <a:gd name="T100" fmla="*/ 27608294 w 200"/>
              <a:gd name="T101" fmla="*/ 16884178 h 98"/>
              <a:gd name="T102" fmla="*/ 27608294 w 200"/>
              <a:gd name="T103" fmla="*/ 17602820 h 98"/>
              <a:gd name="T104" fmla="*/ 27785403 w 200"/>
              <a:gd name="T105" fmla="*/ 17961841 h 98"/>
              <a:gd name="T106" fmla="*/ 28139199 w 200"/>
              <a:gd name="T107" fmla="*/ 17961841 h 98"/>
              <a:gd name="T108" fmla="*/ 28847212 w 200"/>
              <a:gd name="T109" fmla="*/ 18321461 h 98"/>
              <a:gd name="T110" fmla="*/ 31324626 w 200"/>
              <a:gd name="T111" fmla="*/ 19039503 h 98"/>
              <a:gd name="T112" fmla="*/ 35395174 w 200"/>
              <a:gd name="T113" fmla="*/ 19758145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28" name="Freeform 230">
            <a:extLst>
              <a:ext uri="{FF2B5EF4-FFF2-40B4-BE49-F238E27FC236}">
                <a16:creationId xmlns:a16="http://schemas.microsoft.com/office/drawing/2014/main" id="{A9D3032E-F07B-4E12-A465-60A07DA4BCBD}"/>
              </a:ext>
            </a:extLst>
          </p:cNvPr>
          <p:cNvSpPr>
            <a:spLocks/>
          </p:cNvSpPr>
          <p:nvPr>
            <p:custDataLst>
              <p:tags r:id="rId157"/>
            </p:custDataLst>
          </p:nvPr>
        </p:nvSpPr>
        <p:spPr bwMode="auto">
          <a:xfrm>
            <a:off x="5510127" y="2083213"/>
            <a:ext cx="116979" cy="93510"/>
          </a:xfrm>
          <a:custGeom>
            <a:avLst/>
            <a:gdLst>
              <a:gd name="T0" fmla="*/ 0 w 186"/>
              <a:gd name="T1" fmla="*/ 29619866 h 142"/>
              <a:gd name="T2" fmla="*/ 409381 w 186"/>
              <a:gd name="T3" fmla="*/ 30677700 h 142"/>
              <a:gd name="T4" fmla="*/ 613846 w 186"/>
              <a:gd name="T5" fmla="*/ 28297702 h 142"/>
              <a:gd name="T6" fmla="*/ 613846 w 186"/>
              <a:gd name="T7" fmla="*/ 24595026 h 142"/>
              <a:gd name="T8" fmla="*/ 1841537 w 186"/>
              <a:gd name="T9" fmla="*/ 21685854 h 142"/>
              <a:gd name="T10" fmla="*/ 3478609 w 186"/>
              <a:gd name="T11" fmla="*/ 18248022 h 142"/>
              <a:gd name="T12" fmla="*/ 4092454 w 186"/>
              <a:gd name="T13" fmla="*/ 14810190 h 142"/>
              <a:gd name="T14" fmla="*/ 4706300 w 186"/>
              <a:gd name="T15" fmla="*/ 12165348 h 142"/>
              <a:gd name="T16" fmla="*/ 5729526 w 186"/>
              <a:gd name="T17" fmla="*/ 9785350 h 142"/>
              <a:gd name="T18" fmla="*/ 7161682 w 186"/>
              <a:gd name="T19" fmla="*/ 8462672 h 142"/>
              <a:gd name="T20" fmla="*/ 8389825 w 186"/>
              <a:gd name="T21" fmla="*/ 10049680 h 142"/>
              <a:gd name="T22" fmla="*/ 8798754 w 186"/>
              <a:gd name="T23" fmla="*/ 12958852 h 142"/>
              <a:gd name="T24" fmla="*/ 9617516 w 186"/>
              <a:gd name="T25" fmla="*/ 15338850 h 142"/>
              <a:gd name="T26" fmla="*/ 11254588 w 186"/>
              <a:gd name="T27" fmla="*/ 17190188 h 142"/>
              <a:gd name="T28" fmla="*/ 17802425 w 186"/>
              <a:gd name="T29" fmla="*/ 17718848 h 142"/>
              <a:gd name="T30" fmla="*/ 16165353 w 186"/>
              <a:gd name="T31" fmla="*/ 10843184 h 142"/>
              <a:gd name="T32" fmla="*/ 14118899 w 186"/>
              <a:gd name="T33" fmla="*/ 9520506 h 142"/>
              <a:gd name="T34" fmla="*/ 12891208 w 186"/>
              <a:gd name="T35" fmla="*/ 7934012 h 142"/>
              <a:gd name="T36" fmla="*/ 12482279 w 186"/>
              <a:gd name="T37" fmla="*/ 6082674 h 142"/>
              <a:gd name="T38" fmla="*/ 14323816 w 186"/>
              <a:gd name="T39" fmla="*/ 4495666 h 142"/>
              <a:gd name="T40" fmla="*/ 17802425 w 186"/>
              <a:gd name="T41" fmla="*/ 3702676 h 142"/>
              <a:gd name="T42" fmla="*/ 20053342 w 186"/>
              <a:gd name="T43" fmla="*/ 2644842 h 142"/>
              <a:gd name="T44" fmla="*/ 22713189 w 186"/>
              <a:gd name="T45" fmla="*/ 1587008 h 142"/>
              <a:gd name="T46" fmla="*/ 26601179 w 186"/>
              <a:gd name="T47" fmla="*/ 793504 h 142"/>
              <a:gd name="T48" fmla="*/ 30079787 w 186"/>
              <a:gd name="T49" fmla="*/ 264330 h 142"/>
              <a:gd name="T50" fmla="*/ 32535169 w 186"/>
              <a:gd name="T51" fmla="*/ 529174 h 142"/>
              <a:gd name="T52" fmla="*/ 36013778 w 186"/>
              <a:gd name="T53" fmla="*/ 264330 h 142"/>
              <a:gd name="T54" fmla="*/ 37446386 w 186"/>
              <a:gd name="T55" fmla="*/ 2644842 h 142"/>
              <a:gd name="T56" fmla="*/ 36423159 w 186"/>
              <a:gd name="T57" fmla="*/ 6876178 h 142"/>
              <a:gd name="T58" fmla="*/ 34581623 w 186"/>
              <a:gd name="T59" fmla="*/ 10578340 h 142"/>
              <a:gd name="T60" fmla="*/ 32535169 w 186"/>
              <a:gd name="T61" fmla="*/ 13487512 h 142"/>
              <a:gd name="T62" fmla="*/ 31716860 w 186"/>
              <a:gd name="T63" fmla="*/ 16661014 h 142"/>
              <a:gd name="T64" fmla="*/ 31307478 w 186"/>
              <a:gd name="T65" fmla="*/ 20099360 h 142"/>
              <a:gd name="T66" fmla="*/ 24555178 w 186"/>
              <a:gd name="T67" fmla="*/ 37553878 h 142"/>
              <a:gd name="T68" fmla="*/ 16369817 w 186"/>
              <a:gd name="T69" fmla="*/ 32264708 h 142"/>
              <a:gd name="T70" fmla="*/ 7161682 w 186"/>
              <a:gd name="T71" fmla="*/ 30942030 h 142"/>
              <a:gd name="T72" fmla="*/ 1637072 w 186"/>
              <a:gd name="T73" fmla="*/ 29884196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29" name="Freeform 231">
            <a:extLst>
              <a:ext uri="{FF2B5EF4-FFF2-40B4-BE49-F238E27FC236}">
                <a16:creationId xmlns:a16="http://schemas.microsoft.com/office/drawing/2014/main" id="{DDEBB3D7-DBEE-4033-8ACE-F9C0208322D2}"/>
              </a:ext>
            </a:extLst>
          </p:cNvPr>
          <p:cNvSpPr>
            <a:spLocks/>
          </p:cNvSpPr>
          <p:nvPr>
            <p:custDataLst>
              <p:tags r:id="rId158"/>
            </p:custDataLst>
          </p:nvPr>
        </p:nvSpPr>
        <p:spPr bwMode="auto">
          <a:xfrm>
            <a:off x="5482970" y="2164526"/>
            <a:ext cx="116979" cy="75213"/>
          </a:xfrm>
          <a:custGeom>
            <a:avLst/>
            <a:gdLst>
              <a:gd name="T0" fmla="*/ 36870849 w 192"/>
              <a:gd name="T1" fmla="*/ 18070830 h 105"/>
              <a:gd name="T2" fmla="*/ 36294592 w 192"/>
              <a:gd name="T3" fmla="*/ 18367466 h 105"/>
              <a:gd name="T4" fmla="*/ 35334454 w 192"/>
              <a:gd name="T5" fmla="*/ 18663557 h 105"/>
              <a:gd name="T6" fmla="*/ 34566257 w 192"/>
              <a:gd name="T7" fmla="*/ 18959649 h 105"/>
              <a:gd name="T8" fmla="*/ 33990437 w 192"/>
              <a:gd name="T9" fmla="*/ 19848467 h 105"/>
              <a:gd name="T10" fmla="*/ 32262103 w 192"/>
              <a:gd name="T11" fmla="*/ 21330013 h 105"/>
              <a:gd name="T12" fmla="*/ 30725708 w 192"/>
              <a:gd name="T13" fmla="*/ 23403741 h 105"/>
              <a:gd name="T14" fmla="*/ 29573631 w 192"/>
              <a:gd name="T15" fmla="*/ 25477470 h 105"/>
              <a:gd name="T16" fmla="*/ 28229175 w 192"/>
              <a:gd name="T17" fmla="*/ 27551199 h 105"/>
              <a:gd name="T18" fmla="*/ 27460978 w 192"/>
              <a:gd name="T19" fmla="*/ 29328291 h 105"/>
              <a:gd name="T20" fmla="*/ 26692781 w 192"/>
              <a:gd name="T21" fmla="*/ 31105929 h 105"/>
              <a:gd name="T22" fmla="*/ 23044171 w 192"/>
              <a:gd name="T23" fmla="*/ 28736109 h 105"/>
              <a:gd name="T24" fmla="*/ 19587502 w 192"/>
              <a:gd name="T25" fmla="*/ 26365744 h 105"/>
              <a:gd name="T26" fmla="*/ 16515150 w 192"/>
              <a:gd name="T27" fmla="*/ 23699833 h 105"/>
              <a:gd name="T28" fmla="*/ 13250420 w 192"/>
              <a:gd name="T29" fmla="*/ 21033377 h 105"/>
              <a:gd name="T30" fmla="*/ 10178069 w 192"/>
              <a:gd name="T31" fmla="*/ 18070830 h 105"/>
              <a:gd name="T32" fmla="*/ 6913339 w 192"/>
              <a:gd name="T33" fmla="*/ 15701010 h 105"/>
              <a:gd name="T34" fmla="*/ 3648609 w 192"/>
              <a:gd name="T35" fmla="*/ 13035099 h 105"/>
              <a:gd name="T36" fmla="*/ 0 w 192"/>
              <a:gd name="T37" fmla="*/ 10961370 h 105"/>
              <a:gd name="T38" fmla="*/ 0 w 192"/>
              <a:gd name="T39" fmla="*/ 3851366 h 105"/>
              <a:gd name="T40" fmla="*/ 1344455 w 192"/>
              <a:gd name="T41" fmla="*/ 2073729 h 105"/>
              <a:gd name="T42" fmla="*/ 3072790 w 192"/>
              <a:gd name="T43" fmla="*/ 1184910 h 105"/>
              <a:gd name="T44" fmla="*/ 5568884 w 192"/>
              <a:gd name="T45" fmla="*/ 296091 h 105"/>
              <a:gd name="T46" fmla="*/ 7681536 w 192"/>
              <a:gd name="T47" fmla="*/ 0 h 105"/>
              <a:gd name="T48" fmla="*/ 11522086 w 192"/>
              <a:gd name="T49" fmla="*/ 592727 h 105"/>
              <a:gd name="T50" fmla="*/ 17859167 w 192"/>
              <a:gd name="T51" fmla="*/ 1481001 h 105"/>
              <a:gd name="T52" fmla="*/ 21315836 w 192"/>
              <a:gd name="T53" fmla="*/ 2073729 h 105"/>
              <a:gd name="T54" fmla="*/ 24580566 w 192"/>
              <a:gd name="T55" fmla="*/ 2073729 h 105"/>
              <a:gd name="T56" fmla="*/ 27460978 w 192"/>
              <a:gd name="T57" fmla="*/ 2073729 h 105"/>
              <a:gd name="T58" fmla="*/ 29381253 w 192"/>
              <a:gd name="T59" fmla="*/ 1777637 h 105"/>
              <a:gd name="T60" fmla="*/ 29765570 w 192"/>
              <a:gd name="T61" fmla="*/ 3258639 h 105"/>
              <a:gd name="T62" fmla="*/ 30533768 w 192"/>
              <a:gd name="T63" fmla="*/ 5036276 h 105"/>
              <a:gd name="T64" fmla="*/ 30917647 w 192"/>
              <a:gd name="T65" fmla="*/ 5925094 h 105"/>
              <a:gd name="T66" fmla="*/ 31493905 w 192"/>
              <a:gd name="T67" fmla="*/ 6813913 h 105"/>
              <a:gd name="T68" fmla="*/ 31685845 w 192"/>
              <a:gd name="T69" fmla="*/ 7998823 h 105"/>
              <a:gd name="T70" fmla="*/ 31877785 w 192"/>
              <a:gd name="T71" fmla="*/ 9183733 h 105"/>
              <a:gd name="T72" fmla="*/ 32645982 w 192"/>
              <a:gd name="T73" fmla="*/ 9479824 h 105"/>
              <a:gd name="T74" fmla="*/ 33990437 w 192"/>
              <a:gd name="T75" fmla="*/ 9775916 h 105"/>
              <a:gd name="T76" fmla="*/ 34566257 w 192"/>
              <a:gd name="T77" fmla="*/ 10072551 h 105"/>
              <a:gd name="T78" fmla="*/ 35142514 w 192"/>
              <a:gd name="T79" fmla="*/ 10072551 h 105"/>
              <a:gd name="T80" fmla="*/ 36102652 w 192"/>
              <a:gd name="T81" fmla="*/ 9775916 h 105"/>
              <a:gd name="T82" fmla="*/ 36870849 w 192"/>
              <a:gd name="T83" fmla="*/ 9183733 h 105"/>
              <a:gd name="T84" fmla="*/ 36870849 w 192"/>
              <a:gd name="T85" fmla="*/ 18070830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30" name="Freeform 232">
            <a:extLst>
              <a:ext uri="{FF2B5EF4-FFF2-40B4-BE49-F238E27FC236}">
                <a16:creationId xmlns:a16="http://schemas.microsoft.com/office/drawing/2014/main" id="{E8F6AAB7-FC3E-4DB6-AE46-2F6AECA7D934}"/>
              </a:ext>
            </a:extLst>
          </p:cNvPr>
          <p:cNvSpPr>
            <a:spLocks/>
          </p:cNvSpPr>
          <p:nvPr>
            <p:custDataLst>
              <p:tags r:id="rId159"/>
            </p:custDataLst>
          </p:nvPr>
        </p:nvSpPr>
        <p:spPr bwMode="auto">
          <a:xfrm>
            <a:off x="6542055" y="2884147"/>
            <a:ext cx="45956" cy="172789"/>
          </a:xfrm>
          <a:custGeom>
            <a:avLst/>
            <a:gdLst>
              <a:gd name="T0" fmla="*/ 5730630 w 80"/>
              <a:gd name="T1" fmla="*/ 0 h 254"/>
              <a:gd name="T2" fmla="*/ 6424873 w 80"/>
              <a:gd name="T3" fmla="*/ 537942 h 254"/>
              <a:gd name="T4" fmla="*/ 6946181 w 80"/>
              <a:gd name="T5" fmla="*/ 1076402 h 254"/>
              <a:gd name="T6" fmla="*/ 7467071 w 80"/>
              <a:gd name="T7" fmla="*/ 1883574 h 254"/>
              <a:gd name="T8" fmla="*/ 7987962 w 80"/>
              <a:gd name="T9" fmla="*/ 2690746 h 254"/>
              <a:gd name="T10" fmla="*/ 9029743 w 80"/>
              <a:gd name="T11" fmla="*/ 4843550 h 254"/>
              <a:gd name="T12" fmla="*/ 9724403 w 80"/>
              <a:gd name="T13" fmla="*/ 6727643 h 254"/>
              <a:gd name="T14" fmla="*/ 10766184 w 80"/>
              <a:gd name="T15" fmla="*/ 8611217 h 254"/>
              <a:gd name="T16" fmla="*/ 11634613 w 80"/>
              <a:gd name="T17" fmla="*/ 10225561 h 254"/>
              <a:gd name="T18" fmla="*/ 12155504 w 80"/>
              <a:gd name="T19" fmla="*/ 10764022 h 254"/>
              <a:gd name="T20" fmla="*/ 12676394 w 80"/>
              <a:gd name="T21" fmla="*/ 11301963 h 254"/>
              <a:gd name="T22" fmla="*/ 13197285 w 80"/>
              <a:gd name="T23" fmla="*/ 11571194 h 254"/>
              <a:gd name="T24" fmla="*/ 13891945 w 80"/>
              <a:gd name="T25" fmla="*/ 11840424 h 254"/>
              <a:gd name="T26" fmla="*/ 13891945 w 80"/>
              <a:gd name="T27" fmla="*/ 14262458 h 254"/>
              <a:gd name="T28" fmla="*/ 13891945 w 80"/>
              <a:gd name="T29" fmla="*/ 16683974 h 254"/>
              <a:gd name="T30" fmla="*/ 9203512 w 80"/>
              <a:gd name="T31" fmla="*/ 68351278 h 254"/>
              <a:gd name="T32" fmla="*/ 0 w 80"/>
              <a:gd name="T33" fmla="*/ 25026480 h 254"/>
              <a:gd name="T34" fmla="*/ 694660 w 80"/>
              <a:gd name="T35" fmla="*/ 23680848 h 254"/>
              <a:gd name="T36" fmla="*/ 1910210 w 80"/>
              <a:gd name="T37" fmla="*/ 19106009 h 254"/>
              <a:gd name="T38" fmla="*/ 2951991 w 80"/>
              <a:gd name="T39" fmla="*/ 15338861 h 254"/>
              <a:gd name="T40" fmla="*/ 3820420 w 80"/>
              <a:gd name="T41" fmla="*/ 11033252 h 254"/>
              <a:gd name="T42" fmla="*/ 4862201 w 80"/>
              <a:gd name="T43" fmla="*/ 6189183 h 254"/>
              <a:gd name="T44" fmla="*/ 5730630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31" name="Freeform 233">
            <a:extLst>
              <a:ext uri="{FF2B5EF4-FFF2-40B4-BE49-F238E27FC236}">
                <a16:creationId xmlns:a16="http://schemas.microsoft.com/office/drawing/2014/main" id="{B6FEC901-91DD-4A67-8D7E-C24740FB02ED}"/>
              </a:ext>
            </a:extLst>
          </p:cNvPr>
          <p:cNvSpPr>
            <a:spLocks/>
          </p:cNvSpPr>
          <p:nvPr>
            <p:custDataLst>
              <p:tags r:id="rId160"/>
            </p:custDataLst>
          </p:nvPr>
        </p:nvSpPr>
        <p:spPr bwMode="auto">
          <a:xfrm>
            <a:off x="6471032" y="2953263"/>
            <a:ext cx="98179" cy="168724"/>
          </a:xfrm>
          <a:custGeom>
            <a:avLst/>
            <a:gdLst>
              <a:gd name="T0" fmla="*/ 19943639 w 167"/>
              <a:gd name="T1" fmla="*/ 0 h 259"/>
              <a:gd name="T2" fmla="*/ 29215704 w 167"/>
              <a:gd name="T3" fmla="*/ 39155032 h 259"/>
              <a:gd name="T4" fmla="*/ 21168314 w 167"/>
              <a:gd name="T5" fmla="*/ 65426759 h 259"/>
              <a:gd name="T6" fmla="*/ 19768805 w 167"/>
              <a:gd name="T7" fmla="*/ 65426759 h 259"/>
              <a:gd name="T8" fmla="*/ 18718963 w 167"/>
              <a:gd name="T9" fmla="*/ 64921640 h 259"/>
              <a:gd name="T10" fmla="*/ 17494288 w 167"/>
              <a:gd name="T11" fmla="*/ 64163710 h 259"/>
              <a:gd name="T12" fmla="*/ 16619699 w 167"/>
              <a:gd name="T13" fmla="*/ 63405780 h 259"/>
              <a:gd name="T14" fmla="*/ 15569858 w 167"/>
              <a:gd name="T15" fmla="*/ 61890422 h 259"/>
              <a:gd name="T16" fmla="*/ 14870103 w 167"/>
              <a:gd name="T17" fmla="*/ 60626870 h 259"/>
              <a:gd name="T18" fmla="*/ 13995514 w 167"/>
              <a:gd name="T19" fmla="*/ 59363821 h 259"/>
              <a:gd name="T20" fmla="*/ 13295759 w 167"/>
              <a:gd name="T21" fmla="*/ 57848463 h 259"/>
              <a:gd name="T22" fmla="*/ 12071084 w 167"/>
              <a:gd name="T23" fmla="*/ 54817245 h 259"/>
              <a:gd name="T24" fmla="*/ 11371329 w 167"/>
              <a:gd name="T25" fmla="*/ 51785525 h 259"/>
              <a:gd name="T26" fmla="*/ 10846408 w 167"/>
              <a:gd name="T27" fmla="*/ 49007118 h 259"/>
              <a:gd name="T28" fmla="*/ 10846408 w 167"/>
              <a:gd name="T29" fmla="*/ 46733328 h 259"/>
              <a:gd name="T30" fmla="*/ 9621733 w 167"/>
              <a:gd name="T31" fmla="*/ 46481019 h 259"/>
              <a:gd name="T32" fmla="*/ 8921978 w 167"/>
              <a:gd name="T33" fmla="*/ 46228208 h 259"/>
              <a:gd name="T34" fmla="*/ 7872555 w 167"/>
              <a:gd name="T35" fmla="*/ 45975397 h 259"/>
              <a:gd name="T36" fmla="*/ 7347634 w 167"/>
              <a:gd name="T37" fmla="*/ 45470278 h 259"/>
              <a:gd name="T38" fmla="*/ 6822714 w 167"/>
              <a:gd name="T39" fmla="*/ 44712348 h 259"/>
              <a:gd name="T40" fmla="*/ 6297793 w 167"/>
              <a:gd name="T41" fmla="*/ 43954418 h 259"/>
              <a:gd name="T42" fmla="*/ 5948125 w 167"/>
              <a:gd name="T43" fmla="*/ 42944180 h 259"/>
              <a:gd name="T44" fmla="*/ 5598038 w 167"/>
              <a:gd name="T45" fmla="*/ 42186250 h 259"/>
              <a:gd name="T46" fmla="*/ 5248370 w 167"/>
              <a:gd name="T47" fmla="*/ 39912962 h 259"/>
              <a:gd name="T48" fmla="*/ 5073536 w 167"/>
              <a:gd name="T49" fmla="*/ 37639171 h 259"/>
              <a:gd name="T50" fmla="*/ 4898284 w 167"/>
              <a:gd name="T51" fmla="*/ 35365884 h 259"/>
              <a:gd name="T52" fmla="*/ 4898284 w 167"/>
              <a:gd name="T53" fmla="*/ 32586974 h 259"/>
              <a:gd name="T54" fmla="*/ 3674026 w 167"/>
              <a:gd name="T55" fmla="*/ 32586974 h 259"/>
              <a:gd name="T56" fmla="*/ 2799019 w 167"/>
              <a:gd name="T57" fmla="*/ 32081855 h 259"/>
              <a:gd name="T58" fmla="*/ 1924430 w 167"/>
              <a:gd name="T59" fmla="*/ 31576736 h 259"/>
              <a:gd name="T60" fmla="*/ 1224675 w 167"/>
              <a:gd name="T61" fmla="*/ 30565995 h 259"/>
              <a:gd name="T62" fmla="*/ 874589 w 167"/>
              <a:gd name="T63" fmla="*/ 29555756 h 259"/>
              <a:gd name="T64" fmla="*/ 350087 w 167"/>
              <a:gd name="T65" fmla="*/ 28292707 h 259"/>
              <a:gd name="T66" fmla="*/ 0 w 167"/>
              <a:gd name="T67" fmla="*/ 27029658 h 259"/>
              <a:gd name="T68" fmla="*/ 0 w 167"/>
              <a:gd name="T69" fmla="*/ 25513797 h 259"/>
              <a:gd name="T70" fmla="*/ 0 w 167"/>
              <a:gd name="T71" fmla="*/ 18945740 h 259"/>
              <a:gd name="T72" fmla="*/ 174834 w 167"/>
              <a:gd name="T73" fmla="*/ 12630493 h 259"/>
              <a:gd name="T74" fmla="*/ 2099264 w 167"/>
              <a:gd name="T75" fmla="*/ 13136115 h 259"/>
              <a:gd name="T76" fmla="*/ 3848860 w 167"/>
              <a:gd name="T77" fmla="*/ 13388423 h 259"/>
              <a:gd name="T78" fmla="*/ 5598038 w 167"/>
              <a:gd name="T79" fmla="*/ 13388423 h 259"/>
              <a:gd name="T80" fmla="*/ 7347634 w 167"/>
              <a:gd name="T81" fmla="*/ 13136115 h 259"/>
              <a:gd name="T82" fmla="*/ 8747144 w 167"/>
              <a:gd name="T83" fmla="*/ 12883304 h 259"/>
              <a:gd name="T84" fmla="*/ 10146654 w 167"/>
              <a:gd name="T85" fmla="*/ 12378185 h 259"/>
              <a:gd name="T86" fmla="*/ 11546163 w 167"/>
              <a:gd name="T87" fmla="*/ 11872563 h 259"/>
              <a:gd name="T88" fmla="*/ 12770839 w 167"/>
              <a:gd name="T89" fmla="*/ 11115136 h 259"/>
              <a:gd name="T90" fmla="*/ 13820680 w 167"/>
              <a:gd name="T91" fmla="*/ 10104395 h 259"/>
              <a:gd name="T92" fmla="*/ 15045355 w 167"/>
              <a:gd name="T93" fmla="*/ 9094156 h 259"/>
              <a:gd name="T94" fmla="*/ 15919944 w 167"/>
              <a:gd name="T95" fmla="*/ 7831107 h 259"/>
              <a:gd name="T96" fmla="*/ 16969786 w 167"/>
              <a:gd name="T97" fmla="*/ 6568058 h 259"/>
              <a:gd name="T98" fmla="*/ 18718963 w 167"/>
              <a:gd name="T99" fmla="*/ 3284029 h 259"/>
              <a:gd name="T100" fmla="*/ 19943639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32" name="Freeform 234">
            <a:extLst>
              <a:ext uri="{FF2B5EF4-FFF2-40B4-BE49-F238E27FC236}">
                <a16:creationId xmlns:a16="http://schemas.microsoft.com/office/drawing/2014/main" id="{6FD30285-06BD-45F5-AA40-E92FC4D1EE7F}"/>
              </a:ext>
            </a:extLst>
          </p:cNvPr>
          <p:cNvSpPr>
            <a:spLocks/>
          </p:cNvSpPr>
          <p:nvPr>
            <p:custDataLst>
              <p:tags r:id="rId161"/>
            </p:custDataLst>
          </p:nvPr>
        </p:nvSpPr>
        <p:spPr bwMode="auto">
          <a:xfrm>
            <a:off x="5081896" y="1983604"/>
            <a:ext cx="133691" cy="187019"/>
          </a:xfrm>
          <a:custGeom>
            <a:avLst/>
            <a:gdLst>
              <a:gd name="T0" fmla="*/ 34268601 w 225"/>
              <a:gd name="T1" fmla="*/ 18761140 h 273"/>
              <a:gd name="T2" fmla="*/ 32046061 w 225"/>
              <a:gd name="T3" fmla="*/ 21841430 h 273"/>
              <a:gd name="T4" fmla="*/ 29452525 w 225"/>
              <a:gd name="T5" fmla="*/ 22961679 h 273"/>
              <a:gd name="T6" fmla="*/ 30193658 w 225"/>
              <a:gd name="T7" fmla="*/ 26041969 h 273"/>
              <a:gd name="T8" fmla="*/ 32231130 w 225"/>
              <a:gd name="T9" fmla="*/ 28281940 h 273"/>
              <a:gd name="T10" fmla="*/ 36121004 w 225"/>
              <a:gd name="T11" fmla="*/ 29402189 h 273"/>
              <a:gd name="T12" fmla="*/ 41678214 w 225"/>
              <a:gd name="T13" fmla="*/ 29682119 h 273"/>
              <a:gd name="T14" fmla="*/ 41678214 w 225"/>
              <a:gd name="T15" fmla="*/ 42563139 h 273"/>
              <a:gd name="T16" fmla="*/ 41493146 w 225"/>
              <a:gd name="T17" fmla="*/ 49283579 h 273"/>
              <a:gd name="T18" fmla="*/ 39825811 w 225"/>
              <a:gd name="T19" fmla="*/ 52363869 h 273"/>
              <a:gd name="T20" fmla="*/ 36491571 w 225"/>
              <a:gd name="T21" fmla="*/ 57404199 h 273"/>
              <a:gd name="T22" fmla="*/ 35565369 w 225"/>
              <a:gd name="T23" fmla="*/ 59924099 h 273"/>
              <a:gd name="T24" fmla="*/ 33157331 w 225"/>
              <a:gd name="T25" fmla="*/ 61044349 h 273"/>
              <a:gd name="T26" fmla="*/ 30378726 w 225"/>
              <a:gd name="T27" fmla="*/ 63004389 h 273"/>
              <a:gd name="T28" fmla="*/ 29452525 w 225"/>
              <a:gd name="T29" fmla="*/ 66084679 h 273"/>
              <a:gd name="T30" fmla="*/ 25933216 w 225"/>
              <a:gd name="T31" fmla="*/ 67764789 h 273"/>
              <a:gd name="T32" fmla="*/ 23710246 w 225"/>
              <a:gd name="T33" fmla="*/ 70564619 h 273"/>
              <a:gd name="T34" fmla="*/ 18709102 w 225"/>
              <a:gd name="T35" fmla="*/ 71404939 h 273"/>
              <a:gd name="T36" fmla="*/ 11113990 w 225"/>
              <a:gd name="T37" fmla="*/ 73085049 h 273"/>
              <a:gd name="T38" fmla="*/ 3519308 w 225"/>
              <a:gd name="T39" fmla="*/ 73085049 h 273"/>
              <a:gd name="T40" fmla="*/ 0 w 225"/>
              <a:gd name="T41" fmla="*/ 60764419 h 273"/>
              <a:gd name="T42" fmla="*/ 3889875 w 225"/>
              <a:gd name="T43" fmla="*/ 59364239 h 273"/>
              <a:gd name="T44" fmla="*/ 4816077 w 225"/>
              <a:gd name="T45" fmla="*/ 57404199 h 273"/>
              <a:gd name="T46" fmla="*/ 11113990 w 225"/>
              <a:gd name="T47" fmla="*/ 56563879 h 273"/>
              <a:gd name="T48" fmla="*/ 13336960 w 225"/>
              <a:gd name="T49" fmla="*/ 54043979 h 273"/>
              <a:gd name="T50" fmla="*/ 8891450 w 225"/>
              <a:gd name="T51" fmla="*/ 55443629 h 273"/>
              <a:gd name="T52" fmla="*/ 7409613 w 225"/>
              <a:gd name="T53" fmla="*/ 55163699 h 273"/>
              <a:gd name="T54" fmla="*/ 7224115 w 225"/>
              <a:gd name="T55" fmla="*/ 52643799 h 273"/>
              <a:gd name="T56" fmla="*/ 8520883 w 225"/>
              <a:gd name="T57" fmla="*/ 48443259 h 273"/>
              <a:gd name="T58" fmla="*/ 7224115 w 225"/>
              <a:gd name="T59" fmla="*/ 44803109 h 273"/>
              <a:gd name="T60" fmla="*/ 2593106 w 225"/>
              <a:gd name="T61" fmla="*/ 42002750 h 273"/>
              <a:gd name="T62" fmla="*/ 1111270 w 225"/>
              <a:gd name="T63" fmla="*/ 36402559 h 273"/>
              <a:gd name="T64" fmla="*/ 4075373 w 225"/>
              <a:gd name="T65" fmla="*/ 32202020 h 273"/>
              <a:gd name="T66" fmla="*/ 6483412 w 225"/>
              <a:gd name="T67" fmla="*/ 28561870 h 273"/>
              <a:gd name="T68" fmla="*/ 12596257 w 225"/>
              <a:gd name="T69" fmla="*/ 26321899 h 273"/>
              <a:gd name="T70" fmla="*/ 16671200 w 225"/>
              <a:gd name="T71" fmla="*/ 26321899 h 273"/>
              <a:gd name="T72" fmla="*/ 18523603 w 225"/>
              <a:gd name="T73" fmla="*/ 24641789 h 273"/>
              <a:gd name="T74" fmla="*/ 20005440 w 225"/>
              <a:gd name="T75" fmla="*/ 14561130 h 273"/>
              <a:gd name="T76" fmla="*/ 22228410 w 225"/>
              <a:gd name="T77" fmla="*/ 8680480 h 273"/>
              <a:gd name="T78" fmla="*/ 24080813 w 225"/>
              <a:gd name="T79" fmla="*/ 5600190 h 273"/>
              <a:gd name="T80" fmla="*/ 26118285 w 225"/>
              <a:gd name="T81" fmla="*/ 1960040 h 273"/>
              <a:gd name="T82" fmla="*/ 28711821 w 225"/>
              <a:gd name="T83" fmla="*/ 279930 h 273"/>
              <a:gd name="T84" fmla="*/ 33157331 w 225"/>
              <a:gd name="T85" fmla="*/ 840320 h 273"/>
              <a:gd name="T86" fmla="*/ 36121004 w 225"/>
              <a:gd name="T87" fmla="*/ 10640520 h 273"/>
              <a:gd name="T88" fmla="*/ 36306503 w 225"/>
              <a:gd name="T89" fmla="*/ 13160950 h 273"/>
              <a:gd name="T90" fmla="*/ 35194803 w 225"/>
              <a:gd name="T91" fmla="*/ 15680850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33" name="Freeform 235">
            <a:extLst>
              <a:ext uri="{FF2B5EF4-FFF2-40B4-BE49-F238E27FC236}">
                <a16:creationId xmlns:a16="http://schemas.microsoft.com/office/drawing/2014/main" id="{38958E81-D2BD-4890-837D-2470C5AC7380}"/>
              </a:ext>
            </a:extLst>
          </p:cNvPr>
          <p:cNvSpPr>
            <a:spLocks/>
          </p:cNvSpPr>
          <p:nvPr>
            <p:custDataLst>
              <p:tags r:id="rId162"/>
            </p:custDataLst>
          </p:nvPr>
        </p:nvSpPr>
        <p:spPr bwMode="auto">
          <a:xfrm>
            <a:off x="4820782" y="3168743"/>
            <a:ext cx="426140" cy="506174"/>
          </a:xfrm>
          <a:custGeom>
            <a:avLst/>
            <a:gdLst>
              <a:gd name="T0" fmla="*/ 163943993 w 232"/>
              <a:gd name="T1" fmla="*/ 610000050 h 248"/>
              <a:gd name="T2" fmla="*/ 167431798 w 232"/>
              <a:gd name="T3" fmla="*/ 602561179 h 248"/>
              <a:gd name="T4" fmla="*/ 170920923 w 232"/>
              <a:gd name="T5" fmla="*/ 590162010 h 248"/>
              <a:gd name="T6" fmla="*/ 174408728 w 232"/>
              <a:gd name="T7" fmla="*/ 575284267 h 248"/>
              <a:gd name="T8" fmla="*/ 179641095 w 232"/>
              <a:gd name="T9" fmla="*/ 572804118 h 248"/>
              <a:gd name="T10" fmla="*/ 181384337 w 232"/>
              <a:gd name="T11" fmla="*/ 590162010 h 248"/>
              <a:gd name="T12" fmla="*/ 184873463 w 232"/>
              <a:gd name="T13" fmla="*/ 597600881 h 248"/>
              <a:gd name="T14" fmla="*/ 188361267 w 232"/>
              <a:gd name="T15" fmla="*/ 600081030 h 248"/>
              <a:gd name="T16" fmla="*/ 191849072 w 232"/>
              <a:gd name="T17" fmla="*/ 600081030 h 248"/>
              <a:gd name="T18" fmla="*/ 197081440 w 232"/>
              <a:gd name="T19" fmla="*/ 597600881 h 248"/>
              <a:gd name="T20" fmla="*/ 202313807 w 232"/>
              <a:gd name="T21" fmla="*/ 590162010 h 248"/>
              <a:gd name="T22" fmla="*/ 376722535 w 232"/>
              <a:gd name="T23" fmla="*/ 580242990 h 248"/>
              <a:gd name="T24" fmla="*/ 371490167 w 232"/>
              <a:gd name="T25" fmla="*/ 505852701 h 248"/>
              <a:gd name="T26" fmla="*/ 361025432 w 232"/>
              <a:gd name="T27" fmla="*/ 342194382 h 248"/>
              <a:gd name="T28" fmla="*/ 350560698 w 232"/>
              <a:gd name="T29" fmla="*/ 181016211 h 248"/>
              <a:gd name="T30" fmla="*/ 345328330 w 232"/>
              <a:gd name="T31" fmla="*/ 106625923 h 248"/>
              <a:gd name="T32" fmla="*/ 374977972 w 232"/>
              <a:gd name="T33" fmla="*/ 109106071 h 248"/>
              <a:gd name="T34" fmla="*/ 404627614 w 232"/>
              <a:gd name="T35" fmla="*/ 114064794 h 248"/>
              <a:gd name="T36" fmla="*/ 280797999 w 232"/>
              <a:gd name="T37" fmla="*/ 4958723 h 248"/>
              <a:gd name="T38" fmla="*/ 279053436 w 232"/>
              <a:gd name="T39" fmla="*/ 19838040 h 248"/>
              <a:gd name="T40" fmla="*/ 280797999 w 232"/>
              <a:gd name="T41" fmla="*/ 44634803 h 248"/>
              <a:gd name="T42" fmla="*/ 170920923 w 232"/>
              <a:gd name="T43" fmla="*/ 59512546 h 248"/>
              <a:gd name="T44" fmla="*/ 170920923 w 232"/>
              <a:gd name="T45" fmla="*/ 183496360 h 248"/>
              <a:gd name="T46" fmla="*/ 165688555 w 232"/>
              <a:gd name="T47" fmla="*/ 188455082 h 248"/>
              <a:gd name="T48" fmla="*/ 151736016 w 232"/>
              <a:gd name="T49" fmla="*/ 193413805 h 248"/>
              <a:gd name="T50" fmla="*/ 125574178 w 232"/>
              <a:gd name="T51" fmla="*/ 203332825 h 248"/>
              <a:gd name="T52" fmla="*/ 129061983 w 232"/>
              <a:gd name="T53" fmla="*/ 218210568 h 248"/>
              <a:gd name="T54" fmla="*/ 136038913 w 232"/>
              <a:gd name="T55" fmla="*/ 238048608 h 248"/>
              <a:gd name="T56" fmla="*/ 139526718 w 232"/>
              <a:gd name="T57" fmla="*/ 260365222 h 248"/>
              <a:gd name="T58" fmla="*/ 141271281 w 232"/>
              <a:gd name="T59" fmla="*/ 285161985 h 248"/>
              <a:gd name="T60" fmla="*/ 15697102 w 232"/>
              <a:gd name="T61" fmla="*/ 295081005 h 248"/>
              <a:gd name="T62" fmla="*/ 8720172 w 232"/>
              <a:gd name="T63" fmla="*/ 322357916 h 248"/>
              <a:gd name="T64" fmla="*/ 10464735 w 232"/>
              <a:gd name="T65" fmla="*/ 354593551 h 248"/>
              <a:gd name="T66" fmla="*/ 13952540 w 232"/>
              <a:gd name="T67" fmla="*/ 384349036 h 248"/>
              <a:gd name="T68" fmla="*/ 15697102 w 232"/>
              <a:gd name="T69" fmla="*/ 416584670 h 248"/>
              <a:gd name="T70" fmla="*/ 15697102 w 232"/>
              <a:gd name="T71" fmla="*/ 451300453 h 248"/>
              <a:gd name="T72" fmla="*/ 13952540 w 232"/>
              <a:gd name="T73" fmla="*/ 481055939 h 248"/>
              <a:gd name="T74" fmla="*/ 10464735 w 232"/>
              <a:gd name="T75" fmla="*/ 510812999 h 248"/>
              <a:gd name="T76" fmla="*/ 3487805 w 232"/>
              <a:gd name="T77" fmla="*/ 535609762 h 248"/>
              <a:gd name="T78" fmla="*/ 3487805 w 232"/>
              <a:gd name="T79" fmla="*/ 543048633 h 248"/>
              <a:gd name="T80" fmla="*/ 5232367 w 232"/>
              <a:gd name="T81" fmla="*/ 545527207 h 248"/>
              <a:gd name="T82" fmla="*/ 5232367 w 232"/>
              <a:gd name="T83" fmla="*/ 550487504 h 248"/>
              <a:gd name="T84" fmla="*/ 12207977 w 232"/>
              <a:gd name="T85" fmla="*/ 538088336 h 248"/>
              <a:gd name="T86" fmla="*/ 31392884 w 232"/>
              <a:gd name="T87" fmla="*/ 528170890 h 248"/>
              <a:gd name="T88" fmla="*/ 62787089 w 232"/>
              <a:gd name="T89" fmla="*/ 513291573 h 248"/>
              <a:gd name="T90" fmla="*/ 78484192 w 232"/>
              <a:gd name="T91" fmla="*/ 515771721 h 248"/>
              <a:gd name="T92" fmla="*/ 88948927 w 232"/>
              <a:gd name="T93" fmla="*/ 525690742 h 248"/>
              <a:gd name="T94" fmla="*/ 97669099 w 232"/>
              <a:gd name="T95" fmla="*/ 530649464 h 248"/>
              <a:gd name="T96" fmla="*/ 108133834 w 232"/>
              <a:gd name="T97" fmla="*/ 533129613 h 248"/>
              <a:gd name="T98" fmla="*/ 115109443 w 232"/>
              <a:gd name="T99" fmla="*/ 543048633 h 248"/>
              <a:gd name="T100" fmla="*/ 116854006 w 232"/>
              <a:gd name="T101" fmla="*/ 557926376 h 248"/>
              <a:gd name="T102" fmla="*/ 122086374 w 232"/>
              <a:gd name="T103" fmla="*/ 572804118 h 248"/>
              <a:gd name="T104" fmla="*/ 129061983 w 232"/>
              <a:gd name="T105" fmla="*/ 582723139 h 248"/>
              <a:gd name="T106" fmla="*/ 148246890 w 232"/>
              <a:gd name="T107" fmla="*/ 602561179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0872A6"/>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00B050"/>
              </a:solidFill>
              <a:effectLst/>
              <a:uLnTx/>
              <a:uFillTx/>
              <a:latin typeface="Arial" panose="020B0604020202020204" pitchFamily="34" charset="0"/>
              <a:ea typeface="MS PGothic" panose="020B0600070205080204" pitchFamily="34" charset="-128"/>
              <a:cs typeface="Arial"/>
            </a:endParaRPr>
          </a:p>
        </p:txBody>
      </p:sp>
      <p:sp>
        <p:nvSpPr>
          <p:cNvPr id="734" name="Freeform 236">
            <a:extLst>
              <a:ext uri="{FF2B5EF4-FFF2-40B4-BE49-F238E27FC236}">
                <a16:creationId xmlns:a16="http://schemas.microsoft.com/office/drawing/2014/main" id="{4F1DDB3F-FF97-42B7-A25A-E37382A45575}"/>
              </a:ext>
            </a:extLst>
          </p:cNvPr>
          <p:cNvSpPr>
            <a:spLocks/>
          </p:cNvSpPr>
          <p:nvPr>
            <p:custDataLst>
              <p:tags r:id="rId163"/>
            </p:custDataLst>
          </p:nvPr>
        </p:nvSpPr>
        <p:spPr bwMode="auto">
          <a:xfrm>
            <a:off x="4981629" y="3245990"/>
            <a:ext cx="576543" cy="609848"/>
          </a:xfrm>
          <a:custGeom>
            <a:avLst/>
            <a:gdLst>
              <a:gd name="T0" fmla="*/ 17192363 w 948"/>
              <a:gd name="T1" fmla="*/ 216718265 h 893"/>
              <a:gd name="T2" fmla="*/ 23114148 w 948"/>
              <a:gd name="T3" fmla="*/ 216718265 h 893"/>
              <a:gd name="T4" fmla="*/ 27889513 w 948"/>
              <a:gd name="T5" fmla="*/ 215343218 h 893"/>
              <a:gd name="T6" fmla="*/ 35530709 w 948"/>
              <a:gd name="T7" fmla="*/ 213418048 h 893"/>
              <a:gd name="T8" fmla="*/ 37632114 w 948"/>
              <a:gd name="T9" fmla="*/ 223594023 h 893"/>
              <a:gd name="T10" fmla="*/ 40497508 w 948"/>
              <a:gd name="T11" fmla="*/ 229644333 h 893"/>
              <a:gd name="T12" fmla="*/ 43171905 w 948"/>
              <a:gd name="T13" fmla="*/ 232669750 h 893"/>
              <a:gd name="T14" fmla="*/ 46992284 w 948"/>
              <a:gd name="T15" fmla="*/ 233769998 h 893"/>
              <a:gd name="T16" fmla="*/ 46992284 w 948"/>
              <a:gd name="T17" fmla="*/ 242295602 h 893"/>
              <a:gd name="T18" fmla="*/ 62274239 w 948"/>
              <a:gd name="T19" fmla="*/ 244495571 h 893"/>
              <a:gd name="T20" fmla="*/ 63802216 w 948"/>
              <a:gd name="T21" fmla="*/ 240920555 h 893"/>
              <a:gd name="T22" fmla="*/ 66285616 w 948"/>
              <a:gd name="T23" fmla="*/ 239545508 h 893"/>
              <a:gd name="T24" fmla="*/ 66476613 w 948"/>
              <a:gd name="T25" fmla="*/ 244220772 h 893"/>
              <a:gd name="T26" fmla="*/ 68387021 w 948"/>
              <a:gd name="T27" fmla="*/ 245595819 h 893"/>
              <a:gd name="T28" fmla="*/ 73544818 w 948"/>
              <a:gd name="T29" fmla="*/ 245595819 h 893"/>
              <a:gd name="T30" fmla="*/ 76601208 w 948"/>
              <a:gd name="T31" fmla="*/ 234869720 h 893"/>
              <a:gd name="T32" fmla="*/ 78702614 w 948"/>
              <a:gd name="T33" fmla="*/ 216718265 h 893"/>
              <a:gd name="T34" fmla="*/ 80994579 w 948"/>
              <a:gd name="T35" fmla="*/ 212043001 h 893"/>
              <a:gd name="T36" fmla="*/ 86343373 w 948"/>
              <a:gd name="T37" fmla="*/ 207367738 h 893"/>
              <a:gd name="T38" fmla="*/ 92647152 w 948"/>
              <a:gd name="T39" fmla="*/ 204342320 h 893"/>
              <a:gd name="T40" fmla="*/ 95703543 w 948"/>
              <a:gd name="T41" fmla="*/ 200491980 h 893"/>
              <a:gd name="T42" fmla="*/ 98377940 w 948"/>
              <a:gd name="T43" fmla="*/ 193066623 h 893"/>
              <a:gd name="T44" fmla="*/ 102198319 w 948"/>
              <a:gd name="T45" fmla="*/ 183715571 h 893"/>
              <a:gd name="T46" fmla="*/ 104490721 w 948"/>
              <a:gd name="T47" fmla="*/ 181515602 h 893"/>
              <a:gd name="T48" fmla="*/ 109266524 w 948"/>
              <a:gd name="T49" fmla="*/ 181240278 h 893"/>
              <a:gd name="T50" fmla="*/ 115570303 w 948"/>
              <a:gd name="T51" fmla="*/ 177115138 h 893"/>
              <a:gd name="T52" fmla="*/ 122065079 w 948"/>
              <a:gd name="T53" fmla="*/ 171614426 h 893"/>
              <a:gd name="T54" fmla="*/ 128750852 w 948"/>
              <a:gd name="T55" fmla="*/ 168589533 h 893"/>
              <a:gd name="T56" fmla="*/ 138302456 w 948"/>
              <a:gd name="T57" fmla="*/ 167764086 h 893"/>
              <a:gd name="T58" fmla="*/ 150528020 w 948"/>
              <a:gd name="T59" fmla="*/ 165564116 h 893"/>
              <a:gd name="T60" fmla="*/ 155685379 w 948"/>
              <a:gd name="T61" fmla="*/ 163363622 h 893"/>
              <a:gd name="T62" fmla="*/ 164854989 w 948"/>
              <a:gd name="T63" fmla="*/ 162263899 h 893"/>
              <a:gd name="T64" fmla="*/ 172113754 w 948"/>
              <a:gd name="T65" fmla="*/ 160338729 h 893"/>
              <a:gd name="T66" fmla="*/ 174406157 w 948"/>
              <a:gd name="T67" fmla="*/ 157863435 h 893"/>
              <a:gd name="T68" fmla="*/ 177844542 w 948"/>
              <a:gd name="T69" fmla="*/ 149612631 h 893"/>
              <a:gd name="T70" fmla="*/ 180136944 w 948"/>
              <a:gd name="T71" fmla="*/ 138611733 h 893"/>
              <a:gd name="T72" fmla="*/ 181091930 w 948"/>
              <a:gd name="T73" fmla="*/ 126785912 h 893"/>
              <a:gd name="T74" fmla="*/ 180900933 w 948"/>
              <a:gd name="T75" fmla="*/ 115785014 h 893"/>
              <a:gd name="T76" fmla="*/ 180136944 w 948"/>
              <a:gd name="T77" fmla="*/ 99833528 h 893"/>
              <a:gd name="T78" fmla="*/ 176125131 w 948"/>
              <a:gd name="T79" fmla="*/ 97908358 h 893"/>
              <a:gd name="T80" fmla="*/ 164663555 w 948"/>
              <a:gd name="T81" fmla="*/ 88557307 h 893"/>
              <a:gd name="T82" fmla="*/ 151674003 w 948"/>
              <a:gd name="T83" fmla="*/ 76456686 h 893"/>
              <a:gd name="T84" fmla="*/ 140976416 w 948"/>
              <a:gd name="T85" fmla="*/ 59404953 h 893"/>
              <a:gd name="T86" fmla="*/ 78702614 w 948"/>
              <a:gd name="T87" fmla="*/ 3300217 h 893"/>
              <a:gd name="T88" fmla="*/ 66476613 w 948"/>
              <a:gd name="T89" fmla="*/ 28052630 h 893"/>
              <a:gd name="T90" fmla="*/ 72398398 w 948"/>
              <a:gd name="T91" fmla="*/ 111384550 h 893"/>
              <a:gd name="T92" fmla="*/ 74881797 w 948"/>
              <a:gd name="T93" fmla="*/ 155388141 h 893"/>
              <a:gd name="T94" fmla="*/ 17765354 w 948"/>
              <a:gd name="T95" fmla="*/ 162538699 h 893"/>
              <a:gd name="T96" fmla="*/ 15090958 w 948"/>
              <a:gd name="T97" fmla="*/ 166664363 h 893"/>
              <a:gd name="T98" fmla="*/ 12798555 w 948"/>
              <a:gd name="T99" fmla="*/ 167764086 h 893"/>
              <a:gd name="T100" fmla="*/ 10888584 w 948"/>
              <a:gd name="T101" fmla="*/ 166939163 h 893"/>
              <a:gd name="T102" fmla="*/ 9360170 w 948"/>
              <a:gd name="T103" fmla="*/ 162538699 h 893"/>
              <a:gd name="T104" fmla="*/ 7641196 w 948"/>
              <a:gd name="T105" fmla="*/ 159788605 h 893"/>
              <a:gd name="T106" fmla="*/ 5539791 w 948"/>
              <a:gd name="T107" fmla="*/ 166389039 h 893"/>
              <a:gd name="T108" fmla="*/ 2865394 w 948"/>
              <a:gd name="T109" fmla="*/ 171339627 h 893"/>
              <a:gd name="T110" fmla="*/ 12798555 w 948"/>
              <a:gd name="T111" fmla="*/ 201592227 h 893"/>
              <a:gd name="T112" fmla="*/ 11652573 w 948"/>
              <a:gd name="T113" fmla="*/ 205717367 h 893"/>
              <a:gd name="T114" fmla="*/ 11843570 w 948"/>
              <a:gd name="T115" fmla="*/ 209017584 h 893"/>
              <a:gd name="T116" fmla="*/ 10315156 w 948"/>
              <a:gd name="T117" fmla="*/ 216718265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0872A6"/>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35" name="Freeform 237">
            <a:extLst>
              <a:ext uri="{FF2B5EF4-FFF2-40B4-BE49-F238E27FC236}">
                <a16:creationId xmlns:a16="http://schemas.microsoft.com/office/drawing/2014/main" id="{F00AE644-41F9-4133-9BAD-14F8F24AAF0E}"/>
              </a:ext>
            </a:extLst>
          </p:cNvPr>
          <p:cNvSpPr>
            <a:spLocks/>
          </p:cNvSpPr>
          <p:nvPr>
            <p:custDataLst>
              <p:tags r:id="rId164"/>
            </p:custDataLst>
          </p:nvPr>
        </p:nvSpPr>
        <p:spPr bwMode="auto">
          <a:xfrm>
            <a:off x="5119497" y="2733718"/>
            <a:ext cx="687257" cy="754178"/>
          </a:xfrm>
          <a:custGeom>
            <a:avLst/>
            <a:gdLst>
              <a:gd name="T0" fmla="*/ 416972213 w 373"/>
              <a:gd name="T1" fmla="*/ 900070800 h 370"/>
              <a:gd name="T2" fmla="*/ 427483116 w 373"/>
              <a:gd name="T3" fmla="*/ 895165936 h 370"/>
              <a:gd name="T4" fmla="*/ 446755091 w 373"/>
              <a:gd name="T5" fmla="*/ 902523233 h 370"/>
              <a:gd name="T6" fmla="*/ 651736901 w 373"/>
              <a:gd name="T7" fmla="*/ 679344074 h 370"/>
              <a:gd name="T8" fmla="*/ 646482112 w 373"/>
              <a:gd name="T9" fmla="*/ 662177048 h 370"/>
              <a:gd name="T10" fmla="*/ 632466250 w 373"/>
              <a:gd name="T11" fmla="*/ 647462455 h 370"/>
              <a:gd name="T12" fmla="*/ 607938161 w 373"/>
              <a:gd name="T13" fmla="*/ 635200294 h 370"/>
              <a:gd name="T14" fmla="*/ 593922300 w 373"/>
              <a:gd name="T15" fmla="*/ 622936567 h 370"/>
              <a:gd name="T16" fmla="*/ 588666186 w 373"/>
              <a:gd name="T17" fmla="*/ 605769542 h 370"/>
              <a:gd name="T18" fmla="*/ 590418665 w 373"/>
              <a:gd name="T19" fmla="*/ 559171764 h 370"/>
              <a:gd name="T20" fmla="*/ 590418665 w 373"/>
              <a:gd name="T21" fmla="*/ 480692369 h 370"/>
              <a:gd name="T22" fmla="*/ 585162552 w 373"/>
              <a:gd name="T23" fmla="*/ 412021135 h 370"/>
              <a:gd name="T24" fmla="*/ 576402804 w 373"/>
              <a:gd name="T25" fmla="*/ 380139517 h 370"/>
              <a:gd name="T26" fmla="*/ 565890577 w 373"/>
              <a:gd name="T27" fmla="*/ 348256332 h 370"/>
              <a:gd name="T28" fmla="*/ 551874715 w 373"/>
              <a:gd name="T29" fmla="*/ 267322938 h 370"/>
              <a:gd name="T30" fmla="*/ 536106374 w 373"/>
              <a:gd name="T31" fmla="*/ 220725161 h 370"/>
              <a:gd name="T32" fmla="*/ 520339357 w 373"/>
              <a:gd name="T33" fmla="*/ 191295975 h 370"/>
              <a:gd name="T34" fmla="*/ 525594147 w 373"/>
              <a:gd name="T35" fmla="*/ 154507926 h 370"/>
              <a:gd name="T36" fmla="*/ 527346626 w 373"/>
              <a:gd name="T37" fmla="*/ 105457716 h 370"/>
              <a:gd name="T38" fmla="*/ 529099105 w 373"/>
              <a:gd name="T39" fmla="*/ 56407506 h 370"/>
              <a:gd name="T40" fmla="*/ 543114967 w 373"/>
              <a:gd name="T41" fmla="*/ 17167025 h 370"/>
              <a:gd name="T42" fmla="*/ 529099105 w 373"/>
              <a:gd name="T43" fmla="*/ 14714593 h 370"/>
              <a:gd name="T44" fmla="*/ 487051521 w 373"/>
              <a:gd name="T45" fmla="*/ 29430752 h 370"/>
              <a:gd name="T46" fmla="*/ 429235595 w 373"/>
              <a:gd name="T47" fmla="*/ 29430752 h 370"/>
              <a:gd name="T48" fmla="*/ 360908766 w 373"/>
              <a:gd name="T49" fmla="*/ 34335617 h 370"/>
              <a:gd name="T50" fmla="*/ 294333093 w 373"/>
              <a:gd name="T51" fmla="*/ 58859938 h 370"/>
              <a:gd name="T52" fmla="*/ 254037987 w 373"/>
              <a:gd name="T53" fmla="*/ 78480962 h 370"/>
              <a:gd name="T54" fmla="*/ 217245193 w 373"/>
              <a:gd name="T55" fmla="*/ 107910148 h 370"/>
              <a:gd name="T56" fmla="*/ 215494037 w 373"/>
              <a:gd name="T57" fmla="*/ 127531172 h 370"/>
              <a:gd name="T58" fmla="*/ 229509899 w 373"/>
              <a:gd name="T59" fmla="*/ 218272729 h 370"/>
              <a:gd name="T60" fmla="*/ 234766012 w 373"/>
              <a:gd name="T61" fmla="*/ 228084023 h 370"/>
              <a:gd name="T62" fmla="*/ 247029395 w 373"/>
              <a:gd name="T63" fmla="*/ 240346184 h 370"/>
              <a:gd name="T64" fmla="*/ 248781874 w 373"/>
              <a:gd name="T65" fmla="*/ 250155913 h 370"/>
              <a:gd name="T66" fmla="*/ 243525760 w 373"/>
              <a:gd name="T67" fmla="*/ 262418074 h 370"/>
              <a:gd name="T68" fmla="*/ 224253785 w 373"/>
              <a:gd name="T69" fmla="*/ 262418074 h 370"/>
              <a:gd name="T70" fmla="*/ 185709835 w 373"/>
              <a:gd name="T71" fmla="*/ 277132667 h 370"/>
              <a:gd name="T72" fmla="*/ 166437860 w 373"/>
              <a:gd name="T73" fmla="*/ 299206123 h 370"/>
              <a:gd name="T74" fmla="*/ 157678112 w 373"/>
              <a:gd name="T75" fmla="*/ 321278012 h 370"/>
              <a:gd name="T76" fmla="*/ 143662250 w 373"/>
              <a:gd name="T77" fmla="*/ 335994172 h 370"/>
              <a:gd name="T78" fmla="*/ 115630527 w 373"/>
              <a:gd name="T79" fmla="*/ 367875790 h 370"/>
              <a:gd name="T80" fmla="*/ 89351283 w 373"/>
              <a:gd name="T81" fmla="*/ 387496813 h 370"/>
              <a:gd name="T82" fmla="*/ 54310967 w 373"/>
              <a:gd name="T83" fmla="*/ 392401678 h 370"/>
              <a:gd name="T84" fmla="*/ 35038992 w 373"/>
              <a:gd name="T85" fmla="*/ 402211407 h 370"/>
              <a:gd name="T86" fmla="*/ 14015862 w 373"/>
              <a:gd name="T87" fmla="*/ 426735728 h 370"/>
              <a:gd name="T88" fmla="*/ 0 w 373"/>
              <a:gd name="T89" fmla="*/ 490502097 h 370"/>
              <a:gd name="T90" fmla="*/ 313605068 w 373"/>
              <a:gd name="T91" fmla="*/ 811780110 h 370"/>
              <a:gd name="T92" fmla="*/ 352149018 w 373"/>
              <a:gd name="T93" fmla="*/ 863282752 h 370"/>
              <a:gd name="T94" fmla="*/ 401203872 w 373"/>
              <a:gd name="T95" fmla="*/ 902523233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36" name="Freeform 238">
            <a:extLst>
              <a:ext uri="{FF2B5EF4-FFF2-40B4-BE49-F238E27FC236}">
                <a16:creationId xmlns:a16="http://schemas.microsoft.com/office/drawing/2014/main" id="{4031DDF7-A8E4-44AF-94E6-9A5AD2924E40}"/>
              </a:ext>
            </a:extLst>
          </p:cNvPr>
          <p:cNvSpPr>
            <a:spLocks/>
          </p:cNvSpPr>
          <p:nvPr>
            <p:custDataLst>
              <p:tags r:id="rId165"/>
            </p:custDataLst>
          </p:nvPr>
        </p:nvSpPr>
        <p:spPr bwMode="auto">
          <a:xfrm>
            <a:off x="5727375" y="2910573"/>
            <a:ext cx="532675" cy="567159"/>
          </a:xfrm>
          <a:custGeom>
            <a:avLst/>
            <a:gdLst>
              <a:gd name="T0" fmla="*/ 6908141 w 877"/>
              <a:gd name="T1" fmla="*/ 39386772 h 826"/>
              <a:gd name="T2" fmla="*/ 8827264 w 877"/>
              <a:gd name="T3" fmla="*/ 30447821 h 826"/>
              <a:gd name="T4" fmla="*/ 8827264 w 877"/>
              <a:gd name="T5" fmla="*/ 19553855 h 826"/>
              <a:gd name="T6" fmla="*/ 11705291 w 877"/>
              <a:gd name="T7" fmla="*/ 17877901 h 826"/>
              <a:gd name="T8" fmla="*/ 17078484 w 877"/>
              <a:gd name="T9" fmla="*/ 15363706 h 826"/>
              <a:gd name="T10" fmla="*/ 18997607 w 877"/>
              <a:gd name="T11" fmla="*/ 5587042 h 826"/>
              <a:gd name="T12" fmla="*/ 32237846 w 877"/>
              <a:gd name="T13" fmla="*/ 1675954 h 826"/>
              <a:gd name="T14" fmla="*/ 46438303 w 877"/>
              <a:gd name="T15" fmla="*/ 6704345 h 826"/>
              <a:gd name="T16" fmla="*/ 52386664 w 877"/>
              <a:gd name="T17" fmla="*/ 12011797 h 826"/>
              <a:gd name="T18" fmla="*/ 54689523 w 877"/>
              <a:gd name="T19" fmla="*/ 21788461 h 826"/>
              <a:gd name="T20" fmla="*/ 56608208 w 877"/>
              <a:gd name="T21" fmla="*/ 28213216 h 826"/>
              <a:gd name="T22" fmla="*/ 62365138 w 877"/>
              <a:gd name="T23" fmla="*/ 30727411 h 826"/>
              <a:gd name="T24" fmla="*/ 69657016 w 877"/>
              <a:gd name="T25" fmla="*/ 30447821 h 826"/>
              <a:gd name="T26" fmla="*/ 80787140 w 877"/>
              <a:gd name="T27" fmla="*/ 37152166 h 826"/>
              <a:gd name="T28" fmla="*/ 91724957 w 877"/>
              <a:gd name="T29" fmla="*/ 45252875 h 826"/>
              <a:gd name="T30" fmla="*/ 98441230 w 877"/>
              <a:gd name="T31" fmla="*/ 46370178 h 826"/>
              <a:gd name="T32" fmla="*/ 103238380 w 877"/>
              <a:gd name="T33" fmla="*/ 44135573 h 826"/>
              <a:gd name="T34" fmla="*/ 105349371 w 877"/>
              <a:gd name="T35" fmla="*/ 35196622 h 826"/>
              <a:gd name="T36" fmla="*/ 104389590 w 877"/>
              <a:gd name="T37" fmla="*/ 28771867 h 826"/>
              <a:gd name="T38" fmla="*/ 101895300 w 877"/>
              <a:gd name="T39" fmla="*/ 22626702 h 826"/>
              <a:gd name="T40" fmla="*/ 103430248 w 877"/>
              <a:gd name="T41" fmla="*/ 13687751 h 826"/>
              <a:gd name="T42" fmla="*/ 110146521 w 877"/>
              <a:gd name="T43" fmla="*/ 9497602 h 826"/>
              <a:gd name="T44" fmla="*/ 118397741 w 877"/>
              <a:gd name="T45" fmla="*/ 1117303 h 826"/>
              <a:gd name="T46" fmla="*/ 124730277 w 877"/>
              <a:gd name="T47" fmla="*/ 0 h 826"/>
              <a:gd name="T48" fmla="*/ 130679076 w 877"/>
              <a:gd name="T49" fmla="*/ 1675954 h 826"/>
              <a:gd name="T50" fmla="*/ 133365672 w 877"/>
              <a:gd name="T51" fmla="*/ 6704345 h 826"/>
              <a:gd name="T52" fmla="*/ 135476225 w 877"/>
              <a:gd name="T53" fmla="*/ 13966813 h 826"/>
              <a:gd name="T54" fmla="*/ 139698208 w 877"/>
              <a:gd name="T55" fmla="*/ 17598311 h 826"/>
              <a:gd name="T56" fmla="*/ 153130753 w 877"/>
              <a:gd name="T57" fmla="*/ 19832917 h 826"/>
              <a:gd name="T58" fmla="*/ 159270982 w 877"/>
              <a:gd name="T59" fmla="*/ 27095913 h 826"/>
              <a:gd name="T60" fmla="*/ 160038894 w 877"/>
              <a:gd name="T61" fmla="*/ 32682427 h 826"/>
              <a:gd name="T62" fmla="*/ 161765711 w 877"/>
              <a:gd name="T63" fmla="*/ 39107710 h 826"/>
              <a:gd name="T64" fmla="*/ 160422631 w 877"/>
              <a:gd name="T65" fmla="*/ 44415163 h 826"/>
              <a:gd name="T66" fmla="*/ 158119772 w 877"/>
              <a:gd name="T67" fmla="*/ 47487481 h 826"/>
              <a:gd name="T68" fmla="*/ 159079114 w 877"/>
              <a:gd name="T69" fmla="*/ 57823324 h 826"/>
              <a:gd name="T70" fmla="*/ 164644176 w 877"/>
              <a:gd name="T71" fmla="*/ 68438229 h 826"/>
              <a:gd name="T72" fmla="*/ 168098246 w 877"/>
              <a:gd name="T73" fmla="*/ 191905996 h 826"/>
              <a:gd name="T74" fmla="*/ 168290115 w 877"/>
              <a:gd name="T75" fmla="*/ 206990111 h 826"/>
              <a:gd name="T76" fmla="*/ 166947035 w 877"/>
              <a:gd name="T77" fmla="*/ 216487713 h 826"/>
              <a:gd name="T78" fmla="*/ 162725053 w 877"/>
              <a:gd name="T79" fmla="*/ 218722319 h 826"/>
              <a:gd name="T80" fmla="*/ 159270982 w 877"/>
              <a:gd name="T81" fmla="*/ 224588422 h 826"/>
              <a:gd name="T82" fmla="*/ 70232622 w 877"/>
              <a:gd name="T83" fmla="*/ 165648324 h 826"/>
              <a:gd name="T84" fmla="*/ 63516349 w 877"/>
              <a:gd name="T85" fmla="*/ 169558884 h 826"/>
              <a:gd name="T86" fmla="*/ 56032603 w 877"/>
              <a:gd name="T87" fmla="*/ 174866336 h 826"/>
              <a:gd name="T88" fmla="*/ 50467979 w 877"/>
              <a:gd name="T89" fmla="*/ 175145398 h 826"/>
              <a:gd name="T90" fmla="*/ 44135443 w 877"/>
              <a:gd name="T91" fmla="*/ 170117535 h 826"/>
              <a:gd name="T92" fmla="*/ 37035434 w 877"/>
              <a:gd name="T93" fmla="*/ 163692780 h 826"/>
              <a:gd name="T94" fmla="*/ 29167512 w 877"/>
              <a:gd name="T95" fmla="*/ 161458175 h 826"/>
              <a:gd name="T96" fmla="*/ 26481354 w 877"/>
              <a:gd name="T97" fmla="*/ 161178585 h 826"/>
              <a:gd name="T98" fmla="*/ 24945968 w 877"/>
              <a:gd name="T99" fmla="*/ 154474768 h 826"/>
              <a:gd name="T100" fmla="*/ 20916292 w 877"/>
              <a:gd name="T101" fmla="*/ 149446377 h 826"/>
              <a:gd name="T102" fmla="*/ 12089466 w 877"/>
              <a:gd name="T103" fmla="*/ 144418515 h 826"/>
              <a:gd name="T104" fmla="*/ 5373193 w 877"/>
              <a:gd name="T105" fmla="*/ 139390124 h 826"/>
              <a:gd name="T106" fmla="*/ 3070334 w 877"/>
              <a:gd name="T107" fmla="*/ 134641323 h 826"/>
              <a:gd name="T108" fmla="*/ 2686597 w 877"/>
              <a:gd name="T109" fmla="*/ 122630054 h 826"/>
              <a:gd name="T110" fmla="*/ 3645939 w 877"/>
              <a:gd name="T111" fmla="*/ 98327398 h 826"/>
              <a:gd name="T112" fmla="*/ 3262202 w 877"/>
              <a:gd name="T113" fmla="*/ 72069727 h 826"/>
              <a:gd name="T114" fmla="*/ 767474 w 877"/>
              <a:gd name="T115" fmla="*/ 56426431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37" name="Freeform 239">
            <a:extLst>
              <a:ext uri="{FF2B5EF4-FFF2-40B4-BE49-F238E27FC236}">
                <a16:creationId xmlns:a16="http://schemas.microsoft.com/office/drawing/2014/main" id="{6C88EBA3-C3BA-4411-A9F9-0BD76D87ECA3}"/>
              </a:ext>
            </a:extLst>
          </p:cNvPr>
          <p:cNvSpPr>
            <a:spLocks/>
          </p:cNvSpPr>
          <p:nvPr>
            <p:custDataLst>
              <p:tags r:id="rId166"/>
            </p:custDataLst>
          </p:nvPr>
        </p:nvSpPr>
        <p:spPr bwMode="auto">
          <a:xfrm>
            <a:off x="5660530" y="2733718"/>
            <a:ext cx="129513" cy="308990"/>
          </a:xfrm>
          <a:custGeom>
            <a:avLst/>
            <a:gdLst>
              <a:gd name="T0" fmla="*/ 21293328 w 206"/>
              <a:gd name="T1" fmla="*/ 119183960 h 455"/>
              <a:gd name="T2" fmla="*/ 25840985 w 206"/>
              <a:gd name="T3" fmla="*/ 113508608 h 455"/>
              <a:gd name="T4" fmla="*/ 28941867 w 206"/>
              <a:gd name="T5" fmla="*/ 109184381 h 455"/>
              <a:gd name="T6" fmla="*/ 30389097 w 206"/>
              <a:gd name="T7" fmla="*/ 105400813 h 455"/>
              <a:gd name="T8" fmla="*/ 31423027 w 206"/>
              <a:gd name="T9" fmla="*/ 100806257 h 455"/>
              <a:gd name="T10" fmla="*/ 31836327 w 206"/>
              <a:gd name="T11" fmla="*/ 95130905 h 455"/>
              <a:gd name="T12" fmla="*/ 31629449 w 206"/>
              <a:gd name="T13" fmla="*/ 90536349 h 455"/>
              <a:gd name="T14" fmla="*/ 32249626 w 206"/>
              <a:gd name="T15" fmla="*/ 89455552 h 455"/>
              <a:gd name="T16" fmla="*/ 34730331 w 206"/>
              <a:gd name="T17" fmla="*/ 88914894 h 455"/>
              <a:gd name="T18" fmla="*/ 38244967 w 206"/>
              <a:gd name="T19" fmla="*/ 87834097 h 455"/>
              <a:gd name="T20" fmla="*/ 40518796 w 206"/>
              <a:gd name="T21" fmla="*/ 85942313 h 455"/>
              <a:gd name="T22" fmla="*/ 41966025 w 206"/>
              <a:gd name="T23" fmla="*/ 82158745 h 455"/>
              <a:gd name="T24" fmla="*/ 42586202 w 206"/>
              <a:gd name="T25" fmla="*/ 75672405 h 455"/>
              <a:gd name="T26" fmla="*/ 41759148 w 206"/>
              <a:gd name="T27" fmla="*/ 71618508 h 455"/>
              <a:gd name="T28" fmla="*/ 39898619 w 206"/>
              <a:gd name="T29" fmla="*/ 71348179 h 455"/>
              <a:gd name="T30" fmla="*/ 36590860 w 206"/>
              <a:gd name="T31" fmla="*/ 69186065 h 455"/>
              <a:gd name="T32" fmla="*/ 32043204 w 206"/>
              <a:gd name="T33" fmla="*/ 65402497 h 455"/>
              <a:gd name="T34" fmla="*/ 28941867 w 206"/>
              <a:gd name="T35" fmla="*/ 62429916 h 455"/>
              <a:gd name="T36" fmla="*/ 26874916 w 206"/>
              <a:gd name="T37" fmla="*/ 61618929 h 455"/>
              <a:gd name="T38" fmla="*/ 24600632 w 206"/>
              <a:gd name="T39" fmla="*/ 59997474 h 455"/>
              <a:gd name="T40" fmla="*/ 20879574 w 206"/>
              <a:gd name="T41" fmla="*/ 57294702 h 455"/>
              <a:gd name="T42" fmla="*/ 19639221 w 206"/>
              <a:gd name="T43" fmla="*/ 55673247 h 455"/>
              <a:gd name="T44" fmla="*/ 19639221 w 206"/>
              <a:gd name="T45" fmla="*/ 53781463 h 455"/>
              <a:gd name="T46" fmla="*/ 21499751 w 206"/>
              <a:gd name="T47" fmla="*/ 48916578 h 455"/>
              <a:gd name="T48" fmla="*/ 24600632 w 206"/>
              <a:gd name="T49" fmla="*/ 42700568 h 455"/>
              <a:gd name="T50" fmla="*/ 27701514 w 206"/>
              <a:gd name="T51" fmla="*/ 37836203 h 455"/>
              <a:gd name="T52" fmla="*/ 28115268 w 206"/>
              <a:gd name="T53" fmla="*/ 34863102 h 455"/>
              <a:gd name="T54" fmla="*/ 26047862 w 206"/>
              <a:gd name="T55" fmla="*/ 31349863 h 455"/>
              <a:gd name="T56" fmla="*/ 23774034 w 206"/>
              <a:gd name="T57" fmla="*/ 28377282 h 455"/>
              <a:gd name="T58" fmla="*/ 22326804 w 206"/>
              <a:gd name="T59" fmla="*/ 25133852 h 455"/>
              <a:gd name="T60" fmla="*/ 22119927 w 206"/>
              <a:gd name="T61" fmla="*/ 22701929 h 455"/>
              <a:gd name="T62" fmla="*/ 22946980 w 206"/>
              <a:gd name="T63" fmla="*/ 21079955 h 455"/>
              <a:gd name="T64" fmla="*/ 23980456 w 206"/>
              <a:gd name="T65" fmla="*/ 19458500 h 455"/>
              <a:gd name="T66" fmla="*/ 25427686 w 206"/>
              <a:gd name="T67" fmla="*/ 18648032 h 455"/>
              <a:gd name="T68" fmla="*/ 26047862 w 206"/>
              <a:gd name="T69" fmla="*/ 9999579 h 455"/>
              <a:gd name="T70" fmla="*/ 22740103 w 206"/>
              <a:gd name="T71" fmla="*/ 8648453 h 455"/>
              <a:gd name="T72" fmla="*/ 17985569 w 206"/>
              <a:gd name="T73" fmla="*/ 5675352 h 455"/>
              <a:gd name="T74" fmla="*/ 10956752 w 206"/>
              <a:gd name="T75" fmla="*/ 0 h 455"/>
              <a:gd name="T76" fmla="*/ 9716400 w 206"/>
              <a:gd name="T77" fmla="*/ 2973101 h 455"/>
              <a:gd name="T78" fmla="*/ 7028817 w 206"/>
              <a:gd name="T79" fmla="*/ 11891363 h 455"/>
              <a:gd name="T80" fmla="*/ 5788464 w 206"/>
              <a:gd name="T81" fmla="*/ 18917841 h 455"/>
              <a:gd name="T82" fmla="*/ 4548112 w 206"/>
              <a:gd name="T83" fmla="*/ 26755827 h 455"/>
              <a:gd name="T84" fmla="*/ 4134358 w 206"/>
              <a:gd name="T85" fmla="*/ 35944418 h 455"/>
              <a:gd name="T86" fmla="*/ 4134358 w 206"/>
              <a:gd name="T87" fmla="*/ 46484656 h 455"/>
              <a:gd name="T88" fmla="*/ 2480705 w 206"/>
              <a:gd name="T89" fmla="*/ 50808362 h 455"/>
              <a:gd name="T90" fmla="*/ 1653652 w 206"/>
              <a:gd name="T91" fmla="*/ 55673247 h 455"/>
              <a:gd name="T92" fmla="*/ 0 w 206"/>
              <a:gd name="T93" fmla="*/ 63510713 h 455"/>
              <a:gd name="T94" fmla="*/ 4548112 w 206"/>
              <a:gd name="T95" fmla="*/ 69997053 h 455"/>
              <a:gd name="T96" fmla="*/ 8476047 w 206"/>
              <a:gd name="T97" fmla="*/ 75942734 h 455"/>
              <a:gd name="T98" fmla="*/ 11370052 w 206"/>
              <a:gd name="T99" fmla="*/ 82428554 h 455"/>
              <a:gd name="T100" fmla="*/ 13644335 w 206"/>
              <a:gd name="T101" fmla="*/ 88914894 h 455"/>
              <a:gd name="T102" fmla="*/ 15504864 w 206"/>
              <a:gd name="T103" fmla="*/ 95941892 h 455"/>
              <a:gd name="T104" fmla="*/ 16951639 w 206"/>
              <a:gd name="T105" fmla="*/ 103779358 h 455"/>
              <a:gd name="T106" fmla="*/ 19225922 w 206"/>
              <a:gd name="T107" fmla="*/ 122967528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chemeClr val="accent6">
              <a:lumMod val="40000"/>
              <a:lumOff val="60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38" name="Freeform 240">
            <a:extLst>
              <a:ext uri="{FF2B5EF4-FFF2-40B4-BE49-F238E27FC236}">
                <a16:creationId xmlns:a16="http://schemas.microsoft.com/office/drawing/2014/main" id="{5543C6EC-6590-40ED-96DB-8512B00CDEAB}"/>
              </a:ext>
            </a:extLst>
          </p:cNvPr>
          <p:cNvSpPr>
            <a:spLocks/>
          </p:cNvSpPr>
          <p:nvPr>
            <p:custDataLst>
              <p:tags r:id="rId167"/>
            </p:custDataLst>
          </p:nvPr>
        </p:nvSpPr>
        <p:spPr bwMode="auto">
          <a:xfrm>
            <a:off x="4799892" y="3138250"/>
            <a:ext cx="323782" cy="280530"/>
          </a:xfrm>
          <a:custGeom>
            <a:avLst/>
            <a:gdLst>
              <a:gd name="T0" fmla="*/ 65266587 w 518"/>
              <a:gd name="T1" fmla="*/ 31106085 h 406"/>
              <a:gd name="T2" fmla="*/ 65266587 w 518"/>
              <a:gd name="T3" fmla="*/ 73240618 h 406"/>
              <a:gd name="T4" fmla="*/ 63064277 w 518"/>
              <a:gd name="T5" fmla="*/ 74654604 h 406"/>
              <a:gd name="T6" fmla="*/ 58259644 w 518"/>
              <a:gd name="T7" fmla="*/ 76634396 h 406"/>
              <a:gd name="T8" fmla="*/ 49250398 w 518"/>
              <a:gd name="T9" fmla="*/ 80027642 h 406"/>
              <a:gd name="T10" fmla="*/ 50651786 w 518"/>
              <a:gd name="T11" fmla="*/ 85400681 h 406"/>
              <a:gd name="T12" fmla="*/ 53054103 w 518"/>
              <a:gd name="T13" fmla="*/ 92187173 h 406"/>
              <a:gd name="T14" fmla="*/ 53855024 w 518"/>
              <a:gd name="T15" fmla="*/ 99822375 h 406"/>
              <a:gd name="T16" fmla="*/ 54455492 w 518"/>
              <a:gd name="T17" fmla="*/ 108022853 h 406"/>
              <a:gd name="T18" fmla="*/ 10410635 w 518"/>
              <a:gd name="T19" fmla="*/ 111416631 h 406"/>
              <a:gd name="T20" fmla="*/ 4404620 w 518"/>
              <a:gd name="T21" fmla="*/ 114809877 h 406"/>
              <a:gd name="T22" fmla="*/ 1000928 w 518"/>
              <a:gd name="T23" fmla="*/ 113961698 h 406"/>
              <a:gd name="T24" fmla="*/ 200007 w 518"/>
              <a:gd name="T25" fmla="*/ 112547713 h 406"/>
              <a:gd name="T26" fmla="*/ 200007 w 518"/>
              <a:gd name="T27" fmla="*/ 108871563 h 406"/>
              <a:gd name="T28" fmla="*/ 800921 w 518"/>
              <a:gd name="T29" fmla="*/ 104912510 h 406"/>
              <a:gd name="T30" fmla="*/ 2202310 w 518"/>
              <a:gd name="T31" fmla="*/ 100105279 h 406"/>
              <a:gd name="T32" fmla="*/ 4004159 w 518"/>
              <a:gd name="T33" fmla="*/ 96429129 h 406"/>
              <a:gd name="T34" fmla="*/ 6006015 w 518"/>
              <a:gd name="T35" fmla="*/ 94449337 h 406"/>
              <a:gd name="T36" fmla="*/ 7607858 w 518"/>
              <a:gd name="T37" fmla="*/ 92187173 h 406"/>
              <a:gd name="T38" fmla="*/ 8808792 w 518"/>
              <a:gd name="T39" fmla="*/ 89642105 h 406"/>
              <a:gd name="T40" fmla="*/ 9810168 w 518"/>
              <a:gd name="T41" fmla="*/ 82572710 h 406"/>
              <a:gd name="T42" fmla="*/ 11211556 w 518"/>
              <a:gd name="T43" fmla="*/ 74937507 h 406"/>
              <a:gd name="T44" fmla="*/ 12412491 w 518"/>
              <a:gd name="T45" fmla="*/ 72675343 h 406"/>
              <a:gd name="T46" fmla="*/ 14815255 w 518"/>
              <a:gd name="T47" fmla="*/ 69564469 h 406"/>
              <a:gd name="T48" fmla="*/ 18418953 w 518"/>
              <a:gd name="T49" fmla="*/ 67302305 h 406"/>
              <a:gd name="T50" fmla="*/ 21421737 w 518"/>
              <a:gd name="T51" fmla="*/ 65323044 h 406"/>
              <a:gd name="T52" fmla="*/ 24424969 w 518"/>
              <a:gd name="T53" fmla="*/ 61646895 h 406"/>
              <a:gd name="T54" fmla="*/ 27227746 w 518"/>
              <a:gd name="T55" fmla="*/ 55142774 h 406"/>
              <a:gd name="T56" fmla="*/ 30030523 w 518"/>
              <a:gd name="T57" fmla="*/ 44114326 h 406"/>
              <a:gd name="T58" fmla="*/ 32433287 w 518"/>
              <a:gd name="T59" fmla="*/ 33085346 h 406"/>
              <a:gd name="T60" fmla="*/ 34435143 w 518"/>
              <a:gd name="T61" fmla="*/ 26581757 h 406"/>
              <a:gd name="T62" fmla="*/ 37237920 w 518"/>
              <a:gd name="T63" fmla="*/ 20642912 h 406"/>
              <a:gd name="T64" fmla="*/ 40241151 w 518"/>
              <a:gd name="T65" fmla="*/ 17532569 h 406"/>
              <a:gd name="T66" fmla="*/ 42643468 w 518"/>
              <a:gd name="T67" fmla="*/ 16118583 h 406"/>
              <a:gd name="T68" fmla="*/ 43844850 w 518"/>
              <a:gd name="T69" fmla="*/ 12442434 h 406"/>
              <a:gd name="T70" fmla="*/ 44645771 w 518"/>
              <a:gd name="T71" fmla="*/ 7918106 h 406"/>
              <a:gd name="T72" fmla="*/ 45646699 w 518"/>
              <a:gd name="T73" fmla="*/ 4524328 h 406"/>
              <a:gd name="T74" fmla="*/ 47849009 w 518"/>
              <a:gd name="T75" fmla="*/ 2262164 h 406"/>
              <a:gd name="T76" fmla="*/ 102304501 w 518"/>
              <a:gd name="T77" fmla="*/ 0 h 406"/>
              <a:gd name="T78" fmla="*/ 103105422 w 518"/>
              <a:gd name="T79" fmla="*/ 13008241 h 406"/>
              <a:gd name="T80" fmla="*/ 103705889 w 518"/>
              <a:gd name="T81" fmla="*/ 31106085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39" name="Freeform 241">
            <a:extLst>
              <a:ext uri="{FF2B5EF4-FFF2-40B4-BE49-F238E27FC236}">
                <a16:creationId xmlns:a16="http://schemas.microsoft.com/office/drawing/2014/main" id="{9E7C8B3F-F00F-4BCD-8DA8-2735A24BD38A}"/>
              </a:ext>
            </a:extLst>
          </p:cNvPr>
          <p:cNvSpPr>
            <a:spLocks/>
          </p:cNvSpPr>
          <p:nvPr>
            <p:custDataLst>
              <p:tags r:id="rId168"/>
            </p:custDataLst>
          </p:nvPr>
        </p:nvSpPr>
        <p:spPr bwMode="auto">
          <a:xfrm>
            <a:off x="4756024" y="1589235"/>
            <a:ext cx="265294" cy="121969"/>
          </a:xfrm>
          <a:custGeom>
            <a:avLst/>
            <a:gdLst>
              <a:gd name="T0" fmla="*/ 6202783 w 446"/>
              <a:gd name="T1" fmla="*/ 16889679 h 178"/>
              <a:gd name="T2" fmla="*/ 7479901 w 446"/>
              <a:gd name="T3" fmla="*/ 11628821 h 178"/>
              <a:gd name="T4" fmla="*/ 12405992 w 446"/>
              <a:gd name="T5" fmla="*/ 10244413 h 178"/>
              <a:gd name="T6" fmla="*/ 14595034 w 446"/>
              <a:gd name="T7" fmla="*/ 4983555 h 178"/>
              <a:gd name="T8" fmla="*/ 13135530 w 446"/>
              <a:gd name="T9" fmla="*/ 3876449 h 178"/>
              <a:gd name="T10" fmla="*/ 10946489 w 446"/>
              <a:gd name="T11" fmla="*/ 0 h 178"/>
              <a:gd name="T12" fmla="*/ 15507383 w 446"/>
              <a:gd name="T13" fmla="*/ 2768817 h 178"/>
              <a:gd name="T14" fmla="*/ 19703509 w 446"/>
              <a:gd name="T15" fmla="*/ 10797966 h 178"/>
              <a:gd name="T16" fmla="*/ 22804900 w 446"/>
              <a:gd name="T17" fmla="*/ 17166456 h 178"/>
              <a:gd name="T18" fmla="*/ 25359138 w 446"/>
              <a:gd name="T19" fmla="*/ 18550864 h 178"/>
              <a:gd name="T20" fmla="*/ 28642914 w 446"/>
              <a:gd name="T21" fmla="*/ 17443232 h 178"/>
              <a:gd name="T22" fmla="*/ 33021851 w 446"/>
              <a:gd name="T23" fmla="*/ 12459677 h 178"/>
              <a:gd name="T24" fmla="*/ 37400361 w 446"/>
              <a:gd name="T25" fmla="*/ 6367964 h 178"/>
              <a:gd name="T26" fmla="*/ 40136983 w 446"/>
              <a:gd name="T27" fmla="*/ 8583228 h 178"/>
              <a:gd name="T28" fmla="*/ 65496121 w 446"/>
              <a:gd name="T29" fmla="*/ 3045594 h 178"/>
              <a:gd name="T30" fmla="*/ 68597512 w 446"/>
              <a:gd name="T31" fmla="*/ 6367964 h 178"/>
              <a:gd name="T32" fmla="*/ 72246057 w 446"/>
              <a:gd name="T33" fmla="*/ 6091187 h 178"/>
              <a:gd name="T34" fmla="*/ 75347876 w 446"/>
              <a:gd name="T35" fmla="*/ 10244413 h 178"/>
              <a:gd name="T36" fmla="*/ 75712645 w 446"/>
              <a:gd name="T37" fmla="*/ 11905598 h 178"/>
              <a:gd name="T38" fmla="*/ 78266882 w 446"/>
              <a:gd name="T39" fmla="*/ 14951191 h 178"/>
              <a:gd name="T40" fmla="*/ 80821120 w 446"/>
              <a:gd name="T41" fmla="*/ 18827641 h 178"/>
              <a:gd name="T42" fmla="*/ 81368274 w 446"/>
              <a:gd name="T43" fmla="*/ 22150011 h 178"/>
              <a:gd name="T44" fmla="*/ 79908770 w 446"/>
              <a:gd name="T45" fmla="*/ 26580013 h 178"/>
              <a:gd name="T46" fmla="*/ 75347876 w 446"/>
              <a:gd name="T47" fmla="*/ 30733238 h 178"/>
              <a:gd name="T48" fmla="*/ 72428869 w 446"/>
              <a:gd name="T49" fmla="*/ 33225279 h 178"/>
              <a:gd name="T50" fmla="*/ 66773240 w 446"/>
              <a:gd name="T51" fmla="*/ 34055608 h 178"/>
              <a:gd name="T52" fmla="*/ 54732017 w 446"/>
              <a:gd name="T53" fmla="*/ 40424098 h 178"/>
              <a:gd name="T54" fmla="*/ 42690794 w 446"/>
              <a:gd name="T55" fmla="*/ 47346141 h 178"/>
              <a:gd name="T56" fmla="*/ 36305627 w 446"/>
              <a:gd name="T57" fmla="*/ 49284102 h 178"/>
              <a:gd name="T58" fmla="*/ 32291886 w 446"/>
              <a:gd name="T59" fmla="*/ 48176470 h 178"/>
              <a:gd name="T60" fmla="*/ 31379536 w 446"/>
              <a:gd name="T61" fmla="*/ 45407653 h 178"/>
              <a:gd name="T62" fmla="*/ 31014767 w 446"/>
              <a:gd name="T63" fmla="*/ 44577324 h 178"/>
              <a:gd name="T64" fmla="*/ 28460529 w 446"/>
              <a:gd name="T65" fmla="*/ 44577324 h 178"/>
              <a:gd name="T66" fmla="*/ 25359138 w 446"/>
              <a:gd name="T67" fmla="*/ 44300547 h 178"/>
              <a:gd name="T68" fmla="*/ 18244006 w 446"/>
              <a:gd name="T69" fmla="*/ 40700875 h 178"/>
              <a:gd name="T70" fmla="*/ 15507383 w 446"/>
              <a:gd name="T71" fmla="*/ 37932058 h 178"/>
              <a:gd name="T72" fmla="*/ 14777845 w 446"/>
              <a:gd name="T73" fmla="*/ 34609688 h 178"/>
              <a:gd name="T74" fmla="*/ 15872152 w 446"/>
              <a:gd name="T75" fmla="*/ 30733238 h 178"/>
              <a:gd name="T76" fmla="*/ 4926091 w 446"/>
              <a:gd name="T77" fmla="*/ 28518500 h 178"/>
              <a:gd name="T78" fmla="*/ 1641888 w 446"/>
              <a:gd name="T79" fmla="*/ 29072053 h 178"/>
              <a:gd name="T80" fmla="*/ 0 w 446"/>
              <a:gd name="T81" fmla="*/ 22150011 h 178"/>
              <a:gd name="T82" fmla="*/ 10946489 w 446"/>
              <a:gd name="T83" fmla="*/ 23811196 h 178"/>
              <a:gd name="T84" fmla="*/ 15872152 w 446"/>
              <a:gd name="T85" fmla="*/ 22150011 h 178"/>
              <a:gd name="T86" fmla="*/ 4196126 w 446"/>
              <a:gd name="T87" fmla="*/ 18827641 h 178"/>
              <a:gd name="T88" fmla="*/ 2919007 w 446"/>
              <a:gd name="T89" fmla="*/ 15228494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40" name="Freeform 242">
            <a:extLst>
              <a:ext uri="{FF2B5EF4-FFF2-40B4-BE49-F238E27FC236}">
                <a16:creationId xmlns:a16="http://schemas.microsoft.com/office/drawing/2014/main" id="{3C91371E-6AE1-4906-89E7-F96171D97D39}"/>
              </a:ext>
            </a:extLst>
          </p:cNvPr>
          <p:cNvSpPr>
            <a:spLocks/>
          </p:cNvSpPr>
          <p:nvPr>
            <p:custDataLst>
              <p:tags r:id="rId169"/>
            </p:custDataLst>
          </p:nvPr>
        </p:nvSpPr>
        <p:spPr bwMode="auto">
          <a:xfrm>
            <a:off x="5858977" y="1930751"/>
            <a:ext cx="20889" cy="75216"/>
          </a:xfrm>
          <a:custGeom>
            <a:avLst/>
            <a:gdLst>
              <a:gd name="T0" fmla="*/ 0 w 28"/>
              <a:gd name="T1" fmla="*/ 44741404 h 73"/>
              <a:gd name="T2" fmla="*/ 521002 w 28"/>
              <a:gd name="T3" fmla="*/ 28805949 h 73"/>
              <a:gd name="T4" fmla="*/ 1562495 w 28"/>
              <a:gd name="T5" fmla="*/ 17161440 h 73"/>
              <a:gd name="T6" fmla="*/ 1822741 w 28"/>
              <a:gd name="T7" fmla="*/ 12258284 h 73"/>
              <a:gd name="T8" fmla="*/ 1562495 w 28"/>
              <a:gd name="T9" fmla="*/ 7967336 h 73"/>
              <a:gd name="T10" fmla="*/ 1041493 w 28"/>
              <a:gd name="T11" fmla="*/ 4290164 h 73"/>
              <a:gd name="T12" fmla="*/ 0 w 28"/>
              <a:gd name="T13" fmla="*/ 0 h 73"/>
              <a:gd name="T14" fmla="*/ 7290962 w 28"/>
              <a:gd name="T15" fmla="*/ 0 h 73"/>
              <a:gd name="T16" fmla="*/ 5728467 w 28"/>
              <a:gd name="T17" fmla="*/ 9806314 h 73"/>
              <a:gd name="T18" fmla="*/ 4426729 w 28"/>
              <a:gd name="T19" fmla="*/ 18386642 h 73"/>
              <a:gd name="T20" fmla="*/ 3124479 w 28"/>
              <a:gd name="T21" fmla="*/ 26354762 h 73"/>
              <a:gd name="T22" fmla="*/ 1822741 w 28"/>
              <a:gd name="T23" fmla="*/ 33709105 h 73"/>
              <a:gd name="T24" fmla="*/ 0 w 28"/>
              <a:gd name="T25" fmla="*/ 44741404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41" name="Freeform 243">
            <a:extLst>
              <a:ext uri="{FF2B5EF4-FFF2-40B4-BE49-F238E27FC236}">
                <a16:creationId xmlns:a16="http://schemas.microsoft.com/office/drawing/2014/main" id="{A50FA95E-5396-483F-A469-136D9CA88CB2}"/>
              </a:ext>
            </a:extLst>
          </p:cNvPr>
          <p:cNvSpPr>
            <a:spLocks/>
          </p:cNvSpPr>
          <p:nvPr>
            <p:custDataLst>
              <p:tags r:id="rId170"/>
            </p:custDataLst>
          </p:nvPr>
        </p:nvSpPr>
        <p:spPr bwMode="auto">
          <a:xfrm>
            <a:off x="5702308" y="1493693"/>
            <a:ext cx="325872" cy="514305"/>
          </a:xfrm>
          <a:custGeom>
            <a:avLst/>
            <a:gdLst>
              <a:gd name="T0" fmla="*/ 82030735 w 531"/>
              <a:gd name="T1" fmla="*/ 55351668 h 757"/>
              <a:gd name="T2" fmla="*/ 79485665 w 531"/>
              <a:gd name="T3" fmla="*/ 60259597 h 757"/>
              <a:gd name="T4" fmla="*/ 79094081 w 531"/>
              <a:gd name="T5" fmla="*/ 64622375 h 757"/>
              <a:gd name="T6" fmla="*/ 74786665 w 531"/>
              <a:gd name="T7" fmla="*/ 74983385 h 757"/>
              <a:gd name="T8" fmla="*/ 63627646 w 531"/>
              <a:gd name="T9" fmla="*/ 83436365 h 757"/>
              <a:gd name="T10" fmla="*/ 49335960 w 531"/>
              <a:gd name="T11" fmla="*/ 96524177 h 757"/>
              <a:gd name="T12" fmla="*/ 46399306 w 531"/>
              <a:gd name="T13" fmla="*/ 100614379 h 757"/>
              <a:gd name="T14" fmla="*/ 47965197 w 531"/>
              <a:gd name="T15" fmla="*/ 103886332 h 757"/>
              <a:gd name="T16" fmla="*/ 46986460 w 531"/>
              <a:gd name="T17" fmla="*/ 115610743 h 757"/>
              <a:gd name="T18" fmla="*/ 46790890 w 531"/>
              <a:gd name="T19" fmla="*/ 122427747 h 757"/>
              <a:gd name="T20" fmla="*/ 51293434 w 531"/>
              <a:gd name="T21" fmla="*/ 127608252 h 757"/>
              <a:gd name="T22" fmla="*/ 62648466 w 531"/>
              <a:gd name="T23" fmla="*/ 132243605 h 757"/>
              <a:gd name="T24" fmla="*/ 64997966 w 531"/>
              <a:gd name="T25" fmla="*/ 137697208 h 757"/>
              <a:gd name="T26" fmla="*/ 60690992 w 531"/>
              <a:gd name="T27" fmla="*/ 144786265 h 757"/>
              <a:gd name="T28" fmla="*/ 53251351 w 531"/>
              <a:gd name="T29" fmla="*/ 149149043 h 757"/>
              <a:gd name="T30" fmla="*/ 51881031 w 531"/>
              <a:gd name="T31" fmla="*/ 152693572 h 757"/>
              <a:gd name="T32" fmla="*/ 49335960 w 531"/>
              <a:gd name="T33" fmla="*/ 172053236 h 757"/>
              <a:gd name="T34" fmla="*/ 46790890 w 531"/>
              <a:gd name="T35" fmla="*/ 196593405 h 757"/>
              <a:gd name="T36" fmla="*/ 33869525 w 531"/>
              <a:gd name="T37" fmla="*/ 198229381 h 757"/>
              <a:gd name="T38" fmla="*/ 29758121 w 531"/>
              <a:gd name="T39" fmla="*/ 201228758 h 757"/>
              <a:gd name="T40" fmla="*/ 29953691 w 531"/>
              <a:gd name="T41" fmla="*/ 206409263 h 757"/>
              <a:gd name="T42" fmla="*/ 20752589 w 531"/>
              <a:gd name="T43" fmla="*/ 206409263 h 757"/>
              <a:gd name="T44" fmla="*/ 18598660 w 531"/>
              <a:gd name="T45" fmla="*/ 205045863 h 757"/>
              <a:gd name="T46" fmla="*/ 13900102 w 531"/>
              <a:gd name="T47" fmla="*/ 195775155 h 757"/>
              <a:gd name="T48" fmla="*/ 8026795 w 531"/>
              <a:gd name="T49" fmla="*/ 174506939 h 757"/>
              <a:gd name="T50" fmla="*/ 6656474 w 531"/>
              <a:gd name="T51" fmla="*/ 162782529 h 757"/>
              <a:gd name="T52" fmla="*/ 2741083 w 531"/>
              <a:gd name="T53" fmla="*/ 159783151 h 757"/>
              <a:gd name="T54" fmla="*/ 3719820 w 531"/>
              <a:gd name="T55" fmla="*/ 152966670 h 757"/>
              <a:gd name="T56" fmla="*/ 7048058 w 531"/>
              <a:gd name="T57" fmla="*/ 146695340 h 757"/>
              <a:gd name="T58" fmla="*/ 10376295 w 531"/>
              <a:gd name="T59" fmla="*/ 137424632 h 757"/>
              <a:gd name="T60" fmla="*/ 11942185 w 531"/>
              <a:gd name="T61" fmla="*/ 128426501 h 757"/>
              <a:gd name="T62" fmla="*/ 12529782 w 531"/>
              <a:gd name="T63" fmla="*/ 120246097 h 757"/>
              <a:gd name="T64" fmla="*/ 11355032 w 531"/>
              <a:gd name="T65" fmla="*/ 111248487 h 757"/>
              <a:gd name="T66" fmla="*/ 8418378 w 531"/>
              <a:gd name="T67" fmla="*/ 102795507 h 757"/>
              <a:gd name="T68" fmla="*/ 14487698 w 531"/>
              <a:gd name="T69" fmla="*/ 75255961 h 757"/>
              <a:gd name="T70" fmla="*/ 20164993 w 531"/>
              <a:gd name="T71" fmla="*/ 74983385 h 757"/>
              <a:gd name="T72" fmla="*/ 22122910 w 531"/>
              <a:gd name="T73" fmla="*/ 63804126 h 757"/>
              <a:gd name="T74" fmla="*/ 26821467 w 531"/>
              <a:gd name="T75" fmla="*/ 52352291 h 757"/>
              <a:gd name="T76" fmla="*/ 35239845 w 531"/>
              <a:gd name="T77" fmla="*/ 39536533 h 757"/>
              <a:gd name="T78" fmla="*/ 38763653 w 531"/>
              <a:gd name="T79" fmla="*/ 30266348 h 757"/>
              <a:gd name="T80" fmla="*/ 44636960 w 531"/>
              <a:gd name="T81" fmla="*/ 16360287 h 757"/>
              <a:gd name="T82" fmla="*/ 48748364 w 531"/>
              <a:gd name="T83" fmla="*/ 11724933 h 757"/>
              <a:gd name="T84" fmla="*/ 60494979 w 531"/>
              <a:gd name="T85" fmla="*/ 7907307 h 757"/>
              <a:gd name="T86" fmla="*/ 72046024 w 531"/>
              <a:gd name="T87" fmla="*/ 3544529 h 757"/>
              <a:gd name="T88" fmla="*/ 78506485 w 531"/>
              <a:gd name="T89" fmla="*/ 1363401 h 757"/>
              <a:gd name="T90" fmla="*/ 84379793 w 531"/>
              <a:gd name="T91" fmla="*/ 8725556 h 757"/>
              <a:gd name="T92" fmla="*/ 89469933 w 531"/>
              <a:gd name="T93" fmla="*/ 11451835 h 757"/>
              <a:gd name="T94" fmla="*/ 100433824 w 531"/>
              <a:gd name="T95" fmla="*/ 30266348 h 757"/>
              <a:gd name="T96" fmla="*/ 103370478 w 531"/>
              <a:gd name="T97" fmla="*/ 40899933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42" name="Freeform 244">
            <a:extLst>
              <a:ext uri="{FF2B5EF4-FFF2-40B4-BE49-F238E27FC236}">
                <a16:creationId xmlns:a16="http://schemas.microsoft.com/office/drawing/2014/main" id="{AA0E8D61-936B-4761-A2B8-232DEA7F11F4}"/>
              </a:ext>
            </a:extLst>
          </p:cNvPr>
          <p:cNvSpPr>
            <a:spLocks/>
          </p:cNvSpPr>
          <p:nvPr>
            <p:custDataLst>
              <p:tags r:id="rId171"/>
            </p:custDataLst>
          </p:nvPr>
        </p:nvSpPr>
        <p:spPr bwMode="auto">
          <a:xfrm>
            <a:off x="5894489" y="1902291"/>
            <a:ext cx="37601" cy="75216"/>
          </a:xfrm>
          <a:custGeom>
            <a:avLst/>
            <a:gdLst>
              <a:gd name="T0" fmla="*/ 0 w 60"/>
              <a:gd name="T1" fmla="*/ 46461829 h 51"/>
              <a:gd name="T2" fmla="*/ 1214010 w 60"/>
              <a:gd name="T3" fmla="*/ 37671935 h 51"/>
              <a:gd name="T4" fmla="*/ 3034801 w 60"/>
              <a:gd name="T5" fmla="*/ 23858444 h 51"/>
              <a:gd name="T6" fmla="*/ 4046401 w 60"/>
              <a:gd name="T7" fmla="*/ 16324729 h 51"/>
              <a:gd name="T8" fmla="*/ 5462821 w 60"/>
              <a:gd name="T9" fmla="*/ 10046074 h 51"/>
              <a:gd name="T10" fmla="*/ 6676381 w 60"/>
              <a:gd name="T11" fmla="*/ 5022476 h 51"/>
              <a:gd name="T12" fmla="*/ 8092802 w 60"/>
              <a:gd name="T13" fmla="*/ 0 h 51"/>
              <a:gd name="T14" fmla="*/ 10116002 w 60"/>
              <a:gd name="T15" fmla="*/ 8789894 h 51"/>
              <a:gd name="T16" fmla="*/ 12139202 w 60"/>
              <a:gd name="T17" fmla="*/ 16324729 h 51"/>
              <a:gd name="T18" fmla="*/ 11936792 w 60"/>
              <a:gd name="T19" fmla="*/ 25114624 h 51"/>
              <a:gd name="T20" fmla="*/ 11330012 w 60"/>
              <a:gd name="T21" fmla="*/ 36415756 h 51"/>
              <a:gd name="T22" fmla="*/ 10925192 w 60"/>
              <a:gd name="T23" fmla="*/ 42694412 h 51"/>
              <a:gd name="T24" fmla="*/ 10520822 w 60"/>
              <a:gd name="T25" fmla="*/ 47716888 h 51"/>
              <a:gd name="T26" fmla="*/ 9913592 w 60"/>
              <a:gd name="T27" fmla="*/ 52740485 h 51"/>
              <a:gd name="T28" fmla="*/ 9104402 w 60"/>
              <a:gd name="T29" fmla="*/ 56506782 h 51"/>
              <a:gd name="T30" fmla="*/ 8295212 w 60"/>
              <a:gd name="T31" fmla="*/ 60274200 h 51"/>
              <a:gd name="T32" fmla="*/ 7486021 w 60"/>
              <a:gd name="T33" fmla="*/ 62785438 h 51"/>
              <a:gd name="T34" fmla="*/ 6272011 w 60"/>
              <a:gd name="T35" fmla="*/ 64041618 h 51"/>
              <a:gd name="T36" fmla="*/ 5462821 w 60"/>
              <a:gd name="T37" fmla="*/ 64041618 h 51"/>
              <a:gd name="T38" fmla="*/ 4046401 w 60"/>
              <a:gd name="T39" fmla="*/ 62785438 h 51"/>
              <a:gd name="T40" fmla="*/ 3034801 w 60"/>
              <a:gd name="T41" fmla="*/ 59019141 h 51"/>
              <a:gd name="T42" fmla="*/ 1416420 w 60"/>
              <a:gd name="T43" fmla="*/ 53995544 h 51"/>
              <a:gd name="T44" fmla="*/ 0 w 60"/>
              <a:gd name="T45" fmla="*/ 46461829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43" name="Freeform 245">
            <a:extLst>
              <a:ext uri="{FF2B5EF4-FFF2-40B4-BE49-F238E27FC236}">
                <a16:creationId xmlns:a16="http://schemas.microsoft.com/office/drawing/2014/main" id="{E5CD72CB-ED14-4412-B93E-7F3FFAB8EB1A}"/>
              </a:ext>
            </a:extLst>
          </p:cNvPr>
          <p:cNvSpPr>
            <a:spLocks/>
          </p:cNvSpPr>
          <p:nvPr>
            <p:custDataLst>
              <p:tags r:id="rId172"/>
            </p:custDataLst>
          </p:nvPr>
        </p:nvSpPr>
        <p:spPr bwMode="auto">
          <a:xfrm>
            <a:off x="5121587" y="2113704"/>
            <a:ext cx="39689" cy="73182"/>
          </a:xfrm>
          <a:custGeom>
            <a:avLst/>
            <a:gdLst>
              <a:gd name="T0" fmla="*/ 11059391 w 66"/>
              <a:gd name="T1" fmla="*/ 60274200 h 51"/>
              <a:gd name="T2" fmla="*/ 7872845 w 66"/>
              <a:gd name="T3" fmla="*/ 62785438 h 51"/>
              <a:gd name="T4" fmla="*/ 4123892 w 66"/>
              <a:gd name="T5" fmla="*/ 64041618 h 51"/>
              <a:gd name="T6" fmla="*/ 3186545 w 66"/>
              <a:gd name="T7" fmla="*/ 62785438 h 51"/>
              <a:gd name="T8" fmla="*/ 2436668 w 66"/>
              <a:gd name="T9" fmla="*/ 61530379 h 51"/>
              <a:gd name="T10" fmla="*/ 1874693 w 66"/>
              <a:gd name="T11" fmla="*/ 60274200 h 51"/>
              <a:gd name="T12" fmla="*/ 1312285 w 66"/>
              <a:gd name="T13" fmla="*/ 57762962 h 51"/>
              <a:gd name="T14" fmla="*/ 562408 w 66"/>
              <a:gd name="T15" fmla="*/ 53995544 h 51"/>
              <a:gd name="T16" fmla="*/ 187469 w 66"/>
              <a:gd name="T17" fmla="*/ 50229247 h 51"/>
              <a:gd name="T18" fmla="*/ 0 w 66"/>
              <a:gd name="T19" fmla="*/ 43950591 h 51"/>
              <a:gd name="T20" fmla="*/ 0 w 66"/>
              <a:gd name="T21" fmla="*/ 37671935 h 51"/>
              <a:gd name="T22" fmla="*/ 749877 w 66"/>
              <a:gd name="T23" fmla="*/ 36415756 h 51"/>
              <a:gd name="T24" fmla="*/ 1874693 w 66"/>
              <a:gd name="T25" fmla="*/ 33904518 h 51"/>
              <a:gd name="T26" fmla="*/ 2624138 w 66"/>
              <a:gd name="T27" fmla="*/ 30137100 h 51"/>
              <a:gd name="T28" fmla="*/ 3561484 w 66"/>
              <a:gd name="T29" fmla="*/ 25114624 h 51"/>
              <a:gd name="T30" fmla="*/ 4873769 w 66"/>
              <a:gd name="T31" fmla="*/ 12557312 h 51"/>
              <a:gd name="T32" fmla="*/ 6186055 w 66"/>
              <a:gd name="T33" fmla="*/ 0 h 51"/>
              <a:gd name="T34" fmla="*/ 8622723 w 66"/>
              <a:gd name="T35" fmla="*/ 1256179 h 51"/>
              <a:gd name="T36" fmla="*/ 9747539 w 66"/>
              <a:gd name="T37" fmla="*/ 2511238 h 51"/>
              <a:gd name="T38" fmla="*/ 10496983 w 66"/>
              <a:gd name="T39" fmla="*/ 3767418 h 51"/>
              <a:gd name="T40" fmla="*/ 12371676 w 66"/>
              <a:gd name="T41" fmla="*/ 0 h 51"/>
              <a:gd name="T42" fmla="*/ 12184207 w 66"/>
              <a:gd name="T43" fmla="*/ 16324729 h 51"/>
              <a:gd name="T44" fmla="*/ 11809268 w 66"/>
              <a:gd name="T45" fmla="*/ 30137100 h 51"/>
              <a:gd name="T46" fmla="*/ 11246860 w 66"/>
              <a:gd name="T47" fmla="*/ 45205650 h 51"/>
              <a:gd name="T48" fmla="*/ 11059391 w 66"/>
              <a:gd name="T49" fmla="*/ 60274200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44" name="Freeform 246">
            <a:extLst>
              <a:ext uri="{FF2B5EF4-FFF2-40B4-BE49-F238E27FC236}">
                <a16:creationId xmlns:a16="http://schemas.microsoft.com/office/drawing/2014/main" id="{3DD8E8B2-5D6C-44CD-B310-CC35F623CFDE}"/>
              </a:ext>
            </a:extLst>
          </p:cNvPr>
          <p:cNvSpPr>
            <a:spLocks/>
          </p:cNvSpPr>
          <p:nvPr>
            <p:custDataLst>
              <p:tags r:id="rId173"/>
            </p:custDataLst>
          </p:nvPr>
        </p:nvSpPr>
        <p:spPr bwMode="auto">
          <a:xfrm>
            <a:off x="6445965" y="2800800"/>
            <a:ext cx="71023" cy="73182"/>
          </a:xfrm>
          <a:custGeom>
            <a:avLst/>
            <a:gdLst>
              <a:gd name="T0" fmla="*/ 0 w 113"/>
              <a:gd name="T1" fmla="*/ 26243434 h 74"/>
              <a:gd name="T2" fmla="*/ 4041972 w 113"/>
              <a:gd name="T3" fmla="*/ 44136791 h 74"/>
              <a:gd name="T4" fmla="*/ 7477940 w 113"/>
              <a:gd name="T5" fmla="*/ 41154951 h 74"/>
              <a:gd name="T6" fmla="*/ 10307005 w 113"/>
              <a:gd name="T7" fmla="*/ 38768552 h 74"/>
              <a:gd name="T8" fmla="*/ 12934669 w 113"/>
              <a:gd name="T9" fmla="*/ 35190499 h 74"/>
              <a:gd name="T10" fmla="*/ 14955430 w 113"/>
              <a:gd name="T11" fmla="*/ 31611673 h 74"/>
              <a:gd name="T12" fmla="*/ 15763735 w 113"/>
              <a:gd name="T13" fmla="*/ 29226047 h 74"/>
              <a:gd name="T14" fmla="*/ 16774340 w 113"/>
              <a:gd name="T15" fmla="*/ 26839648 h 74"/>
              <a:gd name="T16" fmla="*/ 17380793 w 113"/>
              <a:gd name="T17" fmla="*/ 24454022 h 74"/>
              <a:gd name="T18" fmla="*/ 17784945 w 113"/>
              <a:gd name="T19" fmla="*/ 22068395 h 74"/>
              <a:gd name="T20" fmla="*/ 18189097 w 113"/>
              <a:gd name="T21" fmla="*/ 19086555 h 74"/>
              <a:gd name="T22" fmla="*/ 18391398 w 113"/>
              <a:gd name="T23" fmla="*/ 15507730 h 74"/>
              <a:gd name="T24" fmla="*/ 18795550 w 113"/>
              <a:gd name="T25" fmla="*/ 11332691 h 74"/>
              <a:gd name="T26" fmla="*/ 18997402 w 113"/>
              <a:gd name="T27" fmla="*/ 7753865 h 74"/>
              <a:gd name="T28" fmla="*/ 20008007 w 113"/>
              <a:gd name="T29" fmla="*/ 7157651 h 74"/>
              <a:gd name="T30" fmla="*/ 21422765 w 113"/>
              <a:gd name="T31" fmla="*/ 5368239 h 74"/>
              <a:gd name="T32" fmla="*/ 21826917 w 113"/>
              <a:gd name="T33" fmla="*/ 4175039 h 74"/>
              <a:gd name="T34" fmla="*/ 22433370 w 113"/>
              <a:gd name="T35" fmla="*/ 2981840 h 74"/>
              <a:gd name="T36" fmla="*/ 22635221 w 113"/>
              <a:gd name="T37" fmla="*/ 1789413 h 74"/>
              <a:gd name="T38" fmla="*/ 22837522 w 113"/>
              <a:gd name="T39" fmla="*/ 0 h 74"/>
              <a:gd name="T40" fmla="*/ 19806156 w 113"/>
              <a:gd name="T41" fmla="*/ 2385626 h 74"/>
              <a:gd name="T42" fmla="*/ 16572488 w 113"/>
              <a:gd name="T43" fmla="*/ 4771253 h 74"/>
              <a:gd name="T44" fmla="*/ 13136520 w 113"/>
              <a:gd name="T45" fmla="*/ 7753865 h 74"/>
              <a:gd name="T46" fmla="*/ 9902853 w 113"/>
              <a:gd name="T47" fmla="*/ 11332691 h 74"/>
              <a:gd name="T48" fmla="*/ 4041972 w 113"/>
              <a:gd name="T49" fmla="*/ 19682769 h 74"/>
              <a:gd name="T50" fmla="*/ 0 w 113"/>
              <a:gd name="T51" fmla="*/ 26243434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45" name="Freeform 247">
            <a:extLst>
              <a:ext uri="{FF2B5EF4-FFF2-40B4-BE49-F238E27FC236}">
                <a16:creationId xmlns:a16="http://schemas.microsoft.com/office/drawing/2014/main" id="{CC829393-18D1-46DB-AFDC-29B40E364843}"/>
              </a:ext>
            </a:extLst>
          </p:cNvPr>
          <p:cNvSpPr>
            <a:spLocks/>
          </p:cNvSpPr>
          <p:nvPr>
            <p:custDataLst>
              <p:tags r:id="rId174"/>
            </p:custDataLst>
          </p:nvPr>
        </p:nvSpPr>
        <p:spPr bwMode="auto">
          <a:xfrm>
            <a:off x="5900755" y="3829410"/>
            <a:ext cx="453298" cy="319154"/>
          </a:xfrm>
          <a:custGeom>
            <a:avLst/>
            <a:gdLst>
              <a:gd name="T0" fmla="*/ 18650245 w 746"/>
              <a:gd name="T1" fmla="*/ 122817672 h 469"/>
              <a:gd name="T2" fmla="*/ 10276568 w 746"/>
              <a:gd name="T3" fmla="*/ 119557137 h 469"/>
              <a:gd name="T4" fmla="*/ 3996419 w 746"/>
              <a:gd name="T5" fmla="*/ 116568182 h 469"/>
              <a:gd name="T6" fmla="*/ 951445 w 746"/>
              <a:gd name="T7" fmla="*/ 112220801 h 469"/>
              <a:gd name="T8" fmla="*/ 0 w 746"/>
              <a:gd name="T9" fmla="*/ 98634976 h 469"/>
              <a:gd name="T10" fmla="*/ 951445 w 746"/>
              <a:gd name="T11" fmla="*/ 83961785 h 469"/>
              <a:gd name="T12" fmla="*/ 4377259 w 746"/>
              <a:gd name="T13" fmla="*/ 74179657 h 469"/>
              <a:gd name="T14" fmla="*/ 10657407 w 746"/>
              <a:gd name="T15" fmla="*/ 61952259 h 469"/>
              <a:gd name="T16" fmla="*/ 23027067 w 746"/>
              <a:gd name="T17" fmla="*/ 55431188 h 469"/>
              <a:gd name="T18" fmla="*/ 31590946 w 746"/>
              <a:gd name="T19" fmla="*/ 51083807 h 469"/>
              <a:gd name="T20" fmla="*/ 44722285 w 746"/>
              <a:gd name="T21" fmla="*/ 47007486 h 469"/>
              <a:gd name="T22" fmla="*/ 49860787 w 746"/>
              <a:gd name="T23" fmla="*/ 41573260 h 469"/>
              <a:gd name="T24" fmla="*/ 50812233 w 746"/>
              <a:gd name="T25" fmla="*/ 36954299 h 469"/>
              <a:gd name="T26" fmla="*/ 55569895 w 746"/>
              <a:gd name="T27" fmla="*/ 32606397 h 469"/>
              <a:gd name="T28" fmla="*/ 63182328 w 746"/>
              <a:gd name="T29" fmla="*/ 31247971 h 469"/>
              <a:gd name="T30" fmla="*/ 68320394 w 746"/>
              <a:gd name="T31" fmla="*/ 27443752 h 469"/>
              <a:gd name="T32" fmla="*/ 74029501 w 746"/>
              <a:gd name="T33" fmla="*/ 18205308 h 469"/>
              <a:gd name="T34" fmla="*/ 80880692 w 746"/>
              <a:gd name="T35" fmla="*/ 5977909 h 469"/>
              <a:gd name="T36" fmla="*/ 85638354 w 746"/>
              <a:gd name="T37" fmla="*/ 1630528 h 469"/>
              <a:gd name="T38" fmla="*/ 92489544 w 746"/>
              <a:gd name="T39" fmla="*/ 0 h 469"/>
              <a:gd name="T40" fmla="*/ 96485963 w 746"/>
              <a:gd name="T41" fmla="*/ 7880018 h 469"/>
              <a:gd name="T42" fmla="*/ 101243625 w 746"/>
              <a:gd name="T43" fmla="*/ 14401089 h 469"/>
              <a:gd name="T44" fmla="*/ 105240044 w 746"/>
              <a:gd name="T45" fmla="*/ 29074281 h 469"/>
              <a:gd name="T46" fmla="*/ 110187908 w 746"/>
              <a:gd name="T47" fmla="*/ 43203789 h 469"/>
              <a:gd name="T48" fmla="*/ 116658695 w 746"/>
              <a:gd name="T49" fmla="*/ 46735905 h 469"/>
              <a:gd name="T50" fmla="*/ 119513030 w 746"/>
              <a:gd name="T51" fmla="*/ 52442233 h 469"/>
              <a:gd name="T52" fmla="*/ 123700087 w 746"/>
              <a:gd name="T53" fmla="*/ 63311206 h 469"/>
              <a:gd name="T54" fmla="*/ 133595815 w 746"/>
              <a:gd name="T55" fmla="*/ 75810186 h 469"/>
              <a:gd name="T56" fmla="*/ 141018047 w 746"/>
              <a:gd name="T57" fmla="*/ 85592313 h 469"/>
              <a:gd name="T58" fmla="*/ 135308939 w 746"/>
              <a:gd name="T59" fmla="*/ 93743913 h 469"/>
              <a:gd name="T60" fmla="*/ 131502723 w 746"/>
              <a:gd name="T61" fmla="*/ 92928649 h 469"/>
              <a:gd name="T62" fmla="*/ 129218992 w 746"/>
              <a:gd name="T63" fmla="*/ 87222321 h 469"/>
              <a:gd name="T64" fmla="*/ 123890289 w 746"/>
              <a:gd name="T65" fmla="*/ 89668113 h 469"/>
              <a:gd name="T66" fmla="*/ 121606559 w 746"/>
              <a:gd name="T67" fmla="*/ 95646022 h 469"/>
              <a:gd name="T68" fmla="*/ 114946006 w 746"/>
              <a:gd name="T69" fmla="*/ 96732867 h 469"/>
              <a:gd name="T70" fmla="*/ 105240044 w 746"/>
              <a:gd name="T71" fmla="*/ 96732867 h 469"/>
              <a:gd name="T72" fmla="*/ 99340735 w 746"/>
              <a:gd name="T73" fmla="*/ 99178138 h 469"/>
              <a:gd name="T74" fmla="*/ 94392435 w 746"/>
              <a:gd name="T75" fmla="*/ 105156047 h 469"/>
              <a:gd name="T76" fmla="*/ 92489544 w 746"/>
              <a:gd name="T77" fmla="*/ 107058157 h 469"/>
              <a:gd name="T78" fmla="*/ 81070894 w 746"/>
              <a:gd name="T79" fmla="*/ 108688164 h 469"/>
              <a:gd name="T80" fmla="*/ 75361786 w 746"/>
              <a:gd name="T81" fmla="*/ 106514474 h 469"/>
              <a:gd name="T82" fmla="*/ 66417504 w 746"/>
              <a:gd name="T83" fmla="*/ 96189184 h 469"/>
              <a:gd name="T84" fmla="*/ 60707960 w 746"/>
              <a:gd name="T85" fmla="*/ 93743913 h 469"/>
              <a:gd name="T86" fmla="*/ 55379693 w 746"/>
              <a:gd name="T87" fmla="*/ 96460765 h 469"/>
              <a:gd name="T88" fmla="*/ 50622031 w 746"/>
              <a:gd name="T89" fmla="*/ 102438674 h 469"/>
              <a:gd name="T90" fmla="*/ 43199799 w 746"/>
              <a:gd name="T91" fmla="*/ 118741872 h 469"/>
              <a:gd name="T92" fmla="*/ 28545973 w 746"/>
              <a:gd name="T93" fmla="*/ 119285556 h 469"/>
              <a:gd name="T94" fmla="*/ 25691637 w 746"/>
              <a:gd name="T95" fmla="*/ 121730827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46" name="Freeform 248">
            <a:extLst>
              <a:ext uri="{FF2B5EF4-FFF2-40B4-BE49-F238E27FC236}">
                <a16:creationId xmlns:a16="http://schemas.microsoft.com/office/drawing/2014/main" id="{E1969BAD-142E-4CD5-8AFE-798CB9EF8327}"/>
              </a:ext>
            </a:extLst>
          </p:cNvPr>
          <p:cNvSpPr>
            <a:spLocks/>
          </p:cNvSpPr>
          <p:nvPr>
            <p:custDataLst>
              <p:tags r:id="rId175"/>
            </p:custDataLst>
          </p:nvPr>
        </p:nvSpPr>
        <p:spPr bwMode="auto">
          <a:xfrm>
            <a:off x="5813020" y="4048955"/>
            <a:ext cx="695613" cy="717588"/>
          </a:xfrm>
          <a:custGeom>
            <a:avLst/>
            <a:gdLst>
              <a:gd name="T0" fmla="*/ 172045348 w 1145"/>
              <a:gd name="T1" fmla="*/ 15689475 h 1053"/>
              <a:gd name="T2" fmla="*/ 189402522 w 1145"/>
              <a:gd name="T3" fmla="*/ 18166319 h 1053"/>
              <a:gd name="T4" fmla="*/ 205996719 w 1145"/>
              <a:gd name="T5" fmla="*/ 22295266 h 1053"/>
              <a:gd name="T6" fmla="*/ 214770733 w 1145"/>
              <a:gd name="T7" fmla="*/ 48169128 h 1053"/>
              <a:gd name="T8" fmla="*/ 216105833 w 1145"/>
              <a:gd name="T9" fmla="*/ 58078077 h 1053"/>
              <a:gd name="T10" fmla="*/ 201800566 w 1145"/>
              <a:gd name="T11" fmla="*/ 74868255 h 1053"/>
              <a:gd name="T12" fmla="*/ 199320783 w 1145"/>
              <a:gd name="T13" fmla="*/ 99090538 h 1053"/>
              <a:gd name="T14" fmla="*/ 191310182 w 1145"/>
              <a:gd name="T15" fmla="*/ 121110366 h 1053"/>
              <a:gd name="T16" fmla="*/ 188830399 w 1145"/>
              <a:gd name="T17" fmla="*/ 131019315 h 1053"/>
              <a:gd name="T18" fmla="*/ 194361652 w 1145"/>
              <a:gd name="T19" fmla="*/ 158544756 h 1053"/>
              <a:gd name="T20" fmla="*/ 195696752 w 1145"/>
              <a:gd name="T21" fmla="*/ 182767039 h 1053"/>
              <a:gd name="T22" fmla="*/ 199702489 w 1145"/>
              <a:gd name="T23" fmla="*/ 201208796 h 1053"/>
              <a:gd name="T24" fmla="*/ 205805866 w 1145"/>
              <a:gd name="T25" fmla="*/ 210567393 h 1053"/>
              <a:gd name="T26" fmla="*/ 208285650 w 1145"/>
              <a:gd name="T27" fmla="*/ 227082133 h 1053"/>
              <a:gd name="T28" fmla="*/ 198367389 w 1145"/>
              <a:gd name="T29" fmla="*/ 232311783 h 1053"/>
              <a:gd name="T30" fmla="*/ 190165499 w 1145"/>
              <a:gd name="T31" fmla="*/ 235614941 h 1053"/>
              <a:gd name="T32" fmla="*/ 183108292 w 1145"/>
              <a:gd name="T33" fmla="*/ 273049331 h 1053"/>
              <a:gd name="T34" fmla="*/ 177386185 w 1145"/>
              <a:gd name="T35" fmla="*/ 282407928 h 1053"/>
              <a:gd name="T36" fmla="*/ 172045348 w 1145"/>
              <a:gd name="T37" fmla="*/ 283784069 h 1053"/>
              <a:gd name="T38" fmla="*/ 160219865 w 1145"/>
              <a:gd name="T39" fmla="*/ 289839509 h 1053"/>
              <a:gd name="T40" fmla="*/ 149156921 w 1145"/>
              <a:gd name="T41" fmla="*/ 285435648 h 1053"/>
              <a:gd name="T42" fmla="*/ 141718008 w 1145"/>
              <a:gd name="T43" fmla="*/ 279104770 h 1053"/>
              <a:gd name="T44" fmla="*/ 134851654 w 1145"/>
              <a:gd name="T45" fmla="*/ 274425472 h 1053"/>
              <a:gd name="T46" fmla="*/ 128557424 w 1145"/>
              <a:gd name="T47" fmla="*/ 271397752 h 1053"/>
              <a:gd name="T48" fmla="*/ 115968527 w 1145"/>
              <a:gd name="T49" fmla="*/ 271673190 h 1053"/>
              <a:gd name="T50" fmla="*/ 113298327 w 1145"/>
              <a:gd name="T51" fmla="*/ 259286873 h 1053"/>
              <a:gd name="T52" fmla="*/ 109674297 w 1145"/>
              <a:gd name="T53" fmla="*/ 243321959 h 1053"/>
              <a:gd name="T54" fmla="*/ 112535350 w 1145"/>
              <a:gd name="T55" fmla="*/ 232862659 h 1053"/>
              <a:gd name="T56" fmla="*/ 112535350 w 1145"/>
              <a:gd name="T57" fmla="*/ 214420902 h 1053"/>
              <a:gd name="T58" fmla="*/ 86595016 w 1145"/>
              <a:gd name="T59" fmla="*/ 207814587 h 1053"/>
              <a:gd name="T60" fmla="*/ 84496939 w 1145"/>
              <a:gd name="T61" fmla="*/ 216071957 h 1053"/>
              <a:gd name="T62" fmla="*/ 75532072 w 1145"/>
              <a:gd name="T63" fmla="*/ 224880203 h 1053"/>
              <a:gd name="T64" fmla="*/ 64278712 w 1145"/>
              <a:gd name="T65" fmla="*/ 219375114 h 1053"/>
              <a:gd name="T66" fmla="*/ 56648945 w 1145"/>
              <a:gd name="T67" fmla="*/ 194877918 h 1053"/>
              <a:gd name="T68" fmla="*/ 572123 w 1145"/>
              <a:gd name="T69" fmla="*/ 184693531 h 1053"/>
              <a:gd name="T70" fmla="*/ 8583160 w 1145"/>
              <a:gd name="T71" fmla="*/ 183592304 h 1053"/>
              <a:gd name="T72" fmla="*/ 4959130 w 1145"/>
              <a:gd name="T73" fmla="*/ 173683355 h 1053"/>
              <a:gd name="T74" fmla="*/ 14305267 w 1145"/>
              <a:gd name="T75" fmla="*/ 169279494 h 1053"/>
              <a:gd name="T76" fmla="*/ 27657141 w 1145"/>
              <a:gd name="T77" fmla="*/ 169004056 h 1053"/>
              <a:gd name="T78" fmla="*/ 34905201 w 1145"/>
              <a:gd name="T79" fmla="*/ 170655635 h 1053"/>
              <a:gd name="T80" fmla="*/ 41962408 w 1145"/>
              <a:gd name="T81" fmla="*/ 157994404 h 1053"/>
              <a:gd name="T82" fmla="*/ 49591738 w 1145"/>
              <a:gd name="T83" fmla="*/ 152764229 h 1053"/>
              <a:gd name="T84" fmla="*/ 53597475 w 1145"/>
              <a:gd name="T85" fmla="*/ 121110366 h 1053"/>
              <a:gd name="T86" fmla="*/ 65995082 w 1145"/>
              <a:gd name="T87" fmla="*/ 101842820 h 1053"/>
              <a:gd name="T88" fmla="*/ 70572942 w 1145"/>
              <a:gd name="T89" fmla="*/ 75969482 h 1053"/>
              <a:gd name="T90" fmla="*/ 70954649 w 1145"/>
              <a:gd name="T91" fmla="*/ 49545269 h 1053"/>
              <a:gd name="T92" fmla="*/ 73052726 w 1145"/>
              <a:gd name="T93" fmla="*/ 33580880 h 1053"/>
              <a:gd name="T94" fmla="*/ 83924816 w 1145"/>
              <a:gd name="T95" fmla="*/ 9634035 h 1053"/>
              <a:gd name="T96" fmla="*/ 93652223 w 1145"/>
              <a:gd name="T97" fmla="*/ 8257370 h 1053"/>
              <a:gd name="T98" fmla="*/ 106431536 w 1145"/>
              <a:gd name="T99" fmla="*/ 21194563 h 1053"/>
              <a:gd name="T100" fmla="*/ 121499780 w 1145"/>
              <a:gd name="T101" fmla="*/ 20093336 h 1053"/>
              <a:gd name="T102" fmla="*/ 127794447 w 1145"/>
              <a:gd name="T103" fmla="*/ 12110879 h 1053"/>
              <a:gd name="T104" fmla="*/ 140001638 w 1145"/>
              <a:gd name="T105" fmla="*/ 9358597 h 1053"/>
              <a:gd name="T106" fmla="*/ 151636705 w 1145"/>
              <a:gd name="T107" fmla="*/ 4679299 h 1053"/>
              <a:gd name="T108" fmla="*/ 157930935 w 1145"/>
              <a:gd name="T109" fmla="*/ 2201930 h 1053"/>
              <a:gd name="T110" fmla="*/ 163843895 w 1145"/>
              <a:gd name="T111" fmla="*/ 6605791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47" name="Freeform 249">
            <a:extLst>
              <a:ext uri="{FF2B5EF4-FFF2-40B4-BE49-F238E27FC236}">
                <a16:creationId xmlns:a16="http://schemas.microsoft.com/office/drawing/2014/main" id="{BF16CE74-140E-4365-A0BA-E70EBEB5FC9E}"/>
              </a:ext>
            </a:extLst>
          </p:cNvPr>
          <p:cNvSpPr>
            <a:spLocks/>
          </p:cNvSpPr>
          <p:nvPr>
            <p:custDataLst>
              <p:tags r:id="rId176"/>
            </p:custDataLst>
          </p:nvPr>
        </p:nvSpPr>
        <p:spPr bwMode="auto">
          <a:xfrm>
            <a:off x="5723197" y="4179057"/>
            <a:ext cx="77290" cy="73182"/>
          </a:xfrm>
          <a:custGeom>
            <a:avLst/>
            <a:gdLst>
              <a:gd name="T0" fmla="*/ 23709417 w 125"/>
              <a:gd name="T1" fmla="*/ 0 h 81"/>
              <a:gd name="T2" fmla="*/ 23906773 w 125"/>
              <a:gd name="T3" fmla="*/ 12704720 h 81"/>
              <a:gd name="T4" fmla="*/ 24499731 w 125"/>
              <a:gd name="T5" fmla="*/ 21644875 h 81"/>
              <a:gd name="T6" fmla="*/ 24697087 w 125"/>
              <a:gd name="T7" fmla="*/ 24938869 h 81"/>
              <a:gd name="T8" fmla="*/ 24697087 w 125"/>
              <a:gd name="T9" fmla="*/ 27762293 h 81"/>
              <a:gd name="T10" fmla="*/ 24697087 w 125"/>
              <a:gd name="T11" fmla="*/ 30585717 h 81"/>
              <a:gd name="T12" fmla="*/ 24301930 w 125"/>
              <a:gd name="T13" fmla="*/ 32467313 h 81"/>
              <a:gd name="T14" fmla="*/ 23511616 w 125"/>
              <a:gd name="T15" fmla="*/ 33879025 h 81"/>
              <a:gd name="T16" fmla="*/ 22128789 w 125"/>
              <a:gd name="T17" fmla="*/ 34820166 h 81"/>
              <a:gd name="T18" fmla="*/ 20350360 w 125"/>
              <a:gd name="T19" fmla="*/ 35761307 h 81"/>
              <a:gd name="T20" fmla="*/ 17979419 w 125"/>
              <a:gd name="T21" fmla="*/ 36231878 h 81"/>
              <a:gd name="T22" fmla="*/ 11261751 w 125"/>
              <a:gd name="T23" fmla="*/ 37173019 h 81"/>
              <a:gd name="T24" fmla="*/ 1382827 w 125"/>
              <a:gd name="T25" fmla="*/ 38114160 h 81"/>
              <a:gd name="T26" fmla="*/ 987670 w 125"/>
              <a:gd name="T27" fmla="*/ 37173019 h 81"/>
              <a:gd name="T28" fmla="*/ 592513 w 125"/>
              <a:gd name="T29" fmla="*/ 33879025 h 81"/>
              <a:gd name="T30" fmla="*/ 197356 w 125"/>
              <a:gd name="T31" fmla="*/ 27762293 h 81"/>
              <a:gd name="T32" fmla="*/ 0 w 125"/>
              <a:gd name="T33" fmla="*/ 20233164 h 81"/>
              <a:gd name="T34" fmla="*/ 0 w 125"/>
              <a:gd name="T35" fmla="*/ 17410426 h 81"/>
              <a:gd name="T36" fmla="*/ 197356 w 125"/>
              <a:gd name="T37" fmla="*/ 14587002 h 81"/>
              <a:gd name="T38" fmla="*/ 395157 w 125"/>
              <a:gd name="T39" fmla="*/ 11763579 h 81"/>
              <a:gd name="T40" fmla="*/ 790314 w 125"/>
              <a:gd name="T41" fmla="*/ 9410726 h 81"/>
              <a:gd name="T42" fmla="*/ 1580628 w 125"/>
              <a:gd name="T43" fmla="*/ 7057873 h 81"/>
              <a:gd name="T44" fmla="*/ 2173141 w 125"/>
              <a:gd name="T45" fmla="*/ 4705706 h 81"/>
              <a:gd name="T46" fmla="*/ 2766099 w 125"/>
              <a:gd name="T47" fmla="*/ 2352853 h 81"/>
              <a:gd name="T48" fmla="*/ 3951569 w 125"/>
              <a:gd name="T49" fmla="*/ 0 h 81"/>
              <a:gd name="T50" fmla="*/ 23709417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48" name="Freeform 250">
            <a:extLst>
              <a:ext uri="{FF2B5EF4-FFF2-40B4-BE49-F238E27FC236}">
                <a16:creationId xmlns:a16="http://schemas.microsoft.com/office/drawing/2014/main" id="{ACE977F9-A151-4114-9306-CC6C7EE77CE3}"/>
              </a:ext>
            </a:extLst>
          </p:cNvPr>
          <p:cNvSpPr>
            <a:spLocks/>
          </p:cNvSpPr>
          <p:nvPr>
            <p:custDataLst>
              <p:tags r:id="rId177"/>
            </p:custDataLst>
          </p:nvPr>
        </p:nvSpPr>
        <p:spPr bwMode="auto">
          <a:xfrm>
            <a:off x="5700219" y="4179057"/>
            <a:ext cx="210982" cy="262235"/>
          </a:xfrm>
          <a:custGeom>
            <a:avLst/>
            <a:gdLst>
              <a:gd name="T0" fmla="*/ 48285042 w 355"/>
              <a:gd name="T1" fmla="*/ 4049927 h 388"/>
              <a:gd name="T2" fmla="*/ 47363774 w 355"/>
              <a:gd name="T3" fmla="*/ 9990236 h 388"/>
              <a:gd name="T4" fmla="*/ 48653807 w 355"/>
              <a:gd name="T5" fmla="*/ 13770480 h 388"/>
              <a:gd name="T6" fmla="*/ 52155573 w 355"/>
              <a:gd name="T7" fmla="*/ 16200228 h 388"/>
              <a:gd name="T8" fmla="*/ 58789910 w 355"/>
              <a:gd name="T9" fmla="*/ 14850252 h 388"/>
              <a:gd name="T10" fmla="*/ 61185810 w 355"/>
              <a:gd name="T11" fmla="*/ 15390139 h 388"/>
              <a:gd name="T12" fmla="*/ 62660441 w 355"/>
              <a:gd name="T13" fmla="*/ 18360293 h 388"/>
              <a:gd name="T14" fmla="*/ 63581709 w 355"/>
              <a:gd name="T15" fmla="*/ 22410740 h 388"/>
              <a:gd name="T16" fmla="*/ 64687575 w 355"/>
              <a:gd name="T17" fmla="*/ 25380375 h 388"/>
              <a:gd name="T18" fmla="*/ 63581709 w 355"/>
              <a:gd name="T19" fmla="*/ 29160618 h 388"/>
              <a:gd name="T20" fmla="*/ 58974507 w 355"/>
              <a:gd name="T21" fmla="*/ 36720586 h 388"/>
              <a:gd name="T22" fmla="*/ 64134642 w 355"/>
              <a:gd name="T23" fmla="*/ 47251228 h 388"/>
              <a:gd name="T24" fmla="*/ 65424676 w 355"/>
              <a:gd name="T25" fmla="*/ 54540993 h 388"/>
              <a:gd name="T26" fmla="*/ 65055911 w 355"/>
              <a:gd name="T27" fmla="*/ 59131326 h 388"/>
              <a:gd name="T28" fmla="*/ 63581709 w 355"/>
              <a:gd name="T29" fmla="*/ 68581676 h 388"/>
              <a:gd name="T30" fmla="*/ 61369977 w 355"/>
              <a:gd name="T31" fmla="*/ 73171489 h 388"/>
              <a:gd name="T32" fmla="*/ 57499876 w 355"/>
              <a:gd name="T33" fmla="*/ 75601757 h 388"/>
              <a:gd name="T34" fmla="*/ 52708506 w 355"/>
              <a:gd name="T35" fmla="*/ 76141644 h 388"/>
              <a:gd name="T36" fmla="*/ 49759673 w 355"/>
              <a:gd name="T37" fmla="*/ 76141644 h 388"/>
              <a:gd name="T38" fmla="*/ 46442505 w 355"/>
              <a:gd name="T39" fmla="*/ 71551830 h 388"/>
              <a:gd name="T40" fmla="*/ 44230773 w 355"/>
              <a:gd name="T41" fmla="*/ 69931651 h 388"/>
              <a:gd name="T42" fmla="*/ 40729007 w 355"/>
              <a:gd name="T43" fmla="*/ 72631603 h 388"/>
              <a:gd name="T44" fmla="*/ 37780604 w 355"/>
              <a:gd name="T45" fmla="*/ 75331554 h 388"/>
              <a:gd name="T46" fmla="*/ 35753040 w 355"/>
              <a:gd name="T47" fmla="*/ 76951733 h 388"/>
              <a:gd name="T48" fmla="*/ 34094670 w 355"/>
              <a:gd name="T49" fmla="*/ 80461774 h 388"/>
              <a:gd name="T50" fmla="*/ 34463006 w 355"/>
              <a:gd name="T51" fmla="*/ 86671766 h 388"/>
              <a:gd name="T52" fmla="*/ 38148940 w 355"/>
              <a:gd name="T53" fmla="*/ 96662002 h 388"/>
              <a:gd name="T54" fmla="*/ 35937637 w 355"/>
              <a:gd name="T55" fmla="*/ 95312026 h 388"/>
              <a:gd name="T56" fmla="*/ 32620039 w 355"/>
              <a:gd name="T57" fmla="*/ 95852432 h 388"/>
              <a:gd name="T58" fmla="*/ 29855804 w 355"/>
              <a:gd name="T59" fmla="*/ 98552384 h 388"/>
              <a:gd name="T60" fmla="*/ 26906971 w 355"/>
              <a:gd name="T61" fmla="*/ 104762376 h 388"/>
              <a:gd name="T62" fmla="*/ 22668105 w 355"/>
              <a:gd name="T63" fmla="*/ 99902359 h 388"/>
              <a:gd name="T64" fmla="*/ 20825138 w 355"/>
              <a:gd name="T65" fmla="*/ 96662002 h 388"/>
              <a:gd name="T66" fmla="*/ 17692137 w 355"/>
              <a:gd name="T67" fmla="*/ 87481855 h 388"/>
              <a:gd name="T68" fmla="*/ 9214834 w 355"/>
              <a:gd name="T69" fmla="*/ 75601757 h 388"/>
              <a:gd name="T70" fmla="*/ 4054699 w 355"/>
              <a:gd name="T71" fmla="*/ 68581676 h 388"/>
              <a:gd name="T72" fmla="*/ 921269 w 355"/>
              <a:gd name="T73" fmla="*/ 60211619 h 388"/>
              <a:gd name="T74" fmla="*/ 184168 w 355"/>
              <a:gd name="T75" fmla="*/ 50491066 h 388"/>
              <a:gd name="T76" fmla="*/ 2027135 w 355"/>
              <a:gd name="T77" fmla="*/ 43741187 h 388"/>
              <a:gd name="T78" fmla="*/ 7556035 w 355"/>
              <a:gd name="T79" fmla="*/ 36180700 h 388"/>
              <a:gd name="T80" fmla="*/ 9951935 w 355"/>
              <a:gd name="T81" fmla="*/ 31320683 h 388"/>
              <a:gd name="T82" fmla="*/ 10320700 w 355"/>
              <a:gd name="T83" fmla="*/ 24570805 h 388"/>
              <a:gd name="T84" fmla="*/ 19903869 w 355"/>
              <a:gd name="T85" fmla="*/ 22410740 h 388"/>
              <a:gd name="T86" fmla="*/ 28749938 w 355"/>
              <a:gd name="T87" fmla="*/ 21600651 h 388"/>
              <a:gd name="T88" fmla="*/ 31698771 w 355"/>
              <a:gd name="T89" fmla="*/ 19710269 h 388"/>
              <a:gd name="T90" fmla="*/ 32620039 w 355"/>
              <a:gd name="T91" fmla="*/ 17010317 h 388"/>
              <a:gd name="T92" fmla="*/ 32067106 w 355"/>
              <a:gd name="T93" fmla="*/ 11070009 h 388"/>
              <a:gd name="T94" fmla="*/ 30777073 w 355"/>
              <a:gd name="T95" fmla="*/ 3239838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49" name="Freeform 251">
            <a:extLst>
              <a:ext uri="{FF2B5EF4-FFF2-40B4-BE49-F238E27FC236}">
                <a16:creationId xmlns:a16="http://schemas.microsoft.com/office/drawing/2014/main" id="{FD17D594-E501-4273-AA00-E37C9A7A0491}"/>
              </a:ext>
            </a:extLst>
          </p:cNvPr>
          <p:cNvSpPr>
            <a:spLocks/>
          </p:cNvSpPr>
          <p:nvPr>
            <p:custDataLst>
              <p:tags r:id="rId178"/>
            </p:custDataLst>
          </p:nvPr>
        </p:nvSpPr>
        <p:spPr bwMode="auto">
          <a:xfrm>
            <a:off x="6441788" y="4705559"/>
            <a:ext cx="363473" cy="676930"/>
          </a:xfrm>
          <a:custGeom>
            <a:avLst/>
            <a:gdLst>
              <a:gd name="T0" fmla="*/ 0 w 599"/>
              <a:gd name="T1" fmla="*/ 71215819 h 993"/>
              <a:gd name="T2" fmla="*/ 34382282 w 599"/>
              <a:gd name="T3" fmla="*/ 61592046 h 993"/>
              <a:gd name="T4" fmla="*/ 43449764 w 599"/>
              <a:gd name="T5" fmla="*/ 65991515 h 993"/>
              <a:gd name="T6" fmla="*/ 48739345 w 599"/>
              <a:gd name="T7" fmla="*/ 70941049 h 993"/>
              <a:gd name="T8" fmla="*/ 47606236 w 599"/>
              <a:gd name="T9" fmla="*/ 81389657 h 993"/>
              <a:gd name="T10" fmla="*/ 44205605 w 599"/>
              <a:gd name="T11" fmla="*/ 89913301 h 993"/>
              <a:gd name="T12" fmla="*/ 47228098 w 599"/>
              <a:gd name="T13" fmla="*/ 98162175 h 993"/>
              <a:gd name="T14" fmla="*/ 55540174 w 599"/>
              <a:gd name="T15" fmla="*/ 100361910 h 993"/>
              <a:gd name="T16" fmla="*/ 60263419 w 599"/>
              <a:gd name="T17" fmla="*/ 93487936 h 993"/>
              <a:gd name="T18" fmla="*/ 63852685 w 599"/>
              <a:gd name="T19" fmla="*/ 87163502 h 993"/>
              <a:gd name="T20" fmla="*/ 62719141 w 599"/>
              <a:gd name="T21" fmla="*/ 71765884 h 993"/>
              <a:gd name="T22" fmla="*/ 59318509 w 599"/>
              <a:gd name="T23" fmla="*/ 56092971 h 993"/>
              <a:gd name="T24" fmla="*/ 51195502 w 599"/>
              <a:gd name="T25" fmla="*/ 43169334 h 993"/>
              <a:gd name="T26" fmla="*/ 47983939 w 599"/>
              <a:gd name="T27" fmla="*/ 34370395 h 993"/>
              <a:gd name="T28" fmla="*/ 51006433 w 599"/>
              <a:gd name="T29" fmla="*/ 17047812 h 993"/>
              <a:gd name="T30" fmla="*/ 60452053 w 599"/>
              <a:gd name="T31" fmla="*/ 15122848 h 993"/>
              <a:gd name="T32" fmla="*/ 78965589 w 599"/>
              <a:gd name="T33" fmla="*/ 16497748 h 993"/>
              <a:gd name="T34" fmla="*/ 98423601 w 599"/>
              <a:gd name="T35" fmla="*/ 9898544 h 993"/>
              <a:gd name="T36" fmla="*/ 112781099 w 599"/>
              <a:gd name="T37" fmla="*/ 824835 h 993"/>
              <a:gd name="T38" fmla="*/ 112781099 w 599"/>
              <a:gd name="T39" fmla="*/ 8248874 h 993"/>
              <a:gd name="T40" fmla="*/ 112781099 w 599"/>
              <a:gd name="T41" fmla="*/ 34645690 h 993"/>
              <a:gd name="T42" fmla="*/ 111836624 w 599"/>
              <a:gd name="T43" fmla="*/ 62691651 h 993"/>
              <a:gd name="T44" fmla="*/ 110514011 w 599"/>
              <a:gd name="T45" fmla="*/ 75890059 h 993"/>
              <a:gd name="T46" fmla="*/ 103902251 w 599"/>
              <a:gd name="T47" fmla="*/ 92663101 h 993"/>
              <a:gd name="T48" fmla="*/ 88411209 w 599"/>
              <a:gd name="T49" fmla="*/ 110535748 h 993"/>
              <a:gd name="T50" fmla="*/ 70653514 w 599"/>
              <a:gd name="T51" fmla="*/ 117134952 h 993"/>
              <a:gd name="T52" fmla="*/ 66686110 w 599"/>
              <a:gd name="T53" fmla="*/ 127583561 h 993"/>
              <a:gd name="T54" fmla="*/ 55351540 w 599"/>
              <a:gd name="T55" fmla="*/ 139407069 h 993"/>
              <a:gd name="T56" fmla="*/ 45905920 w 599"/>
              <a:gd name="T57" fmla="*/ 150955282 h 993"/>
              <a:gd name="T58" fmla="*/ 43261129 w 599"/>
              <a:gd name="T59" fmla="*/ 160029515 h 993"/>
              <a:gd name="T60" fmla="*/ 44772376 w 599"/>
              <a:gd name="T61" fmla="*/ 170202829 h 993"/>
              <a:gd name="T62" fmla="*/ 50439661 w 599"/>
              <a:gd name="T63" fmla="*/ 179826603 h 993"/>
              <a:gd name="T64" fmla="*/ 47983939 w 599"/>
              <a:gd name="T65" fmla="*/ 190825276 h 993"/>
              <a:gd name="T66" fmla="*/ 50061958 w 599"/>
              <a:gd name="T67" fmla="*/ 200449050 h 993"/>
              <a:gd name="T68" fmla="*/ 50439661 w 599"/>
              <a:gd name="T69" fmla="*/ 217222092 h 993"/>
              <a:gd name="T70" fmla="*/ 48361642 w 599"/>
              <a:gd name="T71" fmla="*/ 223821296 h 993"/>
              <a:gd name="T72" fmla="*/ 36460301 w 599"/>
              <a:gd name="T73" fmla="*/ 240044273 h 993"/>
              <a:gd name="T74" fmla="*/ 27770087 w 599"/>
              <a:gd name="T75" fmla="*/ 243893678 h 993"/>
              <a:gd name="T76" fmla="*/ 19268942 w 599"/>
              <a:gd name="T77" fmla="*/ 245818118 h 993"/>
              <a:gd name="T78" fmla="*/ 16435517 w 599"/>
              <a:gd name="T79" fmla="*/ 251042422 h 993"/>
              <a:gd name="T80" fmla="*/ 17946764 w 599"/>
              <a:gd name="T81" fmla="*/ 258191691 h 993"/>
              <a:gd name="T82" fmla="*/ 17190924 w 599"/>
              <a:gd name="T83" fmla="*/ 272764998 h 993"/>
              <a:gd name="T84" fmla="*/ 13979361 w 599"/>
              <a:gd name="T85" fmla="*/ 222721166 h 993"/>
              <a:gd name="T86" fmla="*/ 10956867 w 599"/>
              <a:gd name="T87" fmla="*/ 210348118 h 993"/>
              <a:gd name="T88" fmla="*/ 7745304 w 599"/>
              <a:gd name="T89" fmla="*/ 197974545 h 993"/>
              <a:gd name="T90" fmla="*/ 20402486 w 599"/>
              <a:gd name="T91" fmla="*/ 183126467 h 993"/>
              <a:gd name="T92" fmla="*/ 20591555 w 599"/>
              <a:gd name="T93" fmla="*/ 168828454 h 993"/>
              <a:gd name="T94" fmla="*/ 28148225 w 599"/>
              <a:gd name="T95" fmla="*/ 157004946 h 993"/>
              <a:gd name="T96" fmla="*/ 32871035 w 599"/>
              <a:gd name="T97" fmla="*/ 144631373 h 993"/>
              <a:gd name="T98" fmla="*/ 31737491 w 599"/>
              <a:gd name="T99" fmla="*/ 121259127 h 993"/>
              <a:gd name="T100" fmla="*/ 28714562 w 599"/>
              <a:gd name="T101" fmla="*/ 100087140 h 993"/>
              <a:gd name="T102" fmla="*/ 15301973 w 599"/>
              <a:gd name="T103" fmla="*/ 93762706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0872A6"/>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50" name="Freeform 252">
            <a:extLst>
              <a:ext uri="{FF2B5EF4-FFF2-40B4-BE49-F238E27FC236}">
                <a16:creationId xmlns:a16="http://schemas.microsoft.com/office/drawing/2014/main" id="{A4B0274C-C773-488C-9210-7BA11E7B50C6}"/>
              </a:ext>
            </a:extLst>
          </p:cNvPr>
          <p:cNvSpPr>
            <a:spLocks/>
          </p:cNvSpPr>
          <p:nvPr>
            <p:custDataLst>
              <p:tags r:id="rId179"/>
            </p:custDataLst>
          </p:nvPr>
        </p:nvSpPr>
        <p:spPr bwMode="auto">
          <a:xfrm>
            <a:off x="6074136" y="5016580"/>
            <a:ext cx="330050" cy="374040"/>
          </a:xfrm>
          <a:custGeom>
            <a:avLst/>
            <a:gdLst>
              <a:gd name="T0" fmla="*/ 5727234 w 545"/>
              <a:gd name="T1" fmla="*/ 117242278 h 549"/>
              <a:gd name="T2" fmla="*/ 8781788 w 545"/>
              <a:gd name="T3" fmla="*/ 124364492 h 549"/>
              <a:gd name="T4" fmla="*/ 8781788 w 545"/>
              <a:gd name="T5" fmla="*/ 140252870 h 549"/>
              <a:gd name="T6" fmla="*/ 9163225 w 545"/>
              <a:gd name="T7" fmla="*/ 144361961 h 549"/>
              <a:gd name="T8" fmla="*/ 10499783 w 545"/>
              <a:gd name="T9" fmla="*/ 147100831 h 549"/>
              <a:gd name="T10" fmla="*/ 12981526 w 545"/>
              <a:gd name="T11" fmla="*/ 149292241 h 549"/>
              <a:gd name="T12" fmla="*/ 19090634 w 545"/>
              <a:gd name="T13" fmla="*/ 150388208 h 549"/>
              <a:gd name="T14" fmla="*/ 21572377 w 545"/>
              <a:gd name="T15" fmla="*/ 149566495 h 549"/>
              <a:gd name="T16" fmla="*/ 24817431 w 545"/>
              <a:gd name="T17" fmla="*/ 146005388 h 549"/>
              <a:gd name="T18" fmla="*/ 27299611 w 545"/>
              <a:gd name="T19" fmla="*/ 138883174 h 549"/>
              <a:gd name="T20" fmla="*/ 29399481 w 545"/>
              <a:gd name="T21" fmla="*/ 130664993 h 549"/>
              <a:gd name="T22" fmla="*/ 32263097 w 545"/>
              <a:gd name="T23" fmla="*/ 124364492 h 549"/>
              <a:gd name="T24" fmla="*/ 34935778 w 545"/>
              <a:gd name="T25" fmla="*/ 121899352 h 549"/>
              <a:gd name="T26" fmla="*/ 38371768 w 545"/>
              <a:gd name="T27" fmla="*/ 121625622 h 549"/>
              <a:gd name="T28" fmla="*/ 42381007 w 545"/>
              <a:gd name="T29" fmla="*/ 122721065 h 549"/>
              <a:gd name="T30" fmla="*/ 48108241 w 545"/>
              <a:gd name="T31" fmla="*/ 126282172 h 549"/>
              <a:gd name="T32" fmla="*/ 51926106 w 545"/>
              <a:gd name="T33" fmla="*/ 128199853 h 549"/>
              <a:gd name="T34" fmla="*/ 56698655 w 545"/>
              <a:gd name="T35" fmla="*/ 128473583 h 549"/>
              <a:gd name="T36" fmla="*/ 60898830 w 545"/>
              <a:gd name="T37" fmla="*/ 127103886 h 549"/>
              <a:gd name="T38" fmla="*/ 63380573 w 545"/>
              <a:gd name="T39" fmla="*/ 124090762 h 549"/>
              <a:gd name="T40" fmla="*/ 68534997 w 545"/>
              <a:gd name="T41" fmla="*/ 106285227 h 549"/>
              <a:gd name="T42" fmla="*/ 72925672 w 545"/>
              <a:gd name="T43" fmla="*/ 99437266 h 549"/>
              <a:gd name="T44" fmla="*/ 85334388 w 545"/>
              <a:gd name="T45" fmla="*/ 86014552 h 549"/>
              <a:gd name="T46" fmla="*/ 100606720 w 545"/>
              <a:gd name="T47" fmla="*/ 72317584 h 549"/>
              <a:gd name="T48" fmla="*/ 100797657 w 545"/>
              <a:gd name="T49" fmla="*/ 63551943 h 549"/>
              <a:gd name="T50" fmla="*/ 96025108 w 545"/>
              <a:gd name="T51" fmla="*/ 59717106 h 549"/>
              <a:gd name="T52" fmla="*/ 92588680 w 545"/>
              <a:gd name="T53" fmla="*/ 54512049 h 549"/>
              <a:gd name="T54" fmla="*/ 87816131 w 545"/>
              <a:gd name="T55" fmla="*/ 43007014 h 549"/>
              <a:gd name="T56" fmla="*/ 83998266 w 545"/>
              <a:gd name="T57" fmla="*/ 36159054 h 549"/>
              <a:gd name="T58" fmla="*/ 71970987 w 545"/>
              <a:gd name="T59" fmla="*/ 20818659 h 549"/>
              <a:gd name="T60" fmla="*/ 68534997 w 545"/>
              <a:gd name="T61" fmla="*/ 14518158 h 549"/>
              <a:gd name="T62" fmla="*/ 66434690 w 545"/>
              <a:gd name="T63" fmla="*/ 6574231 h 549"/>
              <a:gd name="T64" fmla="*/ 60898830 w 545"/>
              <a:gd name="T65" fmla="*/ 0 h 549"/>
              <a:gd name="T66" fmla="*/ 46580745 w 545"/>
              <a:gd name="T67" fmla="*/ 547983 h 549"/>
              <a:gd name="T68" fmla="*/ 33599219 w 545"/>
              <a:gd name="T69" fmla="*/ 3561107 h 549"/>
              <a:gd name="T70" fmla="*/ 18135950 w 545"/>
              <a:gd name="T71" fmla="*/ 6026247 h 549"/>
              <a:gd name="T72" fmla="*/ 13554337 w 545"/>
              <a:gd name="T73" fmla="*/ 7395944 h 549"/>
              <a:gd name="T74" fmla="*/ 12790589 w 545"/>
              <a:gd name="T75" fmla="*/ 10409591 h 549"/>
              <a:gd name="T76" fmla="*/ 13936211 w 545"/>
              <a:gd name="T77" fmla="*/ 15340395 h 549"/>
              <a:gd name="T78" fmla="*/ 16036080 w 545"/>
              <a:gd name="T79" fmla="*/ 20270675 h 549"/>
              <a:gd name="T80" fmla="*/ 16417954 w 545"/>
              <a:gd name="T81" fmla="*/ 29310570 h 549"/>
              <a:gd name="T82" fmla="*/ 14127148 w 545"/>
              <a:gd name="T83" fmla="*/ 46842375 h 549"/>
              <a:gd name="T84" fmla="*/ 11835905 w 545"/>
              <a:gd name="T85" fmla="*/ 64921640 h 549"/>
              <a:gd name="T86" fmla="*/ 8972725 w 545"/>
              <a:gd name="T87" fmla="*/ 72043854 h 549"/>
              <a:gd name="T88" fmla="*/ 4963486 w 545"/>
              <a:gd name="T89" fmla="*/ 75878691 h 549"/>
              <a:gd name="T90" fmla="*/ 954685 w 545"/>
              <a:gd name="T91" fmla="*/ 84096872 h 549"/>
              <a:gd name="T92" fmla="*/ 190937 w 545"/>
              <a:gd name="T93" fmla="*/ 92862512 h 549"/>
              <a:gd name="T94" fmla="*/ 1527058 w 545"/>
              <a:gd name="T95" fmla="*/ 100532710 h 549"/>
              <a:gd name="T96" fmla="*/ 1527058 w 545"/>
              <a:gd name="T97" fmla="*/ 107106940 h 549"/>
              <a:gd name="T98" fmla="*/ 0 w 545"/>
              <a:gd name="T99" fmla="*/ 111764014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chemeClr val="accent6">
              <a:lumMod val="40000"/>
              <a:lumOff val="60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51" name="Freeform 253">
            <a:extLst>
              <a:ext uri="{FF2B5EF4-FFF2-40B4-BE49-F238E27FC236}">
                <a16:creationId xmlns:a16="http://schemas.microsoft.com/office/drawing/2014/main" id="{A7ECA2E8-9BBD-40A0-84ED-BAD40C89C604}"/>
              </a:ext>
            </a:extLst>
          </p:cNvPr>
          <p:cNvSpPr>
            <a:spLocks/>
          </p:cNvSpPr>
          <p:nvPr>
            <p:custDataLst>
              <p:tags r:id="rId180"/>
            </p:custDataLst>
          </p:nvPr>
        </p:nvSpPr>
        <p:spPr bwMode="auto">
          <a:xfrm>
            <a:off x="6870016" y="4758412"/>
            <a:ext cx="275738" cy="567158"/>
          </a:xfrm>
          <a:custGeom>
            <a:avLst/>
            <a:gdLst>
              <a:gd name="T0" fmla="*/ 21242815 w 452"/>
              <a:gd name="T1" fmla="*/ 71337991 h 832"/>
              <a:gd name="T2" fmla="*/ 26174082 w 452"/>
              <a:gd name="T3" fmla="*/ 67784998 h 832"/>
              <a:gd name="T4" fmla="*/ 31295230 w 452"/>
              <a:gd name="T5" fmla="*/ 65598622 h 832"/>
              <a:gd name="T6" fmla="*/ 36416379 w 452"/>
              <a:gd name="T7" fmla="*/ 63411722 h 832"/>
              <a:gd name="T8" fmla="*/ 40778436 w 452"/>
              <a:gd name="T9" fmla="*/ 59311874 h 832"/>
              <a:gd name="T10" fmla="*/ 44002943 w 452"/>
              <a:gd name="T11" fmla="*/ 54665169 h 832"/>
              <a:gd name="T12" fmla="*/ 44002943 w 452"/>
              <a:gd name="T13" fmla="*/ 48925277 h 832"/>
              <a:gd name="T14" fmla="*/ 50262076 w 452"/>
              <a:gd name="T15" fmla="*/ 48652372 h 832"/>
              <a:gd name="T16" fmla="*/ 53486148 w 452"/>
              <a:gd name="T17" fmla="*/ 47285756 h 832"/>
              <a:gd name="T18" fmla="*/ 56521210 w 452"/>
              <a:gd name="T19" fmla="*/ 44279096 h 832"/>
              <a:gd name="T20" fmla="*/ 60693820 w 452"/>
              <a:gd name="T21" fmla="*/ 36352304 h 832"/>
              <a:gd name="T22" fmla="*/ 66383743 w 452"/>
              <a:gd name="T23" fmla="*/ 20499242 h 832"/>
              <a:gd name="T24" fmla="*/ 71694338 w 452"/>
              <a:gd name="T25" fmla="*/ 0 h 832"/>
              <a:gd name="T26" fmla="*/ 73022204 w 452"/>
              <a:gd name="T27" fmla="*/ 5193037 h 832"/>
              <a:gd name="T28" fmla="*/ 77194815 w 452"/>
              <a:gd name="T29" fmla="*/ 12846401 h 832"/>
              <a:gd name="T30" fmla="*/ 84971261 w 452"/>
              <a:gd name="T31" fmla="*/ 23232998 h 832"/>
              <a:gd name="T32" fmla="*/ 83453948 w 452"/>
              <a:gd name="T33" fmla="*/ 28152607 h 832"/>
              <a:gd name="T34" fmla="*/ 84212604 w 452"/>
              <a:gd name="T35" fmla="*/ 37718920 h 832"/>
              <a:gd name="T36" fmla="*/ 85729917 w 452"/>
              <a:gd name="T37" fmla="*/ 50565321 h 832"/>
              <a:gd name="T38" fmla="*/ 84971261 w 452"/>
              <a:gd name="T39" fmla="*/ 56305213 h 832"/>
              <a:gd name="T40" fmla="*/ 81177979 w 452"/>
              <a:gd name="T41" fmla="*/ 63958578 h 832"/>
              <a:gd name="T42" fmla="*/ 77574143 w 452"/>
              <a:gd name="T43" fmla="*/ 71337991 h 832"/>
              <a:gd name="T44" fmla="*/ 76815486 w 452"/>
              <a:gd name="T45" fmla="*/ 77351311 h 832"/>
              <a:gd name="T46" fmla="*/ 74539517 w 452"/>
              <a:gd name="T47" fmla="*/ 84184392 h 832"/>
              <a:gd name="T48" fmla="*/ 72642876 w 452"/>
              <a:gd name="T49" fmla="*/ 86917625 h 832"/>
              <a:gd name="T50" fmla="*/ 71504891 w 452"/>
              <a:gd name="T51" fmla="*/ 90744568 h 832"/>
              <a:gd name="T52" fmla="*/ 69797697 w 452"/>
              <a:gd name="T53" fmla="*/ 99491121 h 832"/>
              <a:gd name="T54" fmla="*/ 64107774 w 452"/>
              <a:gd name="T55" fmla="*/ 116710275 h 832"/>
              <a:gd name="T56" fmla="*/ 60883266 w 452"/>
              <a:gd name="T57" fmla="*/ 128463488 h 832"/>
              <a:gd name="T58" fmla="*/ 60314492 w 452"/>
              <a:gd name="T59" fmla="*/ 136663185 h 832"/>
              <a:gd name="T60" fmla="*/ 58797179 w 452"/>
              <a:gd name="T61" fmla="*/ 145136310 h 832"/>
              <a:gd name="T62" fmla="*/ 53296702 w 452"/>
              <a:gd name="T63" fmla="*/ 164542887 h 832"/>
              <a:gd name="T64" fmla="*/ 49313538 w 452"/>
              <a:gd name="T65" fmla="*/ 174109200 h 832"/>
              <a:gd name="T66" fmla="*/ 45899584 w 452"/>
              <a:gd name="T67" fmla="*/ 179028809 h 832"/>
              <a:gd name="T68" fmla="*/ 44002943 w 452"/>
              <a:gd name="T69" fmla="*/ 180395425 h 832"/>
              <a:gd name="T70" fmla="*/ 43244287 w 452"/>
              <a:gd name="T71" fmla="*/ 195155298 h 832"/>
              <a:gd name="T72" fmla="*/ 40778436 w 452"/>
              <a:gd name="T73" fmla="*/ 207454843 h 832"/>
              <a:gd name="T74" fmla="*/ 36226497 w 452"/>
              <a:gd name="T75" fmla="*/ 217294584 h 832"/>
              <a:gd name="T76" fmla="*/ 29777918 w 452"/>
              <a:gd name="T77" fmla="*/ 223854760 h 832"/>
              <a:gd name="T78" fmla="*/ 20863487 w 452"/>
              <a:gd name="T79" fmla="*/ 227134325 h 832"/>
              <a:gd name="T80" fmla="*/ 15173564 w 452"/>
              <a:gd name="T81" fmla="*/ 226041137 h 832"/>
              <a:gd name="T82" fmla="*/ 13845697 w 452"/>
              <a:gd name="T83" fmla="*/ 223307905 h 832"/>
              <a:gd name="T84" fmla="*/ 9483205 w 452"/>
              <a:gd name="T85" fmla="*/ 221394433 h 832"/>
              <a:gd name="T86" fmla="*/ 4931267 w 452"/>
              <a:gd name="T87" fmla="*/ 218114868 h 832"/>
              <a:gd name="T88" fmla="*/ 2275969 w 452"/>
              <a:gd name="T89" fmla="*/ 212374975 h 832"/>
              <a:gd name="T90" fmla="*/ 569210 w 452"/>
              <a:gd name="T91" fmla="*/ 205541372 h 832"/>
              <a:gd name="T92" fmla="*/ 0 w 452"/>
              <a:gd name="T93" fmla="*/ 193515254 h 832"/>
              <a:gd name="T94" fmla="*/ 758656 w 452"/>
              <a:gd name="T95" fmla="*/ 189688833 h 832"/>
              <a:gd name="T96" fmla="*/ 3603836 w 452"/>
              <a:gd name="T97" fmla="*/ 185315557 h 832"/>
              <a:gd name="T98" fmla="*/ 2086523 w 452"/>
              <a:gd name="T99" fmla="*/ 183675513 h 832"/>
              <a:gd name="T100" fmla="*/ 0 w 452"/>
              <a:gd name="T101" fmla="*/ 178209048 h 832"/>
              <a:gd name="T102" fmla="*/ 948538 w 452"/>
              <a:gd name="T103" fmla="*/ 171648873 h 832"/>
              <a:gd name="T104" fmla="*/ 1517313 w 452"/>
              <a:gd name="T105" fmla="*/ 166729263 h 832"/>
              <a:gd name="T106" fmla="*/ 948538 w 452"/>
              <a:gd name="T107" fmla="*/ 161536227 h 832"/>
              <a:gd name="T108" fmla="*/ 3413954 w 452"/>
              <a:gd name="T109" fmla="*/ 160442515 h 832"/>
              <a:gd name="T110" fmla="*/ 8155774 w 452"/>
              <a:gd name="T111" fmla="*/ 155249479 h 832"/>
              <a:gd name="T112" fmla="*/ 11949056 w 452"/>
              <a:gd name="T113" fmla="*/ 147049782 h 832"/>
              <a:gd name="T114" fmla="*/ 14414907 w 452"/>
              <a:gd name="T115" fmla="*/ 138303229 h 832"/>
              <a:gd name="T116" fmla="*/ 16311548 w 452"/>
              <a:gd name="T117" fmla="*/ 126277111 h 832"/>
              <a:gd name="T118" fmla="*/ 15742338 w 452"/>
              <a:gd name="T119" fmla="*/ 119716935 h 832"/>
              <a:gd name="T120" fmla="*/ 13276923 w 452"/>
              <a:gd name="T121" fmla="*/ 111517238 h 832"/>
              <a:gd name="T122" fmla="*/ 10621190 w 452"/>
              <a:gd name="T123" fmla="*/ 104410730 h 832"/>
              <a:gd name="T124" fmla="*/ 10052415 w 452"/>
              <a:gd name="T125" fmla="*/ 99217693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52" name="Freeform 254">
            <a:extLst>
              <a:ext uri="{FF2B5EF4-FFF2-40B4-BE49-F238E27FC236}">
                <a16:creationId xmlns:a16="http://schemas.microsoft.com/office/drawing/2014/main" id="{3FD43417-D06C-4058-B6E5-539B20642DC7}"/>
              </a:ext>
            </a:extLst>
          </p:cNvPr>
          <p:cNvSpPr>
            <a:spLocks/>
          </p:cNvSpPr>
          <p:nvPr>
            <p:custDataLst>
              <p:tags r:id="rId181"/>
            </p:custDataLst>
          </p:nvPr>
        </p:nvSpPr>
        <p:spPr bwMode="auto">
          <a:xfrm>
            <a:off x="6420898" y="4366076"/>
            <a:ext cx="50134" cy="87412"/>
          </a:xfrm>
          <a:custGeom>
            <a:avLst/>
            <a:gdLst>
              <a:gd name="T0" fmla="*/ 16664990 w 80"/>
              <a:gd name="T1" fmla="*/ 559858 h 126"/>
              <a:gd name="T2" fmla="*/ 16664990 w 80"/>
              <a:gd name="T3" fmla="*/ 28281842 h 126"/>
              <a:gd name="T4" fmla="*/ 16248285 w 80"/>
              <a:gd name="T5" fmla="*/ 29121629 h 126"/>
              <a:gd name="T6" fmla="*/ 15623456 w 80"/>
              <a:gd name="T7" fmla="*/ 29961946 h 126"/>
              <a:gd name="T8" fmla="*/ 14581923 w 80"/>
              <a:gd name="T9" fmla="*/ 30521804 h 126"/>
              <a:gd name="T10" fmla="*/ 13957094 w 80"/>
              <a:gd name="T11" fmla="*/ 31081662 h 126"/>
              <a:gd name="T12" fmla="*/ 12082152 w 80"/>
              <a:gd name="T13" fmla="*/ 31921979 h 126"/>
              <a:gd name="T14" fmla="*/ 9999085 w 80"/>
              <a:gd name="T15" fmla="*/ 32481837 h 126"/>
              <a:gd name="T16" fmla="*/ 7499314 w 80"/>
              <a:gd name="T17" fmla="*/ 32761767 h 126"/>
              <a:gd name="T18" fmla="*/ 5207667 w 80"/>
              <a:gd name="T19" fmla="*/ 33322154 h 126"/>
              <a:gd name="T20" fmla="*/ 2707895 w 80"/>
              <a:gd name="T21" fmla="*/ 34441871 h 126"/>
              <a:gd name="T22" fmla="*/ 0 w 80"/>
              <a:gd name="T23" fmla="*/ 35282188 h 126"/>
              <a:gd name="T24" fmla="*/ 1458238 w 80"/>
              <a:gd name="T25" fmla="*/ 11200871 h 126"/>
              <a:gd name="T26" fmla="*/ 4790962 w 80"/>
              <a:gd name="T27" fmla="*/ 7560204 h 126"/>
              <a:gd name="T28" fmla="*/ 8540847 w 80"/>
              <a:gd name="T29" fmla="*/ 3360208 h 126"/>
              <a:gd name="T30" fmla="*/ 10623914 w 80"/>
              <a:gd name="T31" fmla="*/ 1400175 h 126"/>
              <a:gd name="T32" fmla="*/ 12498856 w 80"/>
              <a:gd name="T33" fmla="*/ 279929 h 126"/>
              <a:gd name="T34" fmla="*/ 13540390 w 80"/>
              <a:gd name="T35" fmla="*/ 0 h 126"/>
              <a:gd name="T36" fmla="*/ 14581923 w 80"/>
              <a:gd name="T37" fmla="*/ 0 h 126"/>
              <a:gd name="T38" fmla="*/ 15623456 w 80"/>
              <a:gd name="T39" fmla="*/ 279929 h 126"/>
              <a:gd name="T40" fmla="*/ 16664990 w 80"/>
              <a:gd name="T41" fmla="*/ 559858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53" name="Freeform 255">
            <a:extLst>
              <a:ext uri="{FF2B5EF4-FFF2-40B4-BE49-F238E27FC236}">
                <a16:creationId xmlns:a16="http://schemas.microsoft.com/office/drawing/2014/main" id="{6A227789-ADAF-417E-ABF0-426CDA8FAA33}"/>
              </a:ext>
            </a:extLst>
          </p:cNvPr>
          <p:cNvSpPr>
            <a:spLocks/>
          </p:cNvSpPr>
          <p:nvPr>
            <p:custDataLst>
              <p:tags r:id="rId182"/>
            </p:custDataLst>
          </p:nvPr>
        </p:nvSpPr>
        <p:spPr bwMode="auto">
          <a:xfrm>
            <a:off x="6404187" y="4315256"/>
            <a:ext cx="77290" cy="79279"/>
          </a:xfrm>
          <a:custGeom>
            <a:avLst/>
            <a:gdLst>
              <a:gd name="T0" fmla="*/ 22687667 w 124"/>
              <a:gd name="T1" fmla="*/ 0 h 117"/>
              <a:gd name="T2" fmla="*/ 23289888 w 124"/>
              <a:gd name="T3" fmla="*/ 3987637 h 117"/>
              <a:gd name="T4" fmla="*/ 24494777 w 124"/>
              <a:gd name="T5" fmla="*/ 9304487 h 117"/>
              <a:gd name="T6" fmla="*/ 24896257 w 124"/>
              <a:gd name="T7" fmla="*/ 11962912 h 117"/>
              <a:gd name="T8" fmla="*/ 24896257 w 124"/>
              <a:gd name="T9" fmla="*/ 14355288 h 117"/>
              <a:gd name="T10" fmla="*/ 24896257 w 124"/>
              <a:gd name="T11" fmla="*/ 15684500 h 117"/>
              <a:gd name="T12" fmla="*/ 24695517 w 124"/>
              <a:gd name="T13" fmla="*/ 17013712 h 117"/>
              <a:gd name="T14" fmla="*/ 24494777 w 124"/>
              <a:gd name="T15" fmla="*/ 18342925 h 117"/>
              <a:gd name="T16" fmla="*/ 23892556 w 124"/>
              <a:gd name="T17" fmla="*/ 19406604 h 117"/>
              <a:gd name="T18" fmla="*/ 22888407 w 124"/>
              <a:gd name="T19" fmla="*/ 19140555 h 117"/>
              <a:gd name="T20" fmla="*/ 21683967 w 124"/>
              <a:gd name="T21" fmla="*/ 18874507 h 117"/>
              <a:gd name="T22" fmla="*/ 20679818 w 124"/>
              <a:gd name="T23" fmla="*/ 19140555 h 117"/>
              <a:gd name="T24" fmla="*/ 19274637 w 124"/>
              <a:gd name="T25" fmla="*/ 19406604 h 117"/>
              <a:gd name="T26" fmla="*/ 16664567 w 124"/>
              <a:gd name="T27" fmla="*/ 20735816 h 117"/>
              <a:gd name="T28" fmla="*/ 14255238 w 124"/>
              <a:gd name="T29" fmla="*/ 22596611 h 117"/>
              <a:gd name="T30" fmla="*/ 9235838 w 124"/>
              <a:gd name="T31" fmla="*/ 27381878 h 117"/>
              <a:gd name="T32" fmla="*/ 5220140 w 124"/>
              <a:gd name="T33" fmla="*/ 31103467 h 117"/>
              <a:gd name="T34" fmla="*/ 4617919 w 124"/>
              <a:gd name="T35" fmla="*/ 29774254 h 117"/>
              <a:gd name="T36" fmla="*/ 2610070 w 124"/>
              <a:gd name="T37" fmla="*/ 26849781 h 117"/>
              <a:gd name="T38" fmla="*/ 802961 w 124"/>
              <a:gd name="T39" fmla="*/ 23659774 h 117"/>
              <a:gd name="T40" fmla="*/ 0 w 124"/>
              <a:gd name="T41" fmla="*/ 21001350 h 117"/>
              <a:gd name="T42" fmla="*/ 200740 w 124"/>
              <a:gd name="T43" fmla="*/ 20203719 h 117"/>
              <a:gd name="T44" fmla="*/ 401480 w 124"/>
              <a:gd name="T45" fmla="*/ 19140555 h 117"/>
              <a:gd name="T46" fmla="*/ 1003701 w 124"/>
              <a:gd name="T47" fmla="*/ 17811343 h 117"/>
              <a:gd name="T48" fmla="*/ 1807109 w 124"/>
              <a:gd name="T49" fmla="*/ 16482131 h 117"/>
              <a:gd name="T50" fmla="*/ 3413030 w 124"/>
              <a:gd name="T51" fmla="*/ 13823706 h 117"/>
              <a:gd name="T52" fmla="*/ 5420880 w 124"/>
              <a:gd name="T53" fmla="*/ 11165281 h 117"/>
              <a:gd name="T54" fmla="*/ 9637319 w 124"/>
              <a:gd name="T55" fmla="*/ 5848431 h 117"/>
              <a:gd name="T56" fmla="*/ 12046648 w 124"/>
              <a:gd name="T57" fmla="*/ 3190007 h 117"/>
              <a:gd name="T58" fmla="*/ 14656718 w 124"/>
              <a:gd name="T59" fmla="*/ 3190007 h 117"/>
              <a:gd name="T60" fmla="*/ 17266788 w 124"/>
              <a:gd name="T61" fmla="*/ 3190007 h 117"/>
              <a:gd name="T62" fmla="*/ 20077598 w 124"/>
              <a:gd name="T63" fmla="*/ 1595261 h 117"/>
              <a:gd name="T64" fmla="*/ 22687667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54" name="Freeform 256">
            <a:extLst>
              <a:ext uri="{FF2B5EF4-FFF2-40B4-BE49-F238E27FC236}">
                <a16:creationId xmlns:a16="http://schemas.microsoft.com/office/drawing/2014/main" id="{ECFDF5E4-623A-4DF2-888F-EC980F469A98}"/>
              </a:ext>
            </a:extLst>
          </p:cNvPr>
          <p:cNvSpPr>
            <a:spLocks/>
          </p:cNvSpPr>
          <p:nvPr>
            <p:custDataLst>
              <p:tags r:id="rId183"/>
            </p:custDataLst>
          </p:nvPr>
        </p:nvSpPr>
        <p:spPr bwMode="auto">
          <a:xfrm>
            <a:off x="6834505" y="2625978"/>
            <a:ext cx="701879" cy="613914"/>
          </a:xfrm>
          <a:custGeom>
            <a:avLst/>
            <a:gdLst>
              <a:gd name="T0" fmla="*/ 175864703 w 1156"/>
              <a:gd name="T1" fmla="*/ 52772568 h 900"/>
              <a:gd name="T2" fmla="*/ 162788786 w 1156"/>
              <a:gd name="T3" fmla="*/ 44760254 h 900"/>
              <a:gd name="T4" fmla="*/ 146491015 w 1156"/>
              <a:gd name="T5" fmla="*/ 30668927 h 900"/>
              <a:gd name="T6" fmla="*/ 116927523 w 1156"/>
              <a:gd name="T7" fmla="*/ 28734576 h 900"/>
              <a:gd name="T8" fmla="*/ 104419708 w 1156"/>
              <a:gd name="T9" fmla="*/ 42549417 h 900"/>
              <a:gd name="T10" fmla="*/ 95512918 w 1156"/>
              <a:gd name="T11" fmla="*/ 49456837 h 900"/>
              <a:gd name="T12" fmla="*/ 80730955 w 1156"/>
              <a:gd name="T13" fmla="*/ 54430433 h 900"/>
              <a:gd name="T14" fmla="*/ 72582069 w 1156"/>
              <a:gd name="T15" fmla="*/ 54982879 h 900"/>
              <a:gd name="T16" fmla="*/ 67275868 w 1156"/>
              <a:gd name="T17" fmla="*/ 47799498 h 900"/>
              <a:gd name="T18" fmla="*/ 49272485 w 1156"/>
              <a:gd name="T19" fmla="*/ 37576347 h 900"/>
              <a:gd name="T20" fmla="*/ 43208380 w 1156"/>
              <a:gd name="T21" fmla="*/ 23761506 h 900"/>
              <a:gd name="T22" fmla="*/ 41692136 w 1156"/>
              <a:gd name="T23" fmla="*/ 6354974 h 900"/>
              <a:gd name="T24" fmla="*/ 35627596 w 1156"/>
              <a:gd name="T25" fmla="*/ 276486 h 900"/>
              <a:gd name="T26" fmla="*/ 29374124 w 1156"/>
              <a:gd name="T27" fmla="*/ 5802002 h 900"/>
              <a:gd name="T28" fmla="*/ 25773099 w 1156"/>
              <a:gd name="T29" fmla="*/ 18511950 h 900"/>
              <a:gd name="T30" fmla="*/ 14971331 w 1156"/>
              <a:gd name="T31" fmla="*/ 14920260 h 900"/>
              <a:gd name="T32" fmla="*/ 757904 w 1156"/>
              <a:gd name="T33" fmla="*/ 4420623 h 900"/>
              <a:gd name="T34" fmla="*/ 947707 w 1156"/>
              <a:gd name="T35" fmla="*/ 19893329 h 900"/>
              <a:gd name="T36" fmla="*/ 8528056 w 1156"/>
              <a:gd name="T37" fmla="*/ 40339105 h 900"/>
              <a:gd name="T38" fmla="*/ 13834256 w 1156"/>
              <a:gd name="T39" fmla="*/ 56640744 h 900"/>
              <a:gd name="T40" fmla="*/ 25583732 w 1156"/>
              <a:gd name="T41" fmla="*/ 78467899 h 900"/>
              <a:gd name="T42" fmla="*/ 23120216 w 1156"/>
              <a:gd name="T43" fmla="*/ 87309671 h 900"/>
              <a:gd name="T44" fmla="*/ 25204562 w 1156"/>
              <a:gd name="T45" fmla="*/ 102229405 h 900"/>
              <a:gd name="T46" fmla="*/ 35627596 w 1156"/>
              <a:gd name="T47" fmla="*/ 118254558 h 900"/>
              <a:gd name="T48" fmla="*/ 49083118 w 1156"/>
              <a:gd name="T49" fmla="*/ 125990911 h 900"/>
              <a:gd name="T50" fmla="*/ 49083118 w 1156"/>
              <a:gd name="T51" fmla="*/ 144779347 h 900"/>
              <a:gd name="T52" fmla="*/ 63485912 w 1156"/>
              <a:gd name="T53" fmla="*/ 160528014 h 900"/>
              <a:gd name="T54" fmla="*/ 80162418 w 1156"/>
              <a:gd name="T55" fmla="*/ 183460588 h 900"/>
              <a:gd name="T56" fmla="*/ 89259011 w 1156"/>
              <a:gd name="T57" fmla="*/ 198933294 h 900"/>
              <a:gd name="T58" fmla="*/ 95512918 w 1156"/>
              <a:gd name="T59" fmla="*/ 202524984 h 900"/>
              <a:gd name="T60" fmla="*/ 102714097 w 1156"/>
              <a:gd name="T61" fmla="*/ 208603473 h 900"/>
              <a:gd name="T62" fmla="*/ 113326934 w 1156"/>
              <a:gd name="T63" fmla="*/ 217445244 h 900"/>
              <a:gd name="T64" fmla="*/ 129814073 w 1156"/>
              <a:gd name="T65" fmla="*/ 219655556 h 900"/>
              <a:gd name="T66" fmla="*/ 138720863 w 1156"/>
              <a:gd name="T67" fmla="*/ 215510893 h 900"/>
              <a:gd name="T68" fmla="*/ 147628089 w 1156"/>
              <a:gd name="T69" fmla="*/ 211090270 h 900"/>
              <a:gd name="T70" fmla="*/ 151797215 w 1156"/>
              <a:gd name="T71" fmla="*/ 219932042 h 900"/>
              <a:gd name="T72" fmla="*/ 154071363 w 1156"/>
              <a:gd name="T73" fmla="*/ 236786127 h 900"/>
              <a:gd name="T74" fmla="*/ 165631472 w 1156"/>
              <a:gd name="T75" fmla="*/ 241482711 h 900"/>
              <a:gd name="T76" fmla="*/ 191594373 w 1156"/>
              <a:gd name="T77" fmla="*/ 246456306 h 900"/>
              <a:gd name="T78" fmla="*/ 206755071 w 1156"/>
              <a:gd name="T79" fmla="*/ 242864615 h 900"/>
              <a:gd name="T80" fmla="*/ 208270880 w 1156"/>
              <a:gd name="T81" fmla="*/ 229602221 h 900"/>
              <a:gd name="T82" fmla="*/ 219073084 w 1156"/>
              <a:gd name="T83" fmla="*/ 212748135 h 900"/>
              <a:gd name="T84" fmla="*/ 214524787 w 1156"/>
              <a:gd name="T85" fmla="*/ 207222094 h 900"/>
              <a:gd name="T86" fmla="*/ 207702343 w 1156"/>
              <a:gd name="T87" fmla="*/ 195617564 h 900"/>
              <a:gd name="T88" fmla="*/ 195384330 w 1156"/>
              <a:gd name="T89" fmla="*/ 177658586 h 900"/>
              <a:gd name="T90" fmla="*/ 192920815 w 1156"/>
              <a:gd name="T91" fmla="*/ 166606502 h 900"/>
              <a:gd name="T92" fmla="*/ 197847846 w 1156"/>
              <a:gd name="T93" fmla="*/ 154449526 h 900"/>
              <a:gd name="T94" fmla="*/ 198606185 w 1156"/>
              <a:gd name="T95" fmla="*/ 145331794 h 900"/>
              <a:gd name="T96" fmla="*/ 195194963 w 1156"/>
              <a:gd name="T97" fmla="*/ 141463617 h 900"/>
              <a:gd name="T98" fmla="*/ 186287737 w 1156"/>
              <a:gd name="T99" fmla="*/ 140082238 h 900"/>
              <a:gd name="T100" fmla="*/ 180792169 w 1156"/>
              <a:gd name="T101" fmla="*/ 125161978 h 900"/>
              <a:gd name="T102" fmla="*/ 177570314 w 1156"/>
              <a:gd name="T103" fmla="*/ 103058337 h 900"/>
              <a:gd name="T104" fmla="*/ 175106799 w 1156"/>
              <a:gd name="T105" fmla="*/ 98637714 h 900"/>
              <a:gd name="T106" fmla="*/ 178138851 w 1156"/>
              <a:gd name="T107" fmla="*/ 92282740 h 900"/>
              <a:gd name="T108" fmla="*/ 181929244 w 1156"/>
              <a:gd name="T109" fmla="*/ 80954697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55" name="Freeform 257">
            <a:extLst>
              <a:ext uri="{FF2B5EF4-FFF2-40B4-BE49-F238E27FC236}">
                <a16:creationId xmlns:a16="http://schemas.microsoft.com/office/drawing/2014/main" id="{0E64B381-2596-4BF5-B5D5-4EE64C63B5AA}"/>
              </a:ext>
            </a:extLst>
          </p:cNvPr>
          <p:cNvSpPr>
            <a:spLocks/>
          </p:cNvSpPr>
          <p:nvPr>
            <p:custDataLst>
              <p:tags r:id="rId184"/>
            </p:custDataLst>
          </p:nvPr>
        </p:nvSpPr>
        <p:spPr bwMode="auto">
          <a:xfrm>
            <a:off x="6867928" y="3479764"/>
            <a:ext cx="344672" cy="296793"/>
          </a:xfrm>
          <a:custGeom>
            <a:avLst/>
            <a:gdLst>
              <a:gd name="T0" fmla="*/ 4890979 w 571"/>
              <a:gd name="T1" fmla="*/ 50593876 h 443"/>
              <a:gd name="T2" fmla="*/ 6959789 w 571"/>
              <a:gd name="T3" fmla="*/ 47132366 h 443"/>
              <a:gd name="T4" fmla="*/ 7712281 w 571"/>
              <a:gd name="T5" fmla="*/ 43670340 h 443"/>
              <a:gd name="T6" fmla="*/ 7336252 w 571"/>
              <a:gd name="T7" fmla="*/ 34350375 h 443"/>
              <a:gd name="T8" fmla="*/ 8276541 w 571"/>
              <a:gd name="T9" fmla="*/ 31953945 h 443"/>
              <a:gd name="T10" fmla="*/ 10345785 w 571"/>
              <a:gd name="T11" fmla="*/ 29823786 h 443"/>
              <a:gd name="T12" fmla="*/ 12791057 w 571"/>
              <a:gd name="T13" fmla="*/ 28492436 h 443"/>
              <a:gd name="T14" fmla="*/ 15048532 w 571"/>
              <a:gd name="T15" fmla="*/ 27693626 h 443"/>
              <a:gd name="T16" fmla="*/ 19374818 w 571"/>
              <a:gd name="T17" fmla="*/ 28226166 h 443"/>
              <a:gd name="T18" fmla="*/ 23325074 w 571"/>
              <a:gd name="T19" fmla="*/ 29024976 h 443"/>
              <a:gd name="T20" fmla="*/ 29721036 w 571"/>
              <a:gd name="T21" fmla="*/ 31953945 h 443"/>
              <a:gd name="T22" fmla="*/ 34611581 w 571"/>
              <a:gd name="T23" fmla="*/ 35948511 h 443"/>
              <a:gd name="T24" fmla="*/ 38750069 w 571"/>
              <a:gd name="T25" fmla="*/ 41007641 h 443"/>
              <a:gd name="T26" fmla="*/ 47779101 w 571"/>
              <a:gd name="T27" fmla="*/ 24497870 h 443"/>
              <a:gd name="T28" fmla="*/ 53610370 w 571"/>
              <a:gd name="T29" fmla="*/ 13047745 h 443"/>
              <a:gd name="T30" fmla="*/ 101201240 w 571"/>
              <a:gd name="T31" fmla="*/ 11450125 h 443"/>
              <a:gd name="T32" fmla="*/ 104775467 w 571"/>
              <a:gd name="T33" fmla="*/ 20770090 h 443"/>
              <a:gd name="T34" fmla="*/ 105716190 w 571"/>
              <a:gd name="T35" fmla="*/ 26096006 h 443"/>
              <a:gd name="T36" fmla="*/ 106092219 w 571"/>
              <a:gd name="T37" fmla="*/ 32752755 h 443"/>
              <a:gd name="T38" fmla="*/ 106844711 w 571"/>
              <a:gd name="T39" fmla="*/ 40208831 h 443"/>
              <a:gd name="T40" fmla="*/ 107408971 w 571"/>
              <a:gd name="T41" fmla="*/ 47398636 h 443"/>
              <a:gd name="T42" fmla="*/ 106092219 w 571"/>
              <a:gd name="T43" fmla="*/ 47931176 h 443"/>
              <a:gd name="T44" fmla="*/ 105716190 w 571"/>
              <a:gd name="T45" fmla="*/ 47664906 h 443"/>
              <a:gd name="T46" fmla="*/ 104963698 w 571"/>
              <a:gd name="T47" fmla="*/ 48996256 h 443"/>
              <a:gd name="T48" fmla="*/ 103082686 w 571"/>
              <a:gd name="T49" fmla="*/ 55120981 h 443"/>
              <a:gd name="T50" fmla="*/ 100449182 w 571"/>
              <a:gd name="T51" fmla="*/ 59913841 h 443"/>
              <a:gd name="T52" fmla="*/ 96874955 w 571"/>
              <a:gd name="T53" fmla="*/ 63641621 h 443"/>
              <a:gd name="T54" fmla="*/ 92924699 w 571"/>
              <a:gd name="T55" fmla="*/ 66304837 h 443"/>
              <a:gd name="T56" fmla="*/ 76183385 w 571"/>
              <a:gd name="T57" fmla="*/ 75358532 h 443"/>
              <a:gd name="T58" fmla="*/ 65272907 w 571"/>
              <a:gd name="T59" fmla="*/ 81749011 h 443"/>
              <a:gd name="T60" fmla="*/ 55491382 w 571"/>
              <a:gd name="T61" fmla="*/ 87341197 h 443"/>
              <a:gd name="T62" fmla="*/ 46086320 w 571"/>
              <a:gd name="T63" fmla="*/ 91867786 h 443"/>
              <a:gd name="T64" fmla="*/ 34988044 w 571"/>
              <a:gd name="T65" fmla="*/ 96661162 h 443"/>
              <a:gd name="T66" fmla="*/ 31413817 w 571"/>
              <a:gd name="T67" fmla="*/ 98791322 h 443"/>
              <a:gd name="T68" fmla="*/ 28027821 w 571"/>
              <a:gd name="T69" fmla="*/ 101454022 h 443"/>
              <a:gd name="T70" fmla="*/ 22384784 w 571"/>
              <a:gd name="T71" fmla="*/ 107312477 h 443"/>
              <a:gd name="T72" fmla="*/ 17306008 w 571"/>
              <a:gd name="T73" fmla="*/ 113437203 h 443"/>
              <a:gd name="T74" fmla="*/ 12603260 w 571"/>
              <a:gd name="T75" fmla="*/ 117963792 h 443"/>
              <a:gd name="T76" fmla="*/ 9405495 w 571"/>
              <a:gd name="T77" fmla="*/ 100655212 h 443"/>
              <a:gd name="T78" fmla="*/ 6207731 w 571"/>
              <a:gd name="T79" fmla="*/ 83346631 h 443"/>
              <a:gd name="T80" fmla="*/ 3009533 w 571"/>
              <a:gd name="T81" fmla="*/ 66837377 h 443"/>
              <a:gd name="T82" fmla="*/ 0 w 571"/>
              <a:gd name="T83" fmla="*/ 52191496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56" name="Freeform 258">
            <a:extLst>
              <a:ext uri="{FF2B5EF4-FFF2-40B4-BE49-F238E27FC236}">
                <a16:creationId xmlns:a16="http://schemas.microsoft.com/office/drawing/2014/main" id="{D5677EF0-055D-4DE7-9C41-9A306BE43B8E}"/>
              </a:ext>
            </a:extLst>
          </p:cNvPr>
          <p:cNvSpPr>
            <a:spLocks/>
          </p:cNvSpPr>
          <p:nvPr>
            <p:custDataLst>
              <p:tags r:id="rId185"/>
            </p:custDataLst>
          </p:nvPr>
        </p:nvSpPr>
        <p:spPr bwMode="auto">
          <a:xfrm>
            <a:off x="7139488" y="3187037"/>
            <a:ext cx="169202" cy="156528"/>
          </a:xfrm>
          <a:custGeom>
            <a:avLst/>
            <a:gdLst>
              <a:gd name="T0" fmla="*/ 0 w 286"/>
              <a:gd name="T1" fmla="*/ 31081662 h 228"/>
              <a:gd name="T2" fmla="*/ 711666 w 286"/>
              <a:gd name="T3" fmla="*/ 30521804 h 228"/>
              <a:gd name="T4" fmla="*/ 1245732 w 286"/>
              <a:gd name="T5" fmla="*/ 30521804 h 228"/>
              <a:gd name="T6" fmla="*/ 1779798 w 286"/>
              <a:gd name="T7" fmla="*/ 30801733 h 228"/>
              <a:gd name="T8" fmla="*/ 1957399 w 286"/>
              <a:gd name="T9" fmla="*/ 31081662 h 228"/>
              <a:gd name="T10" fmla="*/ 2135421 w 286"/>
              <a:gd name="T11" fmla="*/ 32761767 h 228"/>
              <a:gd name="T12" fmla="*/ 2313443 w 286"/>
              <a:gd name="T13" fmla="*/ 34441871 h 228"/>
              <a:gd name="T14" fmla="*/ 2491465 w 286"/>
              <a:gd name="T15" fmla="*/ 35842046 h 228"/>
              <a:gd name="T16" fmla="*/ 2847509 w 286"/>
              <a:gd name="T17" fmla="*/ 36682363 h 228"/>
              <a:gd name="T18" fmla="*/ 3381153 w 286"/>
              <a:gd name="T19" fmla="*/ 37522150 h 228"/>
              <a:gd name="T20" fmla="*/ 4270841 w 286"/>
              <a:gd name="T21" fmla="*/ 38082538 h 228"/>
              <a:gd name="T22" fmla="*/ 5160951 w 286"/>
              <a:gd name="T23" fmla="*/ 38362467 h 228"/>
              <a:gd name="T24" fmla="*/ 6584706 w 286"/>
              <a:gd name="T25" fmla="*/ 38642396 h 228"/>
              <a:gd name="T26" fmla="*/ 8542104 w 286"/>
              <a:gd name="T27" fmla="*/ 38642396 h 228"/>
              <a:gd name="T28" fmla="*/ 10677525 w 286"/>
              <a:gd name="T29" fmla="*/ 38082538 h 228"/>
              <a:gd name="T30" fmla="*/ 17440253 w 286"/>
              <a:gd name="T31" fmla="*/ 36402433 h 228"/>
              <a:gd name="T32" fmla="*/ 22956826 w 286"/>
              <a:gd name="T33" fmla="*/ 34161942 h 228"/>
              <a:gd name="T34" fmla="*/ 25448291 w 286"/>
              <a:gd name="T35" fmla="*/ 33042225 h 228"/>
              <a:gd name="T36" fmla="*/ 27761734 w 286"/>
              <a:gd name="T37" fmla="*/ 31921979 h 228"/>
              <a:gd name="T38" fmla="*/ 29719132 w 286"/>
              <a:gd name="T39" fmla="*/ 30521804 h 228"/>
              <a:gd name="T40" fmla="*/ 31676953 w 286"/>
              <a:gd name="T41" fmla="*/ 28841700 h 228"/>
              <a:gd name="T42" fmla="*/ 33456329 w 286"/>
              <a:gd name="T43" fmla="*/ 26881667 h 228"/>
              <a:gd name="T44" fmla="*/ 35236128 w 286"/>
              <a:gd name="T45" fmla="*/ 24361775 h 228"/>
              <a:gd name="T46" fmla="*/ 37015504 w 286"/>
              <a:gd name="T47" fmla="*/ 21841354 h 228"/>
              <a:gd name="T48" fmla="*/ 38973325 w 286"/>
              <a:gd name="T49" fmla="*/ 18201217 h 228"/>
              <a:gd name="T50" fmla="*/ 40752701 w 286"/>
              <a:gd name="T51" fmla="*/ 14561079 h 228"/>
              <a:gd name="T52" fmla="*/ 42888544 w 286"/>
              <a:gd name="T53" fmla="*/ 10360554 h 228"/>
              <a:gd name="T54" fmla="*/ 45023965 w 286"/>
              <a:gd name="T55" fmla="*/ 5600171 h 228"/>
              <a:gd name="T56" fmla="*/ 47337407 w 286"/>
              <a:gd name="T57" fmla="*/ 0 h 228"/>
              <a:gd name="T58" fmla="*/ 48049073 w 286"/>
              <a:gd name="T59" fmla="*/ 1960033 h 228"/>
              <a:gd name="T60" fmla="*/ 48761162 w 286"/>
              <a:gd name="T61" fmla="*/ 3640137 h 228"/>
              <a:gd name="T62" fmla="*/ 49116784 w 286"/>
              <a:gd name="T63" fmla="*/ 5600171 h 228"/>
              <a:gd name="T64" fmla="*/ 49650850 w 286"/>
              <a:gd name="T65" fmla="*/ 7560204 h 228"/>
              <a:gd name="T66" fmla="*/ 50184916 w 286"/>
              <a:gd name="T67" fmla="*/ 11760729 h 228"/>
              <a:gd name="T68" fmla="*/ 50896582 w 286"/>
              <a:gd name="T69" fmla="*/ 17360900 h 228"/>
              <a:gd name="T70" fmla="*/ 43778232 w 286"/>
              <a:gd name="T71" fmla="*/ 55443437 h 228"/>
              <a:gd name="T72" fmla="*/ 40219057 w 286"/>
              <a:gd name="T73" fmla="*/ 63843958 h 228"/>
              <a:gd name="T74" fmla="*/ 9431793 w 286"/>
              <a:gd name="T75" fmla="*/ 58803646 h 228"/>
              <a:gd name="T76" fmla="*/ 0 w 286"/>
              <a:gd name="T77" fmla="*/ 31081662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57" name="Freeform 259">
            <a:extLst>
              <a:ext uri="{FF2B5EF4-FFF2-40B4-BE49-F238E27FC236}">
                <a16:creationId xmlns:a16="http://schemas.microsoft.com/office/drawing/2014/main" id="{C09E4295-4370-4A9C-85F5-D68290C19A86}"/>
              </a:ext>
            </a:extLst>
          </p:cNvPr>
          <p:cNvSpPr>
            <a:spLocks/>
          </p:cNvSpPr>
          <p:nvPr>
            <p:custDataLst>
              <p:tags r:id="rId186"/>
            </p:custDataLst>
          </p:nvPr>
        </p:nvSpPr>
        <p:spPr bwMode="auto">
          <a:xfrm>
            <a:off x="6704992" y="2733718"/>
            <a:ext cx="309161" cy="343547"/>
          </a:xfrm>
          <a:custGeom>
            <a:avLst/>
            <a:gdLst>
              <a:gd name="T0" fmla="*/ 85990391 w 524"/>
              <a:gd name="T1" fmla="*/ 100754218 h 505"/>
              <a:gd name="T2" fmla="*/ 87069406 w 524"/>
              <a:gd name="T3" fmla="*/ 94218798 h 505"/>
              <a:gd name="T4" fmla="*/ 86889571 w 524"/>
              <a:gd name="T5" fmla="*/ 89589629 h 505"/>
              <a:gd name="T6" fmla="*/ 85990391 w 524"/>
              <a:gd name="T7" fmla="*/ 82237020 h 505"/>
              <a:gd name="T8" fmla="*/ 81852469 w 524"/>
              <a:gd name="T9" fmla="*/ 81420354 h 505"/>
              <a:gd name="T10" fmla="*/ 77535136 w 524"/>
              <a:gd name="T11" fmla="*/ 78425040 h 505"/>
              <a:gd name="T12" fmla="*/ 73217378 w 524"/>
              <a:gd name="T13" fmla="*/ 74612538 h 505"/>
              <a:gd name="T14" fmla="*/ 69439977 w 524"/>
              <a:gd name="T15" fmla="*/ 69710973 h 505"/>
              <a:gd name="T16" fmla="*/ 65841987 w 524"/>
              <a:gd name="T17" fmla="*/ 64537012 h 505"/>
              <a:gd name="T18" fmla="*/ 63323436 w 524"/>
              <a:gd name="T19" fmla="*/ 58818780 h 505"/>
              <a:gd name="T20" fmla="*/ 61524229 w 524"/>
              <a:gd name="T21" fmla="*/ 53372423 h 505"/>
              <a:gd name="T22" fmla="*/ 60984721 w 524"/>
              <a:gd name="T23" fmla="*/ 48470858 h 505"/>
              <a:gd name="T24" fmla="*/ 61344393 w 524"/>
              <a:gd name="T25" fmla="*/ 44114085 h 505"/>
              <a:gd name="T26" fmla="*/ 62783504 w 524"/>
              <a:gd name="T27" fmla="*/ 40846375 h 505"/>
              <a:gd name="T28" fmla="*/ 65662151 w 524"/>
              <a:gd name="T29" fmla="*/ 37033873 h 505"/>
              <a:gd name="T30" fmla="*/ 63683108 w 524"/>
              <a:gd name="T31" fmla="*/ 35400018 h 505"/>
              <a:gd name="T32" fmla="*/ 61344393 w 524"/>
              <a:gd name="T33" fmla="*/ 32404704 h 505"/>
              <a:gd name="T34" fmla="*/ 56666964 w 524"/>
              <a:gd name="T35" fmla="*/ 23690637 h 505"/>
              <a:gd name="T36" fmla="*/ 52529466 w 524"/>
              <a:gd name="T37" fmla="*/ 13887507 h 505"/>
              <a:gd name="T38" fmla="*/ 50190751 w 524"/>
              <a:gd name="T39" fmla="*/ 6807816 h 505"/>
              <a:gd name="T40" fmla="*/ 46773021 w 524"/>
              <a:gd name="T41" fmla="*/ 6535420 h 505"/>
              <a:gd name="T42" fmla="*/ 42995196 w 524"/>
              <a:gd name="T43" fmla="*/ 5173961 h 505"/>
              <a:gd name="T44" fmla="*/ 39397206 w 524"/>
              <a:gd name="T45" fmla="*/ 2995314 h 505"/>
              <a:gd name="T46" fmla="*/ 35439544 w 524"/>
              <a:gd name="T47" fmla="*/ 1633855 h 505"/>
              <a:gd name="T48" fmla="*/ 30582279 w 524"/>
              <a:gd name="T49" fmla="*/ 816667 h 505"/>
              <a:gd name="T50" fmla="*/ 26804453 w 524"/>
              <a:gd name="T51" fmla="*/ 2178647 h 505"/>
              <a:gd name="T52" fmla="*/ 20508076 w 524"/>
              <a:gd name="T53" fmla="*/ 11164589 h 505"/>
              <a:gd name="T54" fmla="*/ 17629854 w 524"/>
              <a:gd name="T55" fmla="*/ 15521362 h 505"/>
              <a:gd name="T56" fmla="*/ 16730250 w 524"/>
              <a:gd name="T57" fmla="*/ 17427613 h 505"/>
              <a:gd name="T58" fmla="*/ 16910086 w 524"/>
              <a:gd name="T59" fmla="*/ 25596888 h 505"/>
              <a:gd name="T60" fmla="*/ 17089922 w 524"/>
              <a:gd name="T61" fmla="*/ 38122935 h 505"/>
              <a:gd name="T62" fmla="*/ 16910086 w 524"/>
              <a:gd name="T63" fmla="*/ 44658355 h 505"/>
              <a:gd name="T64" fmla="*/ 15470975 w 524"/>
              <a:gd name="T65" fmla="*/ 49015650 h 505"/>
              <a:gd name="T66" fmla="*/ 12052821 w 524"/>
              <a:gd name="T67" fmla="*/ 53644819 h 505"/>
              <a:gd name="T68" fmla="*/ 7195980 w 524"/>
              <a:gd name="T69" fmla="*/ 58273988 h 505"/>
              <a:gd name="T70" fmla="*/ 2338715 w 524"/>
              <a:gd name="T71" fmla="*/ 62086490 h 505"/>
              <a:gd name="T72" fmla="*/ 359672 w 524"/>
              <a:gd name="T73" fmla="*/ 66988055 h 505"/>
              <a:gd name="T74" fmla="*/ 359672 w 524"/>
              <a:gd name="T75" fmla="*/ 71889620 h 505"/>
              <a:gd name="T76" fmla="*/ 0 w 524"/>
              <a:gd name="T77" fmla="*/ 75701600 h 505"/>
              <a:gd name="T78" fmla="*/ 0 w 524"/>
              <a:gd name="T79" fmla="*/ 78696914 h 505"/>
              <a:gd name="T80" fmla="*/ 1259275 w 524"/>
              <a:gd name="T81" fmla="*/ 81964624 h 505"/>
              <a:gd name="T82" fmla="*/ 4677429 w 524"/>
              <a:gd name="T83" fmla="*/ 85504730 h 505"/>
              <a:gd name="T84" fmla="*/ 11153642 w 524"/>
              <a:gd name="T85" fmla="*/ 90133899 h 505"/>
              <a:gd name="T86" fmla="*/ 21587516 w 524"/>
              <a:gd name="T87" fmla="*/ 96669319 h 505"/>
              <a:gd name="T88" fmla="*/ 32381062 w 524"/>
              <a:gd name="T89" fmla="*/ 101843280 h 505"/>
              <a:gd name="T90" fmla="*/ 38497602 w 524"/>
              <a:gd name="T91" fmla="*/ 104838594 h 505"/>
              <a:gd name="T92" fmla="*/ 42635100 w 524"/>
              <a:gd name="T93" fmla="*/ 108923493 h 505"/>
              <a:gd name="T94" fmla="*/ 45333910 w 524"/>
              <a:gd name="T95" fmla="*/ 113825058 h 505"/>
              <a:gd name="T96" fmla="*/ 47132693 w 524"/>
              <a:gd name="T97" fmla="*/ 118454227 h 505"/>
              <a:gd name="T98" fmla="*/ 47852461 w 524"/>
              <a:gd name="T99" fmla="*/ 122810999 h 505"/>
              <a:gd name="T100" fmla="*/ 48571804 w 524"/>
              <a:gd name="T101" fmla="*/ 127712564 h 505"/>
              <a:gd name="T102" fmla="*/ 49831080 w 524"/>
              <a:gd name="T103" fmla="*/ 130980274 h 505"/>
              <a:gd name="T104" fmla="*/ 51630287 w 524"/>
              <a:gd name="T105" fmla="*/ 133158922 h 505"/>
              <a:gd name="T106" fmla="*/ 55227853 w 524"/>
              <a:gd name="T107" fmla="*/ 135337047 h 505"/>
              <a:gd name="T108" fmla="*/ 59005678 w 524"/>
              <a:gd name="T109" fmla="*/ 136970902 h 505"/>
              <a:gd name="T110" fmla="*/ 60264954 w 524"/>
              <a:gd name="T111" fmla="*/ 136154235 h 505"/>
              <a:gd name="T112" fmla="*/ 62243997 w 524"/>
              <a:gd name="T113" fmla="*/ 135881839 h 505"/>
              <a:gd name="T114" fmla="*/ 65841987 w 524"/>
              <a:gd name="T115" fmla="*/ 136970902 h 505"/>
              <a:gd name="T116" fmla="*/ 68900045 w 524"/>
              <a:gd name="T117" fmla="*/ 137515694 h 505"/>
              <a:gd name="T118" fmla="*/ 78614575 w 524"/>
              <a:gd name="T119" fmla="*/ 137515694 h 505"/>
              <a:gd name="T120" fmla="*/ 83651677 w 524"/>
              <a:gd name="T121" fmla="*/ 122266207 h 505"/>
              <a:gd name="T122" fmla="*/ 88508518 w 524"/>
              <a:gd name="T123" fmla="*/ 118998497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00000"/>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58" name="Freeform 260">
            <a:extLst>
              <a:ext uri="{FF2B5EF4-FFF2-40B4-BE49-F238E27FC236}">
                <a16:creationId xmlns:a16="http://schemas.microsoft.com/office/drawing/2014/main" id="{D119E491-16AB-48E8-A110-EB823747691F}"/>
              </a:ext>
            </a:extLst>
          </p:cNvPr>
          <p:cNvSpPr>
            <a:spLocks/>
          </p:cNvSpPr>
          <p:nvPr>
            <p:custDataLst>
              <p:tags r:id="rId187"/>
            </p:custDataLst>
          </p:nvPr>
        </p:nvSpPr>
        <p:spPr bwMode="auto">
          <a:xfrm>
            <a:off x="7400603" y="2682897"/>
            <a:ext cx="461653" cy="378106"/>
          </a:xfrm>
          <a:custGeom>
            <a:avLst/>
            <a:gdLst>
              <a:gd name="T0" fmla="*/ 11692921 w 764"/>
              <a:gd name="T1" fmla="*/ 53702844 h 555"/>
              <a:gd name="T2" fmla="*/ 17539599 w 764"/>
              <a:gd name="T3" fmla="*/ 52059227 h 555"/>
              <a:gd name="T4" fmla="*/ 24140617 w 764"/>
              <a:gd name="T5" fmla="*/ 49867039 h 555"/>
              <a:gd name="T6" fmla="*/ 33004655 w 764"/>
              <a:gd name="T7" fmla="*/ 41373096 h 555"/>
              <a:gd name="T8" fmla="*/ 36587878 w 764"/>
              <a:gd name="T9" fmla="*/ 34523295 h 555"/>
              <a:gd name="T10" fmla="*/ 37530695 w 764"/>
              <a:gd name="T11" fmla="*/ 24111449 h 555"/>
              <a:gd name="T12" fmla="*/ 39228285 w 764"/>
              <a:gd name="T13" fmla="*/ 18905788 h 555"/>
              <a:gd name="T14" fmla="*/ 45263440 w 764"/>
              <a:gd name="T15" fmla="*/ 16439839 h 555"/>
              <a:gd name="T16" fmla="*/ 55447681 w 764"/>
              <a:gd name="T17" fmla="*/ 16987885 h 555"/>
              <a:gd name="T18" fmla="*/ 62048264 w 764"/>
              <a:gd name="T19" fmla="*/ 19453835 h 555"/>
              <a:gd name="T20" fmla="*/ 68271895 w 764"/>
              <a:gd name="T21" fmla="*/ 24659496 h 555"/>
              <a:gd name="T22" fmla="*/ 72798369 w 764"/>
              <a:gd name="T23" fmla="*/ 25481305 h 555"/>
              <a:gd name="T24" fmla="*/ 79022000 w 764"/>
              <a:gd name="T25" fmla="*/ 23015355 h 555"/>
              <a:gd name="T26" fmla="*/ 86754745 w 764"/>
              <a:gd name="T27" fmla="*/ 16713600 h 555"/>
              <a:gd name="T28" fmla="*/ 90337969 w 764"/>
              <a:gd name="T29" fmla="*/ 9041990 h 555"/>
              <a:gd name="T30" fmla="*/ 95807259 w 764"/>
              <a:gd name="T31" fmla="*/ 1096094 h 555"/>
              <a:gd name="T32" fmla="*/ 99956346 w 764"/>
              <a:gd name="T33" fmla="*/ 5205661 h 555"/>
              <a:gd name="T34" fmla="*/ 103728481 w 764"/>
              <a:gd name="T35" fmla="*/ 12329748 h 555"/>
              <a:gd name="T36" fmla="*/ 105803024 w 764"/>
              <a:gd name="T37" fmla="*/ 23837687 h 555"/>
              <a:gd name="T38" fmla="*/ 107500181 w 764"/>
              <a:gd name="T39" fmla="*/ 27673493 h 555"/>
              <a:gd name="T40" fmla="*/ 111083404 w 764"/>
              <a:gd name="T41" fmla="*/ 28495301 h 555"/>
              <a:gd name="T42" fmla="*/ 117307469 w 764"/>
              <a:gd name="T43" fmla="*/ 20001359 h 555"/>
              <a:gd name="T44" fmla="*/ 140127448 w 764"/>
              <a:gd name="T45" fmla="*/ 18083456 h 555"/>
              <a:gd name="T46" fmla="*/ 143145242 w 764"/>
              <a:gd name="T47" fmla="*/ 23837687 h 555"/>
              <a:gd name="T48" fmla="*/ 128057140 w 764"/>
              <a:gd name="T49" fmla="*/ 27399731 h 555"/>
              <a:gd name="T50" fmla="*/ 114101198 w 764"/>
              <a:gd name="T51" fmla="*/ 30687489 h 555"/>
              <a:gd name="T52" fmla="*/ 108254521 w 764"/>
              <a:gd name="T53" fmla="*/ 35619388 h 555"/>
              <a:gd name="T54" fmla="*/ 107688657 w 764"/>
              <a:gd name="T55" fmla="*/ 40277002 h 555"/>
              <a:gd name="T56" fmla="*/ 109763201 w 764"/>
              <a:gd name="T57" fmla="*/ 44935140 h 555"/>
              <a:gd name="T58" fmla="*/ 113346858 w 764"/>
              <a:gd name="T59" fmla="*/ 49318992 h 555"/>
              <a:gd name="T60" fmla="*/ 113912722 w 764"/>
              <a:gd name="T61" fmla="*/ 53429083 h 555"/>
              <a:gd name="T62" fmla="*/ 112026655 w 764"/>
              <a:gd name="T63" fmla="*/ 58360982 h 555"/>
              <a:gd name="T64" fmla="*/ 108254521 w 764"/>
              <a:gd name="T65" fmla="*/ 64936499 h 555"/>
              <a:gd name="T66" fmla="*/ 106557364 w 764"/>
              <a:gd name="T67" fmla="*/ 69868398 h 555"/>
              <a:gd name="T68" fmla="*/ 102219366 w 764"/>
              <a:gd name="T69" fmla="*/ 73704726 h 555"/>
              <a:gd name="T70" fmla="*/ 97881803 w 764"/>
              <a:gd name="T71" fmla="*/ 84938381 h 555"/>
              <a:gd name="T72" fmla="*/ 95807259 w 764"/>
              <a:gd name="T73" fmla="*/ 99460316 h 555"/>
              <a:gd name="T74" fmla="*/ 93732716 w 764"/>
              <a:gd name="T75" fmla="*/ 116447679 h 555"/>
              <a:gd name="T76" fmla="*/ 89960581 w 764"/>
              <a:gd name="T77" fmla="*/ 112885635 h 555"/>
              <a:gd name="T78" fmla="*/ 86754745 w 764"/>
              <a:gd name="T79" fmla="*/ 111515779 h 555"/>
              <a:gd name="T80" fmla="*/ 82794134 w 764"/>
              <a:gd name="T81" fmla="*/ 114529776 h 555"/>
              <a:gd name="T82" fmla="*/ 77513320 w 764"/>
              <a:gd name="T83" fmla="*/ 120557769 h 555"/>
              <a:gd name="T84" fmla="*/ 74118573 w 764"/>
              <a:gd name="T85" fmla="*/ 121653863 h 555"/>
              <a:gd name="T86" fmla="*/ 70723826 w 764"/>
              <a:gd name="T87" fmla="*/ 126859524 h 555"/>
              <a:gd name="T88" fmla="*/ 68837759 w 764"/>
              <a:gd name="T89" fmla="*/ 140011081 h 555"/>
              <a:gd name="T90" fmla="*/ 66008875 w 764"/>
              <a:gd name="T91" fmla="*/ 143847409 h 555"/>
              <a:gd name="T92" fmla="*/ 50921207 w 764"/>
              <a:gd name="T93" fmla="*/ 149601117 h 555"/>
              <a:gd name="T94" fmla="*/ 36587878 w 764"/>
              <a:gd name="T95" fmla="*/ 151793305 h 555"/>
              <a:gd name="T96" fmla="*/ 21311299 w 764"/>
              <a:gd name="T97" fmla="*/ 148505023 h 555"/>
              <a:gd name="T98" fmla="*/ 17916552 w 764"/>
              <a:gd name="T99" fmla="*/ 141929507 h 555"/>
              <a:gd name="T100" fmla="*/ 21688686 w 764"/>
              <a:gd name="T101" fmla="*/ 133709326 h 555"/>
              <a:gd name="T102" fmla="*/ 23574753 w 764"/>
              <a:gd name="T103" fmla="*/ 126585762 h 555"/>
              <a:gd name="T104" fmla="*/ 23197366 w 764"/>
              <a:gd name="T105" fmla="*/ 121105816 h 555"/>
              <a:gd name="T106" fmla="*/ 20934346 w 764"/>
              <a:gd name="T107" fmla="*/ 118639866 h 555"/>
              <a:gd name="T108" fmla="*/ 13013125 w 764"/>
              <a:gd name="T109" fmla="*/ 118091819 h 555"/>
              <a:gd name="T110" fmla="*/ 9806854 w 764"/>
              <a:gd name="T111" fmla="*/ 115351585 h 555"/>
              <a:gd name="T112" fmla="*/ 6412107 w 764"/>
              <a:gd name="T113" fmla="*/ 105214024 h 555"/>
              <a:gd name="T114" fmla="*/ 3583224 w 764"/>
              <a:gd name="T115" fmla="*/ 84664619 h 555"/>
              <a:gd name="T116" fmla="*/ 1886067 w 764"/>
              <a:gd name="T117" fmla="*/ 79732720 h 555"/>
              <a:gd name="T118" fmla="*/ 0 w 764"/>
              <a:gd name="T119" fmla="*/ 76718723 h 555"/>
              <a:gd name="T120" fmla="*/ 377387 w 764"/>
              <a:gd name="T121" fmla="*/ 73430441 h 555"/>
              <a:gd name="T122" fmla="*/ 4149087 w 764"/>
              <a:gd name="T123" fmla="*/ 67950495 h 555"/>
              <a:gd name="T124" fmla="*/ 6412107 w 764"/>
              <a:gd name="T125" fmla="*/ 60552646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59" name="Freeform 261">
            <a:extLst>
              <a:ext uri="{FF2B5EF4-FFF2-40B4-BE49-F238E27FC236}">
                <a16:creationId xmlns:a16="http://schemas.microsoft.com/office/drawing/2014/main" id="{EE5FAE5F-9CD6-4E7C-A10F-571935EE344A}"/>
              </a:ext>
            </a:extLst>
          </p:cNvPr>
          <p:cNvSpPr>
            <a:spLocks/>
          </p:cNvSpPr>
          <p:nvPr>
            <p:custDataLst>
              <p:tags r:id="rId188"/>
            </p:custDataLst>
          </p:nvPr>
        </p:nvSpPr>
        <p:spPr bwMode="auto">
          <a:xfrm>
            <a:off x="7444471" y="2745914"/>
            <a:ext cx="509698" cy="552929"/>
          </a:xfrm>
          <a:custGeom>
            <a:avLst/>
            <a:gdLst>
              <a:gd name="T0" fmla="*/ 150389759 w 831"/>
              <a:gd name="T1" fmla="*/ 22343635 h 812"/>
              <a:gd name="T2" fmla="*/ 136489964 w 831"/>
              <a:gd name="T3" fmla="*/ 7902017 h 812"/>
              <a:gd name="T4" fmla="*/ 108497048 w 831"/>
              <a:gd name="T5" fmla="*/ 2724834 h 812"/>
              <a:gd name="T6" fmla="*/ 96334562 w 831"/>
              <a:gd name="T7" fmla="*/ 7902017 h 812"/>
              <a:gd name="T8" fmla="*/ 93824822 w 831"/>
              <a:gd name="T9" fmla="*/ 13351684 h 812"/>
              <a:gd name="T10" fmla="*/ 95948347 w 831"/>
              <a:gd name="T11" fmla="*/ 19346318 h 812"/>
              <a:gd name="T12" fmla="*/ 99809621 w 831"/>
              <a:gd name="T13" fmla="*/ 24523502 h 812"/>
              <a:gd name="T14" fmla="*/ 99616294 w 831"/>
              <a:gd name="T15" fmla="*/ 30245653 h 812"/>
              <a:gd name="T16" fmla="*/ 94790141 w 831"/>
              <a:gd name="T17" fmla="*/ 38147670 h 812"/>
              <a:gd name="T18" fmla="*/ 92666616 w 831"/>
              <a:gd name="T19" fmla="*/ 44142304 h 812"/>
              <a:gd name="T20" fmla="*/ 86874705 w 831"/>
              <a:gd name="T21" fmla="*/ 50136938 h 812"/>
              <a:gd name="T22" fmla="*/ 82434328 w 831"/>
              <a:gd name="T23" fmla="*/ 66213456 h 812"/>
              <a:gd name="T24" fmla="*/ 81083234 w 831"/>
              <a:gd name="T25" fmla="*/ 90464475 h 812"/>
              <a:gd name="T26" fmla="*/ 75677539 w 831"/>
              <a:gd name="T27" fmla="*/ 86922191 h 812"/>
              <a:gd name="T28" fmla="*/ 71430489 w 831"/>
              <a:gd name="T29" fmla="*/ 85832258 h 812"/>
              <a:gd name="T30" fmla="*/ 65252802 w 831"/>
              <a:gd name="T31" fmla="*/ 92371858 h 812"/>
              <a:gd name="T32" fmla="*/ 60426210 w 831"/>
              <a:gd name="T33" fmla="*/ 95641658 h 812"/>
              <a:gd name="T34" fmla="*/ 55985833 w 831"/>
              <a:gd name="T35" fmla="*/ 100818842 h 812"/>
              <a:gd name="T36" fmla="*/ 54055196 w 831"/>
              <a:gd name="T37" fmla="*/ 115532421 h 812"/>
              <a:gd name="T38" fmla="*/ 45367770 w 831"/>
              <a:gd name="T39" fmla="*/ 120437122 h 812"/>
              <a:gd name="T40" fmla="*/ 24517858 w 831"/>
              <a:gd name="T41" fmla="*/ 125886789 h 812"/>
              <a:gd name="T42" fmla="*/ 5019480 w 831"/>
              <a:gd name="T43" fmla="*/ 122344505 h 812"/>
              <a:gd name="T44" fmla="*/ 9845633 w 831"/>
              <a:gd name="T45" fmla="*/ 137603573 h 812"/>
              <a:gd name="T46" fmla="*/ 18533499 w 831"/>
              <a:gd name="T47" fmla="*/ 147140491 h 812"/>
              <a:gd name="T48" fmla="*/ 23745867 w 831"/>
              <a:gd name="T49" fmla="*/ 157222375 h 812"/>
              <a:gd name="T50" fmla="*/ 27413813 w 831"/>
              <a:gd name="T51" fmla="*/ 162399559 h 812"/>
              <a:gd name="T52" fmla="*/ 19112602 w 831"/>
              <a:gd name="T53" fmla="*/ 176296210 h 812"/>
              <a:gd name="T54" fmla="*/ 16795750 w 831"/>
              <a:gd name="T55" fmla="*/ 182835811 h 812"/>
              <a:gd name="T56" fmla="*/ 21042800 w 831"/>
              <a:gd name="T57" fmla="*/ 196187495 h 812"/>
              <a:gd name="T58" fmla="*/ 42858030 w 831"/>
              <a:gd name="T59" fmla="*/ 193462662 h 812"/>
              <a:gd name="T60" fmla="*/ 58302685 w 831"/>
              <a:gd name="T61" fmla="*/ 192100245 h 812"/>
              <a:gd name="T62" fmla="*/ 63707941 w 831"/>
              <a:gd name="T63" fmla="*/ 196459979 h 812"/>
              <a:gd name="T64" fmla="*/ 69306964 w 831"/>
              <a:gd name="T65" fmla="*/ 205996896 h 812"/>
              <a:gd name="T66" fmla="*/ 78766382 w 831"/>
              <a:gd name="T67" fmla="*/ 213898913 h 812"/>
              <a:gd name="T68" fmla="*/ 86681817 w 831"/>
              <a:gd name="T69" fmla="*/ 218803614 h 812"/>
              <a:gd name="T70" fmla="*/ 88805342 w 831"/>
              <a:gd name="T71" fmla="*/ 215533814 h 812"/>
              <a:gd name="T72" fmla="*/ 94017710 w 831"/>
              <a:gd name="T73" fmla="*/ 210901596 h 812"/>
              <a:gd name="T74" fmla="*/ 106952626 w 831"/>
              <a:gd name="T75" fmla="*/ 208176763 h 812"/>
              <a:gd name="T76" fmla="*/ 115253837 w 831"/>
              <a:gd name="T77" fmla="*/ 204361996 h 812"/>
              <a:gd name="T78" fmla="*/ 119307999 w 831"/>
              <a:gd name="T79" fmla="*/ 198094879 h 812"/>
              <a:gd name="T80" fmla="*/ 112744097 w 831"/>
              <a:gd name="T81" fmla="*/ 190737828 h 812"/>
              <a:gd name="T82" fmla="*/ 104635774 w 831"/>
              <a:gd name="T83" fmla="*/ 174661310 h 812"/>
              <a:gd name="T84" fmla="*/ 101546931 w 831"/>
              <a:gd name="T85" fmla="*/ 170029093 h 812"/>
              <a:gd name="T86" fmla="*/ 101546931 w 831"/>
              <a:gd name="T87" fmla="*/ 157494858 h 812"/>
              <a:gd name="T88" fmla="*/ 112357882 w 831"/>
              <a:gd name="T89" fmla="*/ 153407608 h 812"/>
              <a:gd name="T90" fmla="*/ 120080429 w 831"/>
              <a:gd name="T91" fmla="*/ 144688141 h 812"/>
              <a:gd name="T92" fmla="*/ 132822018 w 831"/>
              <a:gd name="T93" fmla="*/ 113625038 h 812"/>
              <a:gd name="T94" fmla="*/ 140930341 w 831"/>
              <a:gd name="T95" fmla="*/ 100273875 h 812"/>
              <a:gd name="T96" fmla="*/ 139965023 w 831"/>
              <a:gd name="T97" fmla="*/ 89919508 h 812"/>
              <a:gd name="T98" fmla="*/ 140737014 w 831"/>
              <a:gd name="T99" fmla="*/ 83107424 h 812"/>
              <a:gd name="T100" fmla="*/ 144984503 w 831"/>
              <a:gd name="T101" fmla="*/ 78747690 h 812"/>
              <a:gd name="T102" fmla="*/ 129346959 w 831"/>
              <a:gd name="T103" fmla="*/ 56404055 h 812"/>
              <a:gd name="T104" fmla="*/ 146335597 w 831"/>
              <a:gd name="T105" fmla="*/ 38147670 h 812"/>
              <a:gd name="T106" fmla="*/ 155409239 w 831"/>
              <a:gd name="T107" fmla="*/ 33515453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0872A6"/>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60" name="Freeform 262">
            <a:extLst>
              <a:ext uri="{FF2B5EF4-FFF2-40B4-BE49-F238E27FC236}">
                <a16:creationId xmlns:a16="http://schemas.microsoft.com/office/drawing/2014/main" id="{12974F19-047E-4885-8352-F87AE3681B9F}"/>
              </a:ext>
            </a:extLst>
          </p:cNvPr>
          <p:cNvSpPr>
            <a:spLocks/>
          </p:cNvSpPr>
          <p:nvPr>
            <p:custDataLst>
              <p:tags r:id="rId189"/>
            </p:custDataLst>
          </p:nvPr>
        </p:nvSpPr>
        <p:spPr bwMode="auto">
          <a:xfrm>
            <a:off x="8545334" y="3095561"/>
            <a:ext cx="307073" cy="762309"/>
          </a:xfrm>
          <a:custGeom>
            <a:avLst/>
            <a:gdLst>
              <a:gd name="T0" fmla="*/ 83627781 w 505"/>
              <a:gd name="T1" fmla="*/ 291361884 h 1121"/>
              <a:gd name="T2" fmla="*/ 84582531 w 505"/>
              <a:gd name="T3" fmla="*/ 280712161 h 1121"/>
              <a:gd name="T4" fmla="*/ 76181607 w 505"/>
              <a:gd name="T5" fmla="*/ 279073943 h 1121"/>
              <a:gd name="T6" fmla="*/ 77326870 w 505"/>
              <a:gd name="T7" fmla="*/ 261324754 h 1121"/>
              <a:gd name="T8" fmla="*/ 80000169 w 505"/>
              <a:gd name="T9" fmla="*/ 254224765 h 1121"/>
              <a:gd name="T10" fmla="*/ 78854469 w 505"/>
              <a:gd name="T11" fmla="*/ 245486558 h 1121"/>
              <a:gd name="T12" fmla="*/ 75990657 w 505"/>
              <a:gd name="T13" fmla="*/ 243848340 h 1121"/>
              <a:gd name="T14" fmla="*/ 72935457 w 505"/>
              <a:gd name="T15" fmla="*/ 228829514 h 1121"/>
              <a:gd name="T16" fmla="*/ 61861670 w 505"/>
              <a:gd name="T17" fmla="*/ 196334796 h 1121"/>
              <a:gd name="T18" fmla="*/ 56515508 w 505"/>
              <a:gd name="T19" fmla="*/ 191965692 h 1121"/>
              <a:gd name="T20" fmla="*/ 53842646 w 505"/>
              <a:gd name="T21" fmla="*/ 196061498 h 1121"/>
              <a:gd name="T22" fmla="*/ 43150322 w 505"/>
              <a:gd name="T23" fmla="*/ 202615415 h 1121"/>
              <a:gd name="T24" fmla="*/ 32267485 w 505"/>
              <a:gd name="T25" fmla="*/ 200976674 h 1121"/>
              <a:gd name="T26" fmla="*/ 25393723 w 505"/>
              <a:gd name="T27" fmla="*/ 154828573 h 1121"/>
              <a:gd name="T28" fmla="*/ 19284198 w 505"/>
              <a:gd name="T29" fmla="*/ 141994560 h 1121"/>
              <a:gd name="T30" fmla="*/ 9737574 w 505"/>
              <a:gd name="T31" fmla="*/ 137079384 h 1121"/>
              <a:gd name="T32" fmla="*/ 1527600 w 505"/>
              <a:gd name="T33" fmla="*/ 128614474 h 1121"/>
              <a:gd name="T34" fmla="*/ 4391412 w 505"/>
              <a:gd name="T35" fmla="*/ 121514485 h 1121"/>
              <a:gd name="T36" fmla="*/ 11073787 w 505"/>
              <a:gd name="T37" fmla="*/ 98576822 h 1121"/>
              <a:gd name="T38" fmla="*/ 12792337 w 505"/>
              <a:gd name="T39" fmla="*/ 75639158 h 1121"/>
              <a:gd name="T40" fmla="*/ 15274686 w 505"/>
              <a:gd name="T41" fmla="*/ 72362723 h 1121"/>
              <a:gd name="T42" fmla="*/ 21575161 w 505"/>
              <a:gd name="T43" fmla="*/ 70451207 h 1121"/>
              <a:gd name="T44" fmla="*/ 25584673 w 505"/>
              <a:gd name="T45" fmla="*/ 60620855 h 1121"/>
              <a:gd name="T46" fmla="*/ 26730373 w 505"/>
              <a:gd name="T47" fmla="*/ 31948645 h 1121"/>
              <a:gd name="T48" fmla="*/ 30357985 w 505"/>
              <a:gd name="T49" fmla="*/ 26760694 h 1121"/>
              <a:gd name="T50" fmla="*/ 40668409 w 505"/>
              <a:gd name="T51" fmla="*/ 20206777 h 1121"/>
              <a:gd name="T52" fmla="*/ 44677922 w 505"/>
              <a:gd name="T53" fmla="*/ 5734546 h 1121"/>
              <a:gd name="T54" fmla="*/ 52887896 w 505"/>
              <a:gd name="T55" fmla="*/ 8464910 h 1121"/>
              <a:gd name="T56" fmla="*/ 59570271 w 505"/>
              <a:gd name="T57" fmla="*/ 13380086 h 1121"/>
              <a:gd name="T58" fmla="*/ 64343583 w 505"/>
              <a:gd name="T59" fmla="*/ 33314088 h 1121"/>
              <a:gd name="T60" fmla="*/ 63961683 w 505"/>
              <a:gd name="T61" fmla="*/ 45602029 h 1121"/>
              <a:gd name="T62" fmla="*/ 57279308 w 505"/>
              <a:gd name="T63" fmla="*/ 58982114 h 1121"/>
              <a:gd name="T64" fmla="*/ 55942659 w 505"/>
              <a:gd name="T65" fmla="*/ 66901474 h 1121"/>
              <a:gd name="T66" fmla="*/ 58997858 w 505"/>
              <a:gd name="T67" fmla="*/ 71270577 h 1121"/>
              <a:gd name="T68" fmla="*/ 66062133 w 505"/>
              <a:gd name="T69" fmla="*/ 73728166 h 1121"/>
              <a:gd name="T70" fmla="*/ 70835445 w 505"/>
              <a:gd name="T71" fmla="*/ 79462189 h 1121"/>
              <a:gd name="T72" fmla="*/ 75990657 w 505"/>
              <a:gd name="T73" fmla="*/ 94207718 h 1121"/>
              <a:gd name="T74" fmla="*/ 82100182 w 505"/>
              <a:gd name="T75" fmla="*/ 109226544 h 1121"/>
              <a:gd name="T76" fmla="*/ 88592043 w 505"/>
              <a:gd name="T77" fmla="*/ 114141720 h 1121"/>
              <a:gd name="T78" fmla="*/ 96420118 w 505"/>
              <a:gd name="T79" fmla="*/ 114141720 h 1121"/>
              <a:gd name="T80" fmla="*/ 90883006 w 505"/>
              <a:gd name="T81" fmla="*/ 134894571 h 1121"/>
              <a:gd name="T82" fmla="*/ 81527332 w 505"/>
              <a:gd name="T83" fmla="*/ 139263674 h 1121"/>
              <a:gd name="T84" fmla="*/ 73126407 w 505"/>
              <a:gd name="T85" fmla="*/ 144178850 h 1121"/>
              <a:gd name="T86" fmla="*/ 68734995 w 505"/>
              <a:gd name="T87" fmla="*/ 156194016 h 1121"/>
              <a:gd name="T88" fmla="*/ 70644495 w 505"/>
              <a:gd name="T89" fmla="*/ 173943205 h 1121"/>
              <a:gd name="T90" fmla="*/ 76754020 w 505"/>
              <a:gd name="T91" fmla="*/ 186504443 h 1121"/>
              <a:gd name="T92" fmla="*/ 82100182 w 505"/>
              <a:gd name="T93" fmla="*/ 200703899 h 1121"/>
              <a:gd name="T94" fmla="*/ 81718282 w 505"/>
              <a:gd name="T95" fmla="*/ 211899694 h 1121"/>
              <a:gd name="T96" fmla="*/ 80000169 w 505"/>
              <a:gd name="T97" fmla="*/ 218726386 h 1121"/>
              <a:gd name="T98" fmla="*/ 83054931 w 505"/>
              <a:gd name="T99" fmla="*/ 232379247 h 1121"/>
              <a:gd name="T100" fmla="*/ 92219656 w 505"/>
              <a:gd name="T101" fmla="*/ 263509045 h 1121"/>
              <a:gd name="T102" fmla="*/ 87446344 w 505"/>
              <a:gd name="T103" fmla="*/ 295457690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61" name="Freeform 263">
            <a:extLst>
              <a:ext uri="{FF2B5EF4-FFF2-40B4-BE49-F238E27FC236}">
                <a16:creationId xmlns:a16="http://schemas.microsoft.com/office/drawing/2014/main" id="{3F4B46C3-EFD5-44D8-804D-00A9D13606FC}"/>
              </a:ext>
            </a:extLst>
          </p:cNvPr>
          <p:cNvSpPr>
            <a:spLocks/>
          </p:cNvSpPr>
          <p:nvPr>
            <p:custDataLst>
              <p:tags r:id="rId190"/>
            </p:custDataLst>
          </p:nvPr>
        </p:nvSpPr>
        <p:spPr bwMode="auto">
          <a:xfrm>
            <a:off x="4820782" y="3758262"/>
            <a:ext cx="112802" cy="77247"/>
          </a:xfrm>
          <a:custGeom>
            <a:avLst/>
            <a:gdLst>
              <a:gd name="T0" fmla="*/ 36416708 w 180"/>
              <a:gd name="T1" fmla="*/ 1925243 h 112"/>
              <a:gd name="T2" fmla="*/ 34595940 w 180"/>
              <a:gd name="T3" fmla="*/ 6601207 h 112"/>
              <a:gd name="T4" fmla="*/ 32977129 w 180"/>
              <a:gd name="T5" fmla="*/ 10726503 h 112"/>
              <a:gd name="T6" fmla="*/ 30751996 w 180"/>
              <a:gd name="T7" fmla="*/ 14577513 h 112"/>
              <a:gd name="T8" fmla="*/ 28526413 w 180"/>
              <a:gd name="T9" fmla="*/ 18152664 h 112"/>
              <a:gd name="T10" fmla="*/ 26098423 w 180"/>
              <a:gd name="T11" fmla="*/ 22003674 h 112"/>
              <a:gd name="T12" fmla="*/ 23266067 w 180"/>
              <a:gd name="T13" fmla="*/ 25304016 h 112"/>
              <a:gd name="T14" fmla="*/ 20433712 w 180"/>
              <a:gd name="T15" fmla="*/ 28054737 h 112"/>
              <a:gd name="T16" fmla="*/ 17601356 w 180"/>
              <a:gd name="T17" fmla="*/ 30804934 h 112"/>
              <a:gd name="T18" fmla="*/ 16589768 w 180"/>
              <a:gd name="T19" fmla="*/ 29429836 h 112"/>
              <a:gd name="T20" fmla="*/ 15982996 w 180"/>
              <a:gd name="T21" fmla="*/ 27779403 h 112"/>
              <a:gd name="T22" fmla="*/ 15375773 w 180"/>
              <a:gd name="T23" fmla="*/ 26128970 h 112"/>
              <a:gd name="T24" fmla="*/ 14971408 w 180"/>
              <a:gd name="T25" fmla="*/ 24203727 h 112"/>
              <a:gd name="T26" fmla="*/ 14162228 w 180"/>
              <a:gd name="T27" fmla="*/ 22278484 h 112"/>
              <a:gd name="T28" fmla="*/ 13757413 w 180"/>
              <a:gd name="T29" fmla="*/ 20353241 h 112"/>
              <a:gd name="T30" fmla="*/ 13150640 w 180"/>
              <a:gd name="T31" fmla="*/ 18978143 h 112"/>
              <a:gd name="T32" fmla="*/ 12139052 w 180"/>
              <a:gd name="T33" fmla="*/ 17327710 h 112"/>
              <a:gd name="T34" fmla="*/ 9104289 w 180"/>
              <a:gd name="T35" fmla="*/ 13201890 h 112"/>
              <a:gd name="T36" fmla="*/ 7283521 w 180"/>
              <a:gd name="T37" fmla="*/ 10451693 h 112"/>
              <a:gd name="T38" fmla="*/ 6069526 w 180"/>
              <a:gd name="T39" fmla="*/ 9076594 h 112"/>
              <a:gd name="T40" fmla="*/ 5057939 w 180"/>
              <a:gd name="T41" fmla="*/ 8526450 h 112"/>
              <a:gd name="T42" fmla="*/ 3641536 w 180"/>
              <a:gd name="T43" fmla="*/ 8251116 h 112"/>
              <a:gd name="T44" fmla="*/ 0 w 180"/>
              <a:gd name="T45" fmla="*/ 7151352 h 112"/>
              <a:gd name="T46" fmla="*/ 5260346 w 180"/>
              <a:gd name="T47" fmla="*/ 3850486 h 112"/>
              <a:gd name="T48" fmla="*/ 8295109 w 180"/>
              <a:gd name="T49" fmla="*/ 2475387 h 112"/>
              <a:gd name="T50" fmla="*/ 11329422 w 180"/>
              <a:gd name="T51" fmla="*/ 1375099 h 112"/>
              <a:gd name="T52" fmla="*/ 14971408 w 180"/>
              <a:gd name="T53" fmla="*/ 824954 h 112"/>
              <a:gd name="T54" fmla="*/ 18815351 w 180"/>
              <a:gd name="T55" fmla="*/ 274810 h 112"/>
              <a:gd name="T56" fmla="*/ 23064110 w 180"/>
              <a:gd name="T57" fmla="*/ 0 h 112"/>
              <a:gd name="T58" fmla="*/ 27312418 w 180"/>
              <a:gd name="T59" fmla="*/ 274810 h 112"/>
              <a:gd name="T60" fmla="*/ 31763584 w 180"/>
              <a:gd name="T61" fmla="*/ 824954 h 112"/>
              <a:gd name="T62" fmla="*/ 36416708 w 180"/>
              <a:gd name="T63" fmla="*/ 1925243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62" name="Freeform 264">
            <a:extLst>
              <a:ext uri="{FF2B5EF4-FFF2-40B4-BE49-F238E27FC236}">
                <a16:creationId xmlns:a16="http://schemas.microsoft.com/office/drawing/2014/main" id="{A08B2B25-43D5-49EF-96DE-0B514E459C49}"/>
              </a:ext>
            </a:extLst>
          </p:cNvPr>
          <p:cNvSpPr>
            <a:spLocks/>
          </p:cNvSpPr>
          <p:nvPr>
            <p:custDataLst>
              <p:tags r:id="rId191"/>
            </p:custDataLst>
          </p:nvPr>
        </p:nvSpPr>
        <p:spPr bwMode="auto">
          <a:xfrm>
            <a:off x="4937762" y="3866001"/>
            <a:ext cx="104446" cy="130101"/>
          </a:xfrm>
          <a:custGeom>
            <a:avLst/>
            <a:gdLst>
              <a:gd name="T0" fmla="*/ 0 w 173"/>
              <a:gd name="T1" fmla="*/ 18450836 h 192"/>
              <a:gd name="T2" fmla="*/ 5022293 w 173"/>
              <a:gd name="T3" fmla="*/ 11396273 h 192"/>
              <a:gd name="T4" fmla="*/ 9486075 w 173"/>
              <a:gd name="T5" fmla="*/ 5698136 h 192"/>
              <a:gd name="T6" fmla="*/ 10416353 w 173"/>
              <a:gd name="T7" fmla="*/ 4341189 h 192"/>
              <a:gd name="T8" fmla="*/ 11718397 w 173"/>
              <a:gd name="T9" fmla="*/ 3256152 h 192"/>
              <a:gd name="T10" fmla="*/ 13020441 w 173"/>
              <a:gd name="T11" fmla="*/ 2170595 h 192"/>
              <a:gd name="T12" fmla="*/ 14136602 w 173"/>
              <a:gd name="T13" fmla="*/ 1627816 h 192"/>
              <a:gd name="T14" fmla="*/ 15438646 w 173"/>
              <a:gd name="T15" fmla="*/ 814168 h 192"/>
              <a:gd name="T16" fmla="*/ 16740259 w 173"/>
              <a:gd name="T17" fmla="*/ 542779 h 192"/>
              <a:gd name="T18" fmla="*/ 18228617 w 173"/>
              <a:gd name="T19" fmla="*/ 271389 h 192"/>
              <a:gd name="T20" fmla="*/ 19902428 w 173"/>
              <a:gd name="T21" fmla="*/ 0 h 192"/>
              <a:gd name="T22" fmla="*/ 21576669 w 173"/>
              <a:gd name="T23" fmla="*/ 271389 h 192"/>
              <a:gd name="T24" fmla="*/ 23064596 w 173"/>
              <a:gd name="T25" fmla="*/ 542779 h 192"/>
              <a:gd name="T26" fmla="*/ 24552523 w 173"/>
              <a:gd name="T27" fmla="*/ 1356947 h 192"/>
              <a:gd name="T28" fmla="*/ 25854567 w 173"/>
              <a:gd name="T29" fmla="*/ 2170595 h 192"/>
              <a:gd name="T30" fmla="*/ 26970729 w 173"/>
              <a:gd name="T31" fmla="*/ 3527542 h 192"/>
              <a:gd name="T32" fmla="*/ 28086890 w 173"/>
              <a:gd name="T33" fmla="*/ 5155358 h 192"/>
              <a:gd name="T34" fmla="*/ 28830853 w 173"/>
              <a:gd name="T35" fmla="*/ 6512305 h 192"/>
              <a:gd name="T36" fmla="*/ 29760700 w 173"/>
              <a:gd name="T37" fmla="*/ 8140121 h 192"/>
              <a:gd name="T38" fmla="*/ 30318780 w 173"/>
              <a:gd name="T39" fmla="*/ 10039326 h 192"/>
              <a:gd name="T40" fmla="*/ 30876861 w 173"/>
              <a:gd name="T41" fmla="*/ 11667662 h 192"/>
              <a:gd name="T42" fmla="*/ 31249058 w 173"/>
              <a:gd name="T43" fmla="*/ 13566868 h 192"/>
              <a:gd name="T44" fmla="*/ 31434941 w 173"/>
              <a:gd name="T45" fmla="*/ 15466073 h 192"/>
              <a:gd name="T46" fmla="*/ 31993022 w 173"/>
              <a:gd name="T47" fmla="*/ 19536394 h 192"/>
              <a:gd name="T48" fmla="*/ 32178905 w 173"/>
              <a:gd name="T49" fmla="*/ 23606193 h 192"/>
              <a:gd name="T50" fmla="*/ 29202619 w 173"/>
              <a:gd name="T51" fmla="*/ 30932667 h 192"/>
              <a:gd name="T52" fmla="*/ 27156612 w 173"/>
              <a:gd name="T53" fmla="*/ 37173061 h 192"/>
              <a:gd name="T54" fmla="*/ 25854567 w 173"/>
              <a:gd name="T55" fmla="*/ 40157824 h 192"/>
              <a:gd name="T56" fmla="*/ 24180757 w 173"/>
              <a:gd name="T57" fmla="*/ 43413976 h 192"/>
              <a:gd name="T58" fmla="*/ 21762552 w 173"/>
              <a:gd name="T59" fmla="*/ 47212908 h 192"/>
              <a:gd name="T60" fmla="*/ 18414500 w 173"/>
              <a:gd name="T61" fmla="*/ 52096876 h 192"/>
              <a:gd name="T62" fmla="*/ 15996295 w 173"/>
              <a:gd name="T63" fmla="*/ 49654892 h 192"/>
              <a:gd name="T64" fmla="*/ 13764405 w 173"/>
              <a:gd name="T65" fmla="*/ 47755687 h 192"/>
              <a:gd name="T66" fmla="*/ 11718397 w 173"/>
              <a:gd name="T67" fmla="*/ 45855961 h 192"/>
              <a:gd name="T68" fmla="*/ 10044155 w 173"/>
              <a:gd name="T69" fmla="*/ 44228145 h 192"/>
              <a:gd name="T70" fmla="*/ 8556228 w 173"/>
              <a:gd name="T71" fmla="*/ 42328940 h 192"/>
              <a:gd name="T72" fmla="*/ 7440067 w 173"/>
              <a:gd name="T73" fmla="*/ 40700603 h 192"/>
              <a:gd name="T74" fmla="*/ 6324337 w 173"/>
              <a:gd name="T75" fmla="*/ 39072787 h 192"/>
              <a:gd name="T76" fmla="*/ 5579943 w 173"/>
              <a:gd name="T77" fmla="*/ 37173061 h 192"/>
              <a:gd name="T78" fmla="*/ 4092015 w 173"/>
              <a:gd name="T79" fmla="*/ 33374651 h 192"/>
              <a:gd name="T80" fmla="*/ 2976286 w 173"/>
              <a:gd name="T81" fmla="*/ 29032940 h 192"/>
              <a:gd name="T82" fmla="*/ 1674242 w 173"/>
              <a:gd name="T83" fmla="*/ 24420362 h 192"/>
              <a:gd name="T84" fmla="*/ 0 w 173"/>
              <a:gd name="T85" fmla="*/ 18450836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63" name="Freeform 265">
            <a:extLst>
              <a:ext uri="{FF2B5EF4-FFF2-40B4-BE49-F238E27FC236}">
                <a16:creationId xmlns:a16="http://schemas.microsoft.com/office/drawing/2014/main" id="{D82BDA5A-4A93-462E-9172-31F04F04B07F}"/>
              </a:ext>
            </a:extLst>
          </p:cNvPr>
          <p:cNvSpPr>
            <a:spLocks/>
          </p:cNvSpPr>
          <p:nvPr>
            <p:custDataLst>
              <p:tags r:id="rId192"/>
            </p:custDataLst>
          </p:nvPr>
        </p:nvSpPr>
        <p:spPr bwMode="auto">
          <a:xfrm>
            <a:off x="4996251" y="3931052"/>
            <a:ext cx="146225" cy="170758"/>
          </a:xfrm>
          <a:custGeom>
            <a:avLst/>
            <a:gdLst>
              <a:gd name="T0" fmla="*/ 14963489 w 233"/>
              <a:gd name="T1" fmla="*/ 0 h 252"/>
              <a:gd name="T2" fmla="*/ 16783336 w 233"/>
              <a:gd name="T3" fmla="*/ 546921 h 252"/>
              <a:gd name="T4" fmla="*/ 17996568 w 233"/>
              <a:gd name="T5" fmla="*/ 820382 h 252"/>
              <a:gd name="T6" fmla="*/ 19209799 w 233"/>
              <a:gd name="T7" fmla="*/ 820382 h 252"/>
              <a:gd name="T8" fmla="*/ 20018770 w 233"/>
              <a:gd name="T9" fmla="*/ 546921 h 252"/>
              <a:gd name="T10" fmla="*/ 21434357 w 233"/>
              <a:gd name="T11" fmla="*/ 273461 h 252"/>
              <a:gd name="T12" fmla="*/ 22849944 w 233"/>
              <a:gd name="T13" fmla="*/ 0 h 252"/>
              <a:gd name="T14" fmla="*/ 25276407 w 233"/>
              <a:gd name="T15" fmla="*/ 4647783 h 252"/>
              <a:gd name="T16" fmla="*/ 28309486 w 233"/>
              <a:gd name="T17" fmla="*/ 10115425 h 252"/>
              <a:gd name="T18" fmla="*/ 29118456 w 233"/>
              <a:gd name="T19" fmla="*/ 11482727 h 252"/>
              <a:gd name="T20" fmla="*/ 29926978 w 233"/>
              <a:gd name="T21" fmla="*/ 12576046 h 252"/>
              <a:gd name="T22" fmla="*/ 30938304 w 233"/>
              <a:gd name="T23" fmla="*/ 13396428 h 252"/>
              <a:gd name="T24" fmla="*/ 31746825 w 233"/>
              <a:gd name="T25" fmla="*/ 14216287 h 252"/>
              <a:gd name="T26" fmla="*/ 32960506 w 233"/>
              <a:gd name="T27" fmla="*/ 14763208 h 252"/>
              <a:gd name="T28" fmla="*/ 33971383 w 233"/>
              <a:gd name="T29" fmla="*/ 15310129 h 252"/>
              <a:gd name="T30" fmla="*/ 35184614 w 233"/>
              <a:gd name="T31" fmla="*/ 15310129 h 252"/>
              <a:gd name="T32" fmla="*/ 36397846 w 233"/>
              <a:gd name="T33" fmla="*/ 15310129 h 252"/>
              <a:gd name="T34" fmla="*/ 36397846 w 233"/>
              <a:gd name="T35" fmla="*/ 21871612 h 252"/>
              <a:gd name="T36" fmla="*/ 39026664 w 233"/>
              <a:gd name="T37" fmla="*/ 28159635 h 252"/>
              <a:gd name="T38" fmla="*/ 42868714 w 233"/>
              <a:gd name="T39" fmla="*/ 34994057 h 252"/>
              <a:gd name="T40" fmla="*/ 43475330 w 233"/>
              <a:gd name="T41" fmla="*/ 36907757 h 252"/>
              <a:gd name="T42" fmla="*/ 44486206 w 233"/>
              <a:gd name="T43" fmla="*/ 38821458 h 252"/>
              <a:gd name="T44" fmla="*/ 45092822 w 233"/>
              <a:gd name="T45" fmla="*/ 41282080 h 252"/>
              <a:gd name="T46" fmla="*/ 45699437 w 233"/>
              <a:gd name="T47" fmla="*/ 43742702 h 252"/>
              <a:gd name="T48" fmla="*/ 46508408 w 233"/>
              <a:gd name="T49" fmla="*/ 46476784 h 252"/>
              <a:gd name="T50" fmla="*/ 46912669 w 233"/>
              <a:gd name="T51" fmla="*/ 49210343 h 252"/>
              <a:gd name="T52" fmla="*/ 47115024 w 233"/>
              <a:gd name="T53" fmla="*/ 52217886 h 252"/>
              <a:gd name="T54" fmla="*/ 47115024 w 233"/>
              <a:gd name="T55" fmla="*/ 55771827 h 252"/>
              <a:gd name="T56" fmla="*/ 46912669 w 233"/>
              <a:gd name="T57" fmla="*/ 59052830 h 252"/>
              <a:gd name="T58" fmla="*/ 46508408 w 233"/>
              <a:gd name="T59" fmla="*/ 62333311 h 252"/>
              <a:gd name="T60" fmla="*/ 45901793 w 233"/>
              <a:gd name="T61" fmla="*/ 65614314 h 252"/>
              <a:gd name="T62" fmla="*/ 45699437 w 233"/>
              <a:gd name="T63" fmla="*/ 68894794 h 252"/>
              <a:gd name="T64" fmla="*/ 44890916 w 233"/>
              <a:gd name="T65" fmla="*/ 68894794 h 252"/>
              <a:gd name="T66" fmla="*/ 43475330 w 233"/>
              <a:gd name="T67" fmla="*/ 68347873 h 252"/>
              <a:gd name="T68" fmla="*/ 42059743 w 233"/>
              <a:gd name="T69" fmla="*/ 67254554 h 252"/>
              <a:gd name="T70" fmla="*/ 40037540 w 233"/>
              <a:gd name="T71" fmla="*/ 65887252 h 252"/>
              <a:gd name="T72" fmla="*/ 35588875 w 233"/>
              <a:gd name="T73" fmla="*/ 61786390 h 252"/>
              <a:gd name="T74" fmla="*/ 30533593 w 233"/>
              <a:gd name="T75" fmla="*/ 56865669 h 252"/>
              <a:gd name="T76" fmla="*/ 25276407 w 233"/>
              <a:gd name="T77" fmla="*/ 50851106 h 252"/>
              <a:gd name="T78" fmla="*/ 20221125 w 233"/>
              <a:gd name="T79" fmla="*/ 45109481 h 252"/>
              <a:gd name="T80" fmla="*/ 15772460 w 233"/>
              <a:gd name="T81" fmla="*/ 39641840 h 252"/>
              <a:gd name="T82" fmla="*/ 12334671 w 233"/>
              <a:gd name="T83" fmla="*/ 35267517 h 252"/>
              <a:gd name="T84" fmla="*/ 11121439 w 233"/>
              <a:gd name="T85" fmla="*/ 34174198 h 252"/>
              <a:gd name="T86" fmla="*/ 9706302 w 233"/>
              <a:gd name="T87" fmla="*/ 32806896 h 252"/>
              <a:gd name="T88" fmla="*/ 8290715 w 233"/>
              <a:gd name="T89" fmla="*/ 31713576 h 252"/>
              <a:gd name="T90" fmla="*/ 6672773 w 233"/>
              <a:gd name="T91" fmla="*/ 30619734 h 252"/>
              <a:gd name="T92" fmla="*/ 3437789 w 233"/>
              <a:gd name="T93" fmla="*/ 28432573 h 252"/>
              <a:gd name="T94" fmla="*/ 0 w 233"/>
              <a:gd name="T95" fmla="*/ 27065793 h 252"/>
              <a:gd name="T96" fmla="*/ 8088360 w 233"/>
              <a:gd name="T97" fmla="*/ 17223829 h 252"/>
              <a:gd name="T98" fmla="*/ 11930410 w 233"/>
              <a:gd name="T99" fmla="*/ 11755665 h 252"/>
              <a:gd name="T100" fmla="*/ 13143642 w 233"/>
              <a:gd name="T101" fmla="*/ 9022105 h 252"/>
              <a:gd name="T102" fmla="*/ 13952612 w 233"/>
              <a:gd name="T103" fmla="*/ 6834944 h 252"/>
              <a:gd name="T104" fmla="*/ 14559228 w 233"/>
              <a:gd name="T105" fmla="*/ 3827401 h 252"/>
              <a:gd name="T106" fmla="*/ 14963489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64" name="Freeform 266">
            <a:extLst>
              <a:ext uri="{FF2B5EF4-FFF2-40B4-BE49-F238E27FC236}">
                <a16:creationId xmlns:a16="http://schemas.microsoft.com/office/drawing/2014/main" id="{182990F1-9F8A-4E07-B111-1D37C05E71FC}"/>
              </a:ext>
            </a:extLst>
          </p:cNvPr>
          <p:cNvSpPr>
            <a:spLocks/>
          </p:cNvSpPr>
          <p:nvPr>
            <p:custDataLst>
              <p:tags r:id="rId193"/>
            </p:custDataLst>
          </p:nvPr>
        </p:nvSpPr>
        <p:spPr bwMode="auto">
          <a:xfrm>
            <a:off x="5294967" y="3825344"/>
            <a:ext cx="146225" cy="262235"/>
          </a:xfrm>
          <a:custGeom>
            <a:avLst/>
            <a:gdLst>
              <a:gd name="T0" fmla="*/ 2358289 w 246"/>
              <a:gd name="T1" fmla="*/ 105840994 h 380"/>
              <a:gd name="T2" fmla="*/ 2539729 w 246"/>
              <a:gd name="T3" fmla="*/ 103307580 h 380"/>
              <a:gd name="T4" fmla="*/ 2721169 w 246"/>
              <a:gd name="T5" fmla="*/ 101055362 h 380"/>
              <a:gd name="T6" fmla="*/ 3265062 w 246"/>
              <a:gd name="T7" fmla="*/ 98803675 h 380"/>
              <a:gd name="T8" fmla="*/ 3627941 w 246"/>
              <a:gd name="T9" fmla="*/ 96833182 h 380"/>
              <a:gd name="T10" fmla="*/ 4535139 w 246"/>
              <a:gd name="T11" fmla="*/ 93736847 h 380"/>
              <a:gd name="T12" fmla="*/ 4716579 w 246"/>
              <a:gd name="T13" fmla="*/ 92047550 h 380"/>
              <a:gd name="T14" fmla="*/ 4535139 w 246"/>
              <a:gd name="T15" fmla="*/ 90358784 h 380"/>
              <a:gd name="T16" fmla="*/ 4172260 w 246"/>
              <a:gd name="T17" fmla="*/ 88388292 h 380"/>
              <a:gd name="T18" fmla="*/ 3446501 w 246"/>
              <a:gd name="T19" fmla="*/ 85854879 h 380"/>
              <a:gd name="T20" fmla="*/ 2358289 w 246"/>
              <a:gd name="T21" fmla="*/ 83040269 h 380"/>
              <a:gd name="T22" fmla="*/ 1632531 w 246"/>
              <a:gd name="T23" fmla="*/ 80225129 h 380"/>
              <a:gd name="T24" fmla="*/ 725759 w 246"/>
              <a:gd name="T25" fmla="*/ 77409989 h 380"/>
              <a:gd name="T26" fmla="*/ 181440 w 246"/>
              <a:gd name="T27" fmla="*/ 75158301 h 380"/>
              <a:gd name="T28" fmla="*/ 0 w 246"/>
              <a:gd name="T29" fmla="*/ 72906083 h 380"/>
              <a:gd name="T30" fmla="*/ 181440 w 246"/>
              <a:gd name="T31" fmla="*/ 70654395 h 380"/>
              <a:gd name="T32" fmla="*/ 362879 w 246"/>
              <a:gd name="T33" fmla="*/ 68402707 h 380"/>
              <a:gd name="T34" fmla="*/ 544319 w 246"/>
              <a:gd name="T35" fmla="*/ 66432215 h 380"/>
              <a:gd name="T36" fmla="*/ 1088212 w 246"/>
              <a:gd name="T37" fmla="*/ 64742919 h 380"/>
              <a:gd name="T38" fmla="*/ 1995410 w 246"/>
              <a:gd name="T39" fmla="*/ 61365387 h 380"/>
              <a:gd name="T40" fmla="*/ 3446501 w 246"/>
              <a:gd name="T41" fmla="*/ 58268521 h 380"/>
              <a:gd name="T42" fmla="*/ 4716579 w 246"/>
              <a:gd name="T43" fmla="*/ 55453911 h 380"/>
              <a:gd name="T44" fmla="*/ 6167670 w 246"/>
              <a:gd name="T45" fmla="*/ 52075849 h 380"/>
              <a:gd name="T46" fmla="*/ 7437747 w 246"/>
              <a:gd name="T47" fmla="*/ 48698317 h 380"/>
              <a:gd name="T48" fmla="*/ 8525959 w 246"/>
              <a:gd name="T49" fmla="*/ 45038529 h 380"/>
              <a:gd name="T50" fmla="*/ 4716579 w 246"/>
              <a:gd name="T51" fmla="*/ 20549038 h 380"/>
              <a:gd name="T52" fmla="*/ 4716579 w 246"/>
              <a:gd name="T53" fmla="*/ 14074640 h 380"/>
              <a:gd name="T54" fmla="*/ 4353699 w 246"/>
              <a:gd name="T55" fmla="*/ 9289008 h 380"/>
              <a:gd name="T56" fmla="*/ 4353699 w 246"/>
              <a:gd name="T57" fmla="*/ 7037320 h 380"/>
              <a:gd name="T58" fmla="*/ 4353699 w 246"/>
              <a:gd name="T59" fmla="*/ 4503906 h 380"/>
              <a:gd name="T60" fmla="*/ 4535139 w 246"/>
              <a:gd name="T61" fmla="*/ 2251688 h 380"/>
              <a:gd name="T62" fmla="*/ 4716579 w 246"/>
              <a:gd name="T63" fmla="*/ 0 h 380"/>
              <a:gd name="T64" fmla="*/ 32652745 w 246"/>
              <a:gd name="T65" fmla="*/ 0 h 380"/>
              <a:gd name="T66" fmla="*/ 39908627 w 246"/>
              <a:gd name="T67" fmla="*/ 36312443 h 380"/>
              <a:gd name="T68" fmla="*/ 39908627 w 246"/>
              <a:gd name="T69" fmla="*/ 59113169 h 380"/>
              <a:gd name="T70" fmla="*/ 39908627 w 246"/>
              <a:gd name="T71" fmla="*/ 61928309 h 380"/>
              <a:gd name="T72" fmla="*/ 40090067 w 246"/>
              <a:gd name="T73" fmla="*/ 64742919 h 380"/>
              <a:gd name="T74" fmla="*/ 40452946 w 246"/>
              <a:gd name="T75" fmla="*/ 67558059 h 380"/>
              <a:gd name="T76" fmla="*/ 40815825 w 246"/>
              <a:gd name="T77" fmla="*/ 70372669 h 380"/>
              <a:gd name="T78" fmla="*/ 41360144 w 246"/>
              <a:gd name="T79" fmla="*/ 72906083 h 380"/>
              <a:gd name="T80" fmla="*/ 42448356 w 246"/>
              <a:gd name="T81" fmla="*/ 75440027 h 380"/>
              <a:gd name="T82" fmla="*/ 43355554 w 246"/>
              <a:gd name="T83" fmla="*/ 78254637 h 380"/>
              <a:gd name="T84" fmla="*/ 44625206 w 246"/>
              <a:gd name="T85" fmla="*/ 81350973 h 380"/>
              <a:gd name="T86" fmla="*/ 40634386 w 246"/>
              <a:gd name="T87" fmla="*/ 83040269 h 380"/>
              <a:gd name="T88" fmla="*/ 36643566 w 246"/>
              <a:gd name="T89" fmla="*/ 85010230 h 380"/>
              <a:gd name="T90" fmla="*/ 32834185 w 246"/>
              <a:gd name="T91" fmla="*/ 87262449 h 380"/>
              <a:gd name="T92" fmla="*/ 29024379 w 246"/>
              <a:gd name="T93" fmla="*/ 89795863 h 380"/>
              <a:gd name="T94" fmla="*/ 25577877 w 246"/>
              <a:gd name="T95" fmla="*/ 92329277 h 380"/>
              <a:gd name="T96" fmla="*/ 21768497 w 246"/>
              <a:gd name="T97" fmla="*/ 95144417 h 380"/>
              <a:gd name="T98" fmla="*/ 18140130 w 246"/>
              <a:gd name="T99" fmla="*/ 97677831 h 380"/>
              <a:gd name="T100" fmla="*/ 14512189 w 246"/>
              <a:gd name="T101" fmla="*/ 100774167 h 380"/>
              <a:gd name="T102" fmla="*/ 13605417 w 246"/>
              <a:gd name="T103" fmla="*/ 102181737 h 380"/>
              <a:gd name="T104" fmla="*/ 12516779 w 246"/>
              <a:gd name="T105" fmla="*/ 103307580 h 380"/>
              <a:gd name="T106" fmla="*/ 11247128 w 246"/>
              <a:gd name="T107" fmla="*/ 104715151 h 380"/>
              <a:gd name="T108" fmla="*/ 9795611 w 246"/>
              <a:gd name="T109" fmla="*/ 105840994 h 380"/>
              <a:gd name="T110" fmla="*/ 8344520 w 246"/>
              <a:gd name="T111" fmla="*/ 106685112 h 380"/>
              <a:gd name="T112" fmla="*/ 6530549 w 246"/>
              <a:gd name="T113" fmla="*/ 106966838 h 380"/>
              <a:gd name="T114" fmla="*/ 5623351 w 246"/>
              <a:gd name="T115" fmla="*/ 106966838 h 380"/>
              <a:gd name="T116" fmla="*/ 4535139 w 246"/>
              <a:gd name="T117" fmla="*/ 106685112 h 380"/>
              <a:gd name="T118" fmla="*/ 3627941 w 246"/>
              <a:gd name="T119" fmla="*/ 106403916 h 380"/>
              <a:gd name="T120" fmla="*/ 2358289 w 246"/>
              <a:gd name="T121" fmla="*/ 105840994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0872A6"/>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65" name="Freeform 267">
            <a:extLst>
              <a:ext uri="{FF2B5EF4-FFF2-40B4-BE49-F238E27FC236}">
                <a16:creationId xmlns:a16="http://schemas.microsoft.com/office/drawing/2014/main" id="{9FC3D233-193D-474E-B2BA-459BAFF5D43F}"/>
              </a:ext>
            </a:extLst>
          </p:cNvPr>
          <p:cNvSpPr>
            <a:spLocks/>
          </p:cNvSpPr>
          <p:nvPr>
            <p:custDataLst>
              <p:tags r:id="rId194"/>
            </p:custDataLst>
          </p:nvPr>
        </p:nvSpPr>
        <p:spPr bwMode="auto">
          <a:xfrm>
            <a:off x="4821883" y="3685079"/>
            <a:ext cx="121158" cy="75213"/>
          </a:xfrm>
          <a:custGeom>
            <a:avLst/>
            <a:gdLst>
              <a:gd name="T0" fmla="*/ 1432748 w 193"/>
              <a:gd name="T1" fmla="*/ 47786454 h 38"/>
              <a:gd name="T2" fmla="*/ 7777191 w 193"/>
              <a:gd name="T3" fmla="*/ 26282164 h 38"/>
              <a:gd name="T4" fmla="*/ 13712665 w 193"/>
              <a:gd name="T5" fmla="*/ 11947000 h 38"/>
              <a:gd name="T6" fmla="*/ 16373223 w 193"/>
              <a:gd name="T7" fmla="*/ 7167582 h 38"/>
              <a:gd name="T8" fmla="*/ 19238718 w 193"/>
              <a:gd name="T9" fmla="*/ 4777873 h 38"/>
              <a:gd name="T10" fmla="*/ 22513182 w 193"/>
              <a:gd name="T11" fmla="*/ 2389709 h 38"/>
              <a:gd name="T12" fmla="*/ 25787646 w 193"/>
              <a:gd name="T13" fmla="*/ 0 h 38"/>
              <a:gd name="T14" fmla="*/ 28243720 w 193"/>
              <a:gd name="T15" fmla="*/ 2389709 h 38"/>
              <a:gd name="T16" fmla="*/ 30494857 w 193"/>
              <a:gd name="T17" fmla="*/ 2389709 h 38"/>
              <a:gd name="T18" fmla="*/ 32746447 w 193"/>
              <a:gd name="T19" fmla="*/ 4777873 h 38"/>
              <a:gd name="T20" fmla="*/ 34588163 w 193"/>
              <a:gd name="T21" fmla="*/ 9557291 h 38"/>
              <a:gd name="T22" fmla="*/ 36430331 w 193"/>
              <a:gd name="T23" fmla="*/ 14335163 h 38"/>
              <a:gd name="T24" fmla="*/ 37658142 w 193"/>
              <a:gd name="T25" fmla="*/ 26282164 h 38"/>
              <a:gd name="T26" fmla="*/ 38272500 w 193"/>
              <a:gd name="T27" fmla="*/ 31061582 h 38"/>
              <a:gd name="T28" fmla="*/ 38681469 w 193"/>
              <a:gd name="T29" fmla="*/ 43007036 h 38"/>
              <a:gd name="T30" fmla="*/ 39090890 w 193"/>
              <a:gd name="T31" fmla="*/ 50174618 h 38"/>
              <a:gd name="T32" fmla="*/ 39500311 w 193"/>
              <a:gd name="T33" fmla="*/ 62121618 h 38"/>
              <a:gd name="T34" fmla="*/ 37453658 w 193"/>
              <a:gd name="T35" fmla="*/ 64511327 h 38"/>
              <a:gd name="T36" fmla="*/ 35407005 w 193"/>
              <a:gd name="T37" fmla="*/ 66901036 h 38"/>
              <a:gd name="T38" fmla="*/ 33769773 w 193"/>
              <a:gd name="T39" fmla="*/ 66901036 h 38"/>
              <a:gd name="T40" fmla="*/ 31927604 w 193"/>
              <a:gd name="T41" fmla="*/ 66901036 h 38"/>
              <a:gd name="T42" fmla="*/ 28243720 w 193"/>
              <a:gd name="T43" fmla="*/ 64511327 h 38"/>
              <a:gd name="T44" fmla="*/ 24559835 w 193"/>
              <a:gd name="T45" fmla="*/ 62121618 h 38"/>
              <a:gd name="T46" fmla="*/ 21080435 w 193"/>
              <a:gd name="T47" fmla="*/ 62121618 h 38"/>
              <a:gd name="T48" fmla="*/ 18215392 w 193"/>
              <a:gd name="T49" fmla="*/ 66901036 h 38"/>
              <a:gd name="T50" fmla="*/ 15554381 w 193"/>
              <a:gd name="T51" fmla="*/ 71678909 h 38"/>
              <a:gd name="T52" fmla="*/ 12893823 w 193"/>
              <a:gd name="T53" fmla="*/ 76458327 h 38"/>
              <a:gd name="T54" fmla="*/ 10028780 w 193"/>
              <a:gd name="T55" fmla="*/ 81236200 h 38"/>
              <a:gd name="T56" fmla="*/ 7163285 w 193"/>
              <a:gd name="T57" fmla="*/ 86015618 h 38"/>
              <a:gd name="T58" fmla="*/ 3888821 w 193"/>
              <a:gd name="T59" fmla="*/ 88403781 h 38"/>
              <a:gd name="T60" fmla="*/ 0 w 193"/>
              <a:gd name="T61" fmla="*/ 90793491 h 38"/>
              <a:gd name="T62" fmla="*/ 0 w 193"/>
              <a:gd name="T63" fmla="*/ 78846491 h 38"/>
              <a:gd name="T64" fmla="*/ 204484 w 193"/>
              <a:gd name="T65" fmla="*/ 69289200 h 38"/>
              <a:gd name="T66" fmla="*/ 613905 w 193"/>
              <a:gd name="T67" fmla="*/ 57343745 h 38"/>
              <a:gd name="T68" fmla="*/ 1432748 w 193"/>
              <a:gd name="T69" fmla="*/ 47786454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0872A6"/>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66" name="Freeform 268">
            <a:extLst>
              <a:ext uri="{FF2B5EF4-FFF2-40B4-BE49-F238E27FC236}">
                <a16:creationId xmlns:a16="http://schemas.microsoft.com/office/drawing/2014/main" id="{0A4CD2E1-60A6-4C27-8442-A49014281732}"/>
              </a:ext>
            </a:extLst>
          </p:cNvPr>
          <p:cNvSpPr>
            <a:spLocks/>
          </p:cNvSpPr>
          <p:nvPr>
            <p:custDataLst>
              <p:tags r:id="rId195"/>
            </p:custDataLst>
          </p:nvPr>
        </p:nvSpPr>
        <p:spPr bwMode="auto">
          <a:xfrm>
            <a:off x="5403590" y="3817214"/>
            <a:ext cx="60580" cy="203282"/>
          </a:xfrm>
          <a:custGeom>
            <a:avLst/>
            <a:gdLst>
              <a:gd name="T0" fmla="*/ 9935124 w 99"/>
              <a:gd name="T1" fmla="*/ 3205569 h 301"/>
              <a:gd name="T2" fmla="*/ 11059953 w 99"/>
              <a:gd name="T3" fmla="*/ 3205569 h 301"/>
              <a:gd name="T4" fmla="*/ 11059953 w 99"/>
              <a:gd name="T5" fmla="*/ 5075570 h 301"/>
              <a:gd name="T6" fmla="*/ 11621934 w 99"/>
              <a:gd name="T7" fmla="*/ 6945571 h 301"/>
              <a:gd name="T8" fmla="*/ 11809406 w 99"/>
              <a:gd name="T9" fmla="*/ 8815572 h 301"/>
              <a:gd name="T10" fmla="*/ 12371820 w 99"/>
              <a:gd name="T11" fmla="*/ 11220007 h 301"/>
              <a:gd name="T12" fmla="*/ 13496649 w 99"/>
              <a:gd name="T13" fmla="*/ 15494443 h 301"/>
              <a:gd name="T14" fmla="*/ 14808950 w 99"/>
              <a:gd name="T15" fmla="*/ 20036096 h 301"/>
              <a:gd name="T16" fmla="*/ 16308289 w 99"/>
              <a:gd name="T17" fmla="*/ 24844449 h 301"/>
              <a:gd name="T18" fmla="*/ 17433118 w 99"/>
              <a:gd name="T19" fmla="*/ 29653319 h 301"/>
              <a:gd name="T20" fmla="*/ 17995533 w 99"/>
              <a:gd name="T21" fmla="*/ 32057237 h 301"/>
              <a:gd name="T22" fmla="*/ 18370476 w 99"/>
              <a:gd name="T23" fmla="*/ 34461672 h 301"/>
              <a:gd name="T24" fmla="*/ 18557947 w 99"/>
              <a:gd name="T25" fmla="*/ 36866106 h 301"/>
              <a:gd name="T26" fmla="*/ 18557947 w 99"/>
              <a:gd name="T27" fmla="*/ 39537241 h 301"/>
              <a:gd name="T28" fmla="*/ 18557947 w 99"/>
              <a:gd name="T29" fmla="*/ 77204998 h 301"/>
              <a:gd name="T30" fmla="*/ 16683232 w 99"/>
              <a:gd name="T31" fmla="*/ 77472215 h 301"/>
              <a:gd name="T32" fmla="*/ 14996422 w 99"/>
              <a:gd name="T33" fmla="*/ 78273349 h 301"/>
              <a:gd name="T34" fmla="*/ 13684121 w 99"/>
              <a:gd name="T35" fmla="*/ 79342216 h 301"/>
              <a:gd name="T36" fmla="*/ 12371820 w 99"/>
              <a:gd name="T37" fmla="*/ 80410567 h 301"/>
              <a:gd name="T38" fmla="*/ 11059953 w 99"/>
              <a:gd name="T39" fmla="*/ 77472215 h 301"/>
              <a:gd name="T40" fmla="*/ 10122595 w 99"/>
              <a:gd name="T41" fmla="*/ 74800563 h 301"/>
              <a:gd name="T42" fmla="*/ 8997766 w 99"/>
              <a:gd name="T43" fmla="*/ 72396128 h 301"/>
              <a:gd name="T44" fmla="*/ 8435352 w 99"/>
              <a:gd name="T45" fmla="*/ 69991694 h 301"/>
              <a:gd name="T46" fmla="*/ 8060409 w 99"/>
              <a:gd name="T47" fmla="*/ 67320559 h 301"/>
              <a:gd name="T48" fmla="*/ 7685466 w 99"/>
              <a:gd name="T49" fmla="*/ 64648907 h 301"/>
              <a:gd name="T50" fmla="*/ 7497994 w 99"/>
              <a:gd name="T51" fmla="*/ 61977772 h 301"/>
              <a:gd name="T52" fmla="*/ 7497994 w 99"/>
              <a:gd name="T53" fmla="*/ 59306120 h 301"/>
              <a:gd name="T54" fmla="*/ 7497994 w 99"/>
              <a:gd name="T55" fmla="*/ 37667240 h 301"/>
              <a:gd name="T56" fmla="*/ 0 w 99"/>
              <a:gd name="T57" fmla="*/ 1602784 h 301"/>
              <a:gd name="T58" fmla="*/ 937358 w 99"/>
              <a:gd name="T59" fmla="*/ 534434 h 301"/>
              <a:gd name="T60" fmla="*/ 1874715 w 99"/>
              <a:gd name="T61" fmla="*/ 0 h 301"/>
              <a:gd name="T62" fmla="*/ 2624168 w 99"/>
              <a:gd name="T63" fmla="*/ 0 h 301"/>
              <a:gd name="T64" fmla="*/ 3748997 w 99"/>
              <a:gd name="T65" fmla="*/ 0 h 301"/>
              <a:gd name="T66" fmla="*/ 4873826 w 99"/>
              <a:gd name="T67" fmla="*/ 0 h 301"/>
              <a:gd name="T68" fmla="*/ 5998655 w 99"/>
              <a:gd name="T69" fmla="*/ 534434 h 301"/>
              <a:gd name="T70" fmla="*/ 6936013 w 99"/>
              <a:gd name="T71" fmla="*/ 1068351 h 301"/>
              <a:gd name="T72" fmla="*/ 7685466 w 99"/>
              <a:gd name="T73" fmla="*/ 1602784 h 301"/>
              <a:gd name="T74" fmla="*/ 8810295 w 99"/>
              <a:gd name="T75" fmla="*/ 2671652 h 301"/>
              <a:gd name="T76" fmla="*/ 9935124 w 99"/>
              <a:gd name="T77" fmla="*/ 3205569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67" name="Freeform 269">
            <a:extLst>
              <a:ext uri="{FF2B5EF4-FFF2-40B4-BE49-F238E27FC236}">
                <a16:creationId xmlns:a16="http://schemas.microsoft.com/office/drawing/2014/main" id="{E5F62E73-0D00-49C9-B150-82CBB8A4C55C}"/>
              </a:ext>
            </a:extLst>
          </p:cNvPr>
          <p:cNvSpPr>
            <a:spLocks/>
          </p:cNvSpPr>
          <p:nvPr>
            <p:custDataLst>
              <p:tags r:id="rId196"/>
            </p:custDataLst>
          </p:nvPr>
        </p:nvSpPr>
        <p:spPr bwMode="auto">
          <a:xfrm>
            <a:off x="5439103" y="3768425"/>
            <a:ext cx="106535" cy="245972"/>
          </a:xfrm>
          <a:custGeom>
            <a:avLst/>
            <a:gdLst>
              <a:gd name="T0" fmla="*/ 0 w 173"/>
              <a:gd name="T1" fmla="*/ 22401153 h 357"/>
              <a:gd name="T2" fmla="*/ 1745993 w 173"/>
              <a:gd name="T3" fmla="*/ 20161197 h 357"/>
              <a:gd name="T4" fmla="*/ 3298183 w 173"/>
              <a:gd name="T5" fmla="*/ 18201168 h 357"/>
              <a:gd name="T6" fmla="*/ 4850372 w 173"/>
              <a:gd name="T7" fmla="*/ 16800997 h 357"/>
              <a:gd name="T8" fmla="*/ 6402121 w 173"/>
              <a:gd name="T9" fmla="*/ 15680754 h 357"/>
              <a:gd name="T10" fmla="*/ 7760067 w 173"/>
              <a:gd name="T11" fmla="*/ 14000655 h 357"/>
              <a:gd name="T12" fmla="*/ 12998487 w 173"/>
              <a:gd name="T13" fmla="*/ 14000655 h 357"/>
              <a:gd name="T14" fmla="*/ 18236466 w 173"/>
              <a:gd name="T15" fmla="*/ 0 h 357"/>
              <a:gd name="T16" fmla="*/ 19594852 w 173"/>
              <a:gd name="T17" fmla="*/ 839785 h 357"/>
              <a:gd name="T18" fmla="*/ 20952798 w 173"/>
              <a:gd name="T19" fmla="*/ 1960028 h 357"/>
              <a:gd name="T20" fmla="*/ 22504987 w 173"/>
              <a:gd name="T21" fmla="*/ 3360199 h 357"/>
              <a:gd name="T22" fmla="*/ 23862933 w 173"/>
              <a:gd name="T23" fmla="*/ 5040299 h 357"/>
              <a:gd name="T24" fmla="*/ 25415123 w 173"/>
              <a:gd name="T25" fmla="*/ 6160542 h 357"/>
              <a:gd name="T26" fmla="*/ 26966872 w 173"/>
              <a:gd name="T27" fmla="*/ 7560184 h 357"/>
              <a:gd name="T28" fmla="*/ 28131014 w 173"/>
              <a:gd name="T29" fmla="*/ 8120570 h 357"/>
              <a:gd name="T30" fmla="*/ 29683203 w 173"/>
              <a:gd name="T31" fmla="*/ 8400499 h 357"/>
              <a:gd name="T32" fmla="*/ 31623000 w 173"/>
              <a:gd name="T33" fmla="*/ 10920384 h 357"/>
              <a:gd name="T34" fmla="*/ 33563237 w 173"/>
              <a:gd name="T35" fmla="*/ 14000655 h 357"/>
              <a:gd name="T36" fmla="*/ 33563237 w 173"/>
              <a:gd name="T37" fmla="*/ 17080926 h 357"/>
              <a:gd name="T38" fmla="*/ 33563237 w 173"/>
              <a:gd name="T39" fmla="*/ 19320882 h 357"/>
              <a:gd name="T40" fmla="*/ 33563237 w 173"/>
              <a:gd name="T41" fmla="*/ 22401153 h 357"/>
              <a:gd name="T42" fmla="*/ 33563237 w 173"/>
              <a:gd name="T43" fmla="*/ 27441452 h 357"/>
              <a:gd name="T44" fmla="*/ 33563237 w 173"/>
              <a:gd name="T45" fmla="*/ 30521723 h 357"/>
              <a:gd name="T46" fmla="*/ 33175190 w 173"/>
              <a:gd name="T47" fmla="*/ 33042138 h 357"/>
              <a:gd name="T48" fmla="*/ 32399095 w 173"/>
              <a:gd name="T49" fmla="*/ 35562023 h 357"/>
              <a:gd name="T50" fmla="*/ 31623000 w 173"/>
              <a:gd name="T51" fmla="*/ 37801979 h 357"/>
              <a:gd name="T52" fmla="*/ 29488960 w 173"/>
              <a:gd name="T53" fmla="*/ 42282421 h 357"/>
              <a:gd name="T54" fmla="*/ 27161116 w 173"/>
              <a:gd name="T55" fmla="*/ 46762864 h 357"/>
              <a:gd name="T56" fmla="*/ 24832831 w 173"/>
              <a:gd name="T57" fmla="*/ 51242777 h 357"/>
              <a:gd name="T58" fmla="*/ 22698791 w 173"/>
              <a:gd name="T59" fmla="*/ 56003148 h 357"/>
              <a:gd name="T60" fmla="*/ 21728892 w 173"/>
              <a:gd name="T61" fmla="*/ 58523562 h 357"/>
              <a:gd name="T62" fmla="*/ 21146601 w 173"/>
              <a:gd name="T63" fmla="*/ 61323375 h 357"/>
              <a:gd name="T64" fmla="*/ 20952798 w 173"/>
              <a:gd name="T65" fmla="*/ 64123718 h 357"/>
              <a:gd name="T66" fmla="*/ 20758554 w 173"/>
              <a:gd name="T67" fmla="*/ 67203989 h 357"/>
              <a:gd name="T68" fmla="*/ 20952798 w 173"/>
              <a:gd name="T69" fmla="*/ 76444273 h 357"/>
              <a:gd name="T70" fmla="*/ 21146601 w 173"/>
              <a:gd name="T71" fmla="*/ 82044429 h 357"/>
              <a:gd name="T72" fmla="*/ 21340845 w 173"/>
              <a:gd name="T73" fmla="*/ 84564843 h 357"/>
              <a:gd name="T74" fmla="*/ 21146601 w 173"/>
              <a:gd name="T75" fmla="*/ 87645114 h 357"/>
              <a:gd name="T76" fmla="*/ 21146601 w 173"/>
              <a:gd name="T77" fmla="*/ 91565170 h 357"/>
              <a:gd name="T78" fmla="*/ 20758554 w 173"/>
              <a:gd name="T79" fmla="*/ 96605469 h 357"/>
              <a:gd name="T80" fmla="*/ 18818757 w 173"/>
              <a:gd name="T81" fmla="*/ 96885398 h 357"/>
              <a:gd name="T82" fmla="*/ 17072764 w 173"/>
              <a:gd name="T83" fmla="*/ 97165326 h 357"/>
              <a:gd name="T84" fmla="*/ 15326771 w 173"/>
              <a:gd name="T85" fmla="*/ 97725712 h 357"/>
              <a:gd name="T86" fmla="*/ 13774582 w 173"/>
              <a:gd name="T87" fmla="*/ 98285569 h 357"/>
              <a:gd name="T88" fmla="*/ 12222392 w 173"/>
              <a:gd name="T89" fmla="*/ 98845426 h 357"/>
              <a:gd name="T90" fmla="*/ 10670202 w 173"/>
              <a:gd name="T91" fmla="*/ 99405812 h 357"/>
              <a:gd name="T92" fmla="*/ 9312257 w 173"/>
              <a:gd name="T93" fmla="*/ 99965669 h 357"/>
              <a:gd name="T94" fmla="*/ 7760067 w 173"/>
              <a:gd name="T95" fmla="*/ 99965669 h 357"/>
              <a:gd name="T96" fmla="*/ 7760067 w 173"/>
              <a:gd name="T97" fmla="*/ 60483590 h 357"/>
              <a:gd name="T98" fmla="*/ 7760067 w 173"/>
              <a:gd name="T99" fmla="*/ 57683247 h 357"/>
              <a:gd name="T100" fmla="*/ 7566264 w 173"/>
              <a:gd name="T101" fmla="*/ 55163362 h 357"/>
              <a:gd name="T102" fmla="*/ 7178216 w 173"/>
              <a:gd name="T103" fmla="*/ 52642948 h 357"/>
              <a:gd name="T104" fmla="*/ 6596365 w 173"/>
              <a:gd name="T105" fmla="*/ 50123063 h 357"/>
              <a:gd name="T106" fmla="*/ 5432223 w 173"/>
              <a:gd name="T107" fmla="*/ 45082764 h 357"/>
              <a:gd name="T108" fmla="*/ 3880034 w 173"/>
              <a:gd name="T109" fmla="*/ 40042465 h 357"/>
              <a:gd name="T110" fmla="*/ 2522088 w 173"/>
              <a:gd name="T111" fmla="*/ 35282094 h 357"/>
              <a:gd name="T112" fmla="*/ 1357946 w 173"/>
              <a:gd name="T113" fmla="*/ 30801652 h 357"/>
              <a:gd name="T114" fmla="*/ 776095 w 173"/>
              <a:gd name="T115" fmla="*/ 28281767 h 357"/>
              <a:gd name="T116" fmla="*/ 581851 w 173"/>
              <a:gd name="T117" fmla="*/ 26321739 h 357"/>
              <a:gd name="T118" fmla="*/ 0 w 173"/>
              <a:gd name="T119" fmla="*/ 24361181 h 357"/>
              <a:gd name="T120" fmla="*/ 0 w 173"/>
              <a:gd name="T121" fmla="*/ 22401153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68" name="Freeform 270">
            <a:extLst>
              <a:ext uri="{FF2B5EF4-FFF2-40B4-BE49-F238E27FC236}">
                <a16:creationId xmlns:a16="http://schemas.microsoft.com/office/drawing/2014/main" id="{A4433B0A-5B45-43E8-8ECE-AB5BF74BDE65}"/>
              </a:ext>
            </a:extLst>
          </p:cNvPr>
          <p:cNvSpPr>
            <a:spLocks/>
          </p:cNvSpPr>
          <p:nvPr>
            <p:custDataLst>
              <p:tags r:id="rId197"/>
            </p:custDataLst>
          </p:nvPr>
        </p:nvSpPr>
        <p:spPr bwMode="auto">
          <a:xfrm>
            <a:off x="6454320" y="5335736"/>
            <a:ext cx="33423" cy="77247"/>
          </a:xfrm>
          <a:custGeom>
            <a:avLst/>
            <a:gdLst>
              <a:gd name="T0" fmla="*/ 2580640 w 50"/>
              <a:gd name="T1" fmla="*/ 0 h 74"/>
              <a:gd name="T2" fmla="*/ 1548384 w 50"/>
              <a:gd name="T3" fmla="*/ 9303908 h 74"/>
              <a:gd name="T4" fmla="*/ 516128 w 50"/>
              <a:gd name="T5" fmla="*/ 17278221 h 74"/>
              <a:gd name="T6" fmla="*/ 0 w 50"/>
              <a:gd name="T7" fmla="*/ 23923754 h 74"/>
              <a:gd name="T8" fmla="*/ 0 w 50"/>
              <a:gd name="T9" fmla="*/ 28576116 h 74"/>
              <a:gd name="T10" fmla="*/ 0 w 50"/>
              <a:gd name="T11" fmla="*/ 33227662 h 74"/>
              <a:gd name="T12" fmla="*/ 516128 w 50"/>
              <a:gd name="T13" fmla="*/ 37214819 h 74"/>
              <a:gd name="T14" fmla="*/ 1548384 w 50"/>
              <a:gd name="T15" fmla="*/ 40537585 h 74"/>
              <a:gd name="T16" fmla="*/ 2580640 w 50"/>
              <a:gd name="T17" fmla="*/ 45189947 h 74"/>
              <a:gd name="T18" fmla="*/ 12903200 w 50"/>
              <a:gd name="T19" fmla="*/ 49177103 h 74"/>
              <a:gd name="T20" fmla="*/ 12903200 w 50"/>
              <a:gd name="T21" fmla="*/ 33892052 h 74"/>
              <a:gd name="T22" fmla="*/ 12903200 w 50"/>
              <a:gd name="T23" fmla="*/ 22594973 h 74"/>
              <a:gd name="T24" fmla="*/ 12903200 w 50"/>
              <a:gd name="T25" fmla="*/ 12626675 h 74"/>
              <a:gd name="T26" fmla="*/ 12903200 w 50"/>
              <a:gd name="T27" fmla="*/ 0 h 74"/>
              <a:gd name="T28" fmla="*/ 9806432 w 50"/>
              <a:gd name="T29" fmla="*/ 0 h 74"/>
              <a:gd name="T30" fmla="*/ 6451600 w 50"/>
              <a:gd name="T31" fmla="*/ 0 h 74"/>
              <a:gd name="T32" fmla="*/ 3612896 w 50"/>
              <a:gd name="T33" fmla="*/ 0 h 74"/>
              <a:gd name="T34" fmla="*/ 258064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0872A6"/>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69" name="Freeform 271">
            <a:extLst>
              <a:ext uri="{FF2B5EF4-FFF2-40B4-BE49-F238E27FC236}">
                <a16:creationId xmlns:a16="http://schemas.microsoft.com/office/drawing/2014/main" id="{5789098B-1837-4B91-91EA-700BBC23A770}"/>
              </a:ext>
            </a:extLst>
          </p:cNvPr>
          <p:cNvSpPr>
            <a:spLocks/>
          </p:cNvSpPr>
          <p:nvPr>
            <p:custDataLst>
              <p:tags r:id="rId198"/>
            </p:custDataLst>
          </p:nvPr>
        </p:nvSpPr>
        <p:spPr bwMode="auto">
          <a:xfrm>
            <a:off x="6308096" y="5461771"/>
            <a:ext cx="85645" cy="73182"/>
          </a:xfrm>
          <a:custGeom>
            <a:avLst/>
            <a:gdLst>
              <a:gd name="T0" fmla="*/ 631044 w 135"/>
              <a:gd name="T1" fmla="*/ 18704379 h 98"/>
              <a:gd name="T2" fmla="*/ 2313674 w 135"/>
              <a:gd name="T3" fmla="*/ 18364394 h 98"/>
              <a:gd name="T4" fmla="*/ 3785804 w 135"/>
              <a:gd name="T5" fmla="*/ 18024410 h 98"/>
              <a:gd name="T6" fmla="*/ 5047892 w 135"/>
              <a:gd name="T7" fmla="*/ 17003874 h 98"/>
              <a:gd name="T8" fmla="*/ 6520022 w 135"/>
              <a:gd name="T9" fmla="*/ 15983922 h 98"/>
              <a:gd name="T10" fmla="*/ 8833696 w 135"/>
              <a:gd name="T11" fmla="*/ 12922898 h 98"/>
              <a:gd name="T12" fmla="*/ 10936869 w 135"/>
              <a:gd name="T13" fmla="*/ 9522473 h 98"/>
              <a:gd name="T14" fmla="*/ 12829542 w 135"/>
              <a:gd name="T15" fmla="*/ 6121465 h 98"/>
              <a:gd name="T16" fmla="*/ 14932716 w 135"/>
              <a:gd name="T17" fmla="*/ 2720457 h 98"/>
              <a:gd name="T18" fmla="*/ 15984303 w 135"/>
              <a:gd name="T19" fmla="*/ 1700504 h 98"/>
              <a:gd name="T20" fmla="*/ 17246390 w 135"/>
              <a:gd name="T21" fmla="*/ 679968 h 98"/>
              <a:gd name="T22" fmla="*/ 18508019 w 135"/>
              <a:gd name="T23" fmla="*/ 0 h 98"/>
              <a:gd name="T24" fmla="*/ 20190650 w 135"/>
              <a:gd name="T25" fmla="*/ 0 h 98"/>
              <a:gd name="T26" fmla="*/ 21452737 w 135"/>
              <a:gd name="T27" fmla="*/ 0 h 98"/>
              <a:gd name="T28" fmla="*/ 23135368 w 135"/>
              <a:gd name="T29" fmla="*/ 1019953 h 98"/>
              <a:gd name="T30" fmla="*/ 24607498 w 135"/>
              <a:gd name="T31" fmla="*/ 2040488 h 98"/>
              <a:gd name="T32" fmla="*/ 25869585 w 135"/>
              <a:gd name="T33" fmla="*/ 3740992 h 98"/>
              <a:gd name="T34" fmla="*/ 26921172 w 135"/>
              <a:gd name="T35" fmla="*/ 5441496 h 98"/>
              <a:gd name="T36" fmla="*/ 27762258 w 135"/>
              <a:gd name="T37" fmla="*/ 8161953 h 98"/>
              <a:gd name="T38" fmla="*/ 28182801 w 135"/>
              <a:gd name="T39" fmla="*/ 10202441 h 98"/>
              <a:gd name="T40" fmla="*/ 28393302 w 135"/>
              <a:gd name="T41" fmla="*/ 12582914 h 98"/>
              <a:gd name="T42" fmla="*/ 28182801 w 135"/>
              <a:gd name="T43" fmla="*/ 13603449 h 98"/>
              <a:gd name="T44" fmla="*/ 27762258 w 135"/>
              <a:gd name="T45" fmla="*/ 14623402 h 98"/>
              <a:gd name="T46" fmla="*/ 27131214 w 135"/>
              <a:gd name="T47" fmla="*/ 15983922 h 98"/>
              <a:gd name="T48" fmla="*/ 26079627 w 135"/>
              <a:gd name="T49" fmla="*/ 17343859 h 98"/>
              <a:gd name="T50" fmla="*/ 23766412 w 135"/>
              <a:gd name="T51" fmla="*/ 20744867 h 98"/>
              <a:gd name="T52" fmla="*/ 21032194 w 135"/>
              <a:gd name="T53" fmla="*/ 24485859 h 98"/>
              <a:gd name="T54" fmla="*/ 18297977 w 135"/>
              <a:gd name="T55" fmla="*/ 27886284 h 98"/>
              <a:gd name="T56" fmla="*/ 15563760 w 135"/>
              <a:gd name="T57" fmla="*/ 30947308 h 98"/>
              <a:gd name="T58" fmla="*/ 13250085 w 135"/>
              <a:gd name="T59" fmla="*/ 32647812 h 98"/>
              <a:gd name="T60" fmla="*/ 11567455 w 135"/>
              <a:gd name="T61" fmla="*/ 33327781 h 98"/>
              <a:gd name="T62" fmla="*/ 10726369 w 135"/>
              <a:gd name="T63" fmla="*/ 32987796 h 98"/>
              <a:gd name="T64" fmla="*/ 9043738 w 135"/>
              <a:gd name="T65" fmla="*/ 31287292 h 98"/>
              <a:gd name="T66" fmla="*/ 6730064 w 135"/>
              <a:gd name="T67" fmla="*/ 28906820 h 98"/>
              <a:gd name="T68" fmla="*/ 4416848 w 135"/>
              <a:gd name="T69" fmla="*/ 26186363 h 98"/>
              <a:gd name="T70" fmla="*/ 2313674 w 135"/>
              <a:gd name="T71" fmla="*/ 23125339 h 98"/>
              <a:gd name="T72" fmla="*/ 1051587 w 135"/>
              <a:gd name="T73" fmla="*/ 21084851 h 98"/>
              <a:gd name="T74" fmla="*/ 210501 w 135"/>
              <a:gd name="T75" fmla="*/ 20064898 h 98"/>
              <a:gd name="T76" fmla="*/ 0 w 135"/>
              <a:gd name="T77" fmla="*/ 19384347 h 98"/>
              <a:gd name="T78" fmla="*/ 0 w 135"/>
              <a:gd name="T79" fmla="*/ 19044363 h 98"/>
              <a:gd name="T80" fmla="*/ 631044 w 135"/>
              <a:gd name="T81" fmla="*/ 18704379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70" name="Freeform 272">
            <a:extLst>
              <a:ext uri="{FF2B5EF4-FFF2-40B4-BE49-F238E27FC236}">
                <a16:creationId xmlns:a16="http://schemas.microsoft.com/office/drawing/2014/main" id="{B824A191-639C-4E96-A27D-743DFCAC4636}"/>
              </a:ext>
            </a:extLst>
          </p:cNvPr>
          <p:cNvSpPr>
            <a:spLocks/>
          </p:cNvSpPr>
          <p:nvPr>
            <p:custDataLst>
              <p:tags r:id="rId199"/>
            </p:custDataLst>
          </p:nvPr>
        </p:nvSpPr>
        <p:spPr bwMode="auto">
          <a:xfrm>
            <a:off x="9393437" y="2489779"/>
            <a:ext cx="169203" cy="221577"/>
          </a:xfrm>
          <a:custGeom>
            <a:avLst/>
            <a:gdLst>
              <a:gd name="T0" fmla="*/ 49374425 w 266"/>
              <a:gd name="T1" fmla="*/ 2489181 h 326"/>
              <a:gd name="T2" fmla="*/ 49374425 w 266"/>
              <a:gd name="T3" fmla="*/ 7744702 h 326"/>
              <a:gd name="T4" fmla="*/ 51225904 w 266"/>
              <a:gd name="T5" fmla="*/ 11617052 h 326"/>
              <a:gd name="T6" fmla="*/ 50403125 w 266"/>
              <a:gd name="T7" fmla="*/ 15212769 h 326"/>
              <a:gd name="T8" fmla="*/ 46288779 w 266"/>
              <a:gd name="T9" fmla="*/ 13829599 h 326"/>
              <a:gd name="T10" fmla="*/ 43202679 w 266"/>
              <a:gd name="T11" fmla="*/ 14106233 h 326"/>
              <a:gd name="T12" fmla="*/ 40116579 w 266"/>
              <a:gd name="T13" fmla="*/ 17978584 h 326"/>
              <a:gd name="T14" fmla="*/ 39705189 w 266"/>
              <a:gd name="T15" fmla="*/ 21574300 h 326"/>
              <a:gd name="T16" fmla="*/ 40733889 w 266"/>
              <a:gd name="T17" fmla="*/ 24616749 h 326"/>
              <a:gd name="T18" fmla="*/ 44231379 w 266"/>
              <a:gd name="T19" fmla="*/ 30425012 h 326"/>
              <a:gd name="T20" fmla="*/ 46082857 w 266"/>
              <a:gd name="T21" fmla="*/ 33744095 h 326"/>
              <a:gd name="T22" fmla="*/ 46288779 w 266"/>
              <a:gd name="T23" fmla="*/ 36786543 h 326"/>
              <a:gd name="T24" fmla="*/ 45671468 w 266"/>
              <a:gd name="T25" fmla="*/ 39552884 h 326"/>
              <a:gd name="T26" fmla="*/ 42585368 w 266"/>
              <a:gd name="T27" fmla="*/ 42595333 h 326"/>
              <a:gd name="T28" fmla="*/ 41145279 w 266"/>
              <a:gd name="T29" fmla="*/ 44254611 h 326"/>
              <a:gd name="T30" fmla="*/ 37236400 w 266"/>
              <a:gd name="T31" fmla="*/ 45914415 h 326"/>
              <a:gd name="T32" fmla="*/ 33739364 w 266"/>
              <a:gd name="T33" fmla="*/ 49233498 h 326"/>
              <a:gd name="T34" fmla="*/ 32916132 w 266"/>
              <a:gd name="T35" fmla="*/ 52829215 h 326"/>
              <a:gd name="T36" fmla="*/ 35590843 w 266"/>
              <a:gd name="T37" fmla="*/ 57254308 h 326"/>
              <a:gd name="T38" fmla="*/ 38882411 w 266"/>
              <a:gd name="T39" fmla="*/ 59467380 h 326"/>
              <a:gd name="T40" fmla="*/ 44025457 w 266"/>
              <a:gd name="T41" fmla="*/ 62786463 h 326"/>
              <a:gd name="T42" fmla="*/ 50403125 w 266"/>
              <a:gd name="T43" fmla="*/ 71637174 h 326"/>
              <a:gd name="T44" fmla="*/ 51637293 w 266"/>
              <a:gd name="T45" fmla="*/ 78828608 h 326"/>
              <a:gd name="T46" fmla="*/ 45260079 w 266"/>
              <a:gd name="T47" fmla="*/ 80488412 h 326"/>
              <a:gd name="T48" fmla="*/ 42585368 w 266"/>
              <a:gd name="T49" fmla="*/ 82424325 h 326"/>
              <a:gd name="T50" fmla="*/ 40733889 w 266"/>
              <a:gd name="T51" fmla="*/ 86296675 h 326"/>
              <a:gd name="T52" fmla="*/ 38882411 w 266"/>
              <a:gd name="T53" fmla="*/ 90169026 h 326"/>
              <a:gd name="T54" fmla="*/ 34973532 w 266"/>
              <a:gd name="T55" fmla="*/ 88785856 h 326"/>
              <a:gd name="T56" fmla="*/ 34356221 w 266"/>
              <a:gd name="T57" fmla="*/ 87403212 h 326"/>
              <a:gd name="T58" fmla="*/ 31681964 w 266"/>
              <a:gd name="T59" fmla="*/ 85743407 h 326"/>
              <a:gd name="T60" fmla="*/ 28595864 w 266"/>
              <a:gd name="T61" fmla="*/ 83254227 h 326"/>
              <a:gd name="T62" fmla="*/ 25921607 w 266"/>
              <a:gd name="T63" fmla="*/ 81594422 h 326"/>
              <a:gd name="T64" fmla="*/ 20161250 w 266"/>
              <a:gd name="T65" fmla="*/ 80211778 h 326"/>
              <a:gd name="T66" fmla="*/ 12960804 w 266"/>
              <a:gd name="T67" fmla="*/ 76616061 h 326"/>
              <a:gd name="T68" fmla="*/ 11109325 w 266"/>
              <a:gd name="T69" fmla="*/ 74126881 h 326"/>
              <a:gd name="T70" fmla="*/ 11314793 w 266"/>
              <a:gd name="T71" fmla="*/ 70807798 h 326"/>
              <a:gd name="T72" fmla="*/ 14400893 w 266"/>
              <a:gd name="T73" fmla="*/ 67488715 h 326"/>
              <a:gd name="T74" fmla="*/ 12138025 w 266"/>
              <a:gd name="T75" fmla="*/ 61126658 h 326"/>
              <a:gd name="T76" fmla="*/ 6994525 w 266"/>
              <a:gd name="T77" fmla="*/ 53659117 h 326"/>
              <a:gd name="T78" fmla="*/ 2674257 w 266"/>
              <a:gd name="T79" fmla="*/ 50339508 h 326"/>
              <a:gd name="T80" fmla="*/ 822779 w 266"/>
              <a:gd name="T81" fmla="*/ 47297060 h 326"/>
              <a:gd name="T82" fmla="*/ 3908879 w 266"/>
              <a:gd name="T83" fmla="*/ 42042064 h 326"/>
              <a:gd name="T84" fmla="*/ 11109325 w 266"/>
              <a:gd name="T85" fmla="*/ 34297363 h 326"/>
              <a:gd name="T86" fmla="*/ 15018204 w 266"/>
              <a:gd name="T87" fmla="*/ 29042368 h 326"/>
              <a:gd name="T88" fmla="*/ 18103850 w 266"/>
              <a:gd name="T89" fmla="*/ 25446651 h 326"/>
              <a:gd name="T90" fmla="*/ 22630039 w 266"/>
              <a:gd name="T91" fmla="*/ 24340115 h 326"/>
              <a:gd name="T92" fmla="*/ 29624564 w 266"/>
              <a:gd name="T93" fmla="*/ 19361228 h 326"/>
              <a:gd name="T94" fmla="*/ 34562143 w 266"/>
              <a:gd name="T95" fmla="*/ 12723063 h 326"/>
              <a:gd name="T96" fmla="*/ 39293800 w 266"/>
              <a:gd name="T97" fmla="*/ 5808263 h 326"/>
              <a:gd name="T98" fmla="*/ 45260079 w 266"/>
              <a:gd name="T99" fmla="*/ 1106536 h 326"/>
              <a:gd name="T100" fmla="*/ 48963036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71" name="Freeform 273">
            <a:extLst>
              <a:ext uri="{FF2B5EF4-FFF2-40B4-BE49-F238E27FC236}">
                <a16:creationId xmlns:a16="http://schemas.microsoft.com/office/drawing/2014/main" id="{C9E3F878-0128-4A53-8CA2-96D97F448E91}"/>
              </a:ext>
            </a:extLst>
          </p:cNvPr>
          <p:cNvSpPr>
            <a:spLocks/>
          </p:cNvSpPr>
          <p:nvPr>
            <p:custDataLst>
              <p:tags r:id="rId200"/>
            </p:custDataLst>
          </p:nvPr>
        </p:nvSpPr>
        <p:spPr bwMode="auto">
          <a:xfrm>
            <a:off x="8102482" y="3028477"/>
            <a:ext cx="286184" cy="160593"/>
          </a:xfrm>
          <a:custGeom>
            <a:avLst/>
            <a:gdLst>
              <a:gd name="T0" fmla="*/ 16510876 w 471"/>
              <a:gd name="T1" fmla="*/ 0 h 237"/>
              <a:gd name="T2" fmla="*/ 17662808 w 471"/>
              <a:gd name="T3" fmla="*/ 1910667 h 237"/>
              <a:gd name="T4" fmla="*/ 19582840 w 471"/>
              <a:gd name="T5" fmla="*/ 3548605 h 237"/>
              <a:gd name="T6" fmla="*/ 23998214 w 471"/>
              <a:gd name="T7" fmla="*/ 6278502 h 237"/>
              <a:gd name="T8" fmla="*/ 30525973 w 471"/>
              <a:gd name="T9" fmla="*/ 10099836 h 237"/>
              <a:gd name="T10" fmla="*/ 42812954 w 471"/>
              <a:gd name="T11" fmla="*/ 21018902 h 237"/>
              <a:gd name="T12" fmla="*/ 48572613 w 471"/>
              <a:gd name="T13" fmla="*/ 26478174 h 237"/>
              <a:gd name="T14" fmla="*/ 54332272 w 471"/>
              <a:gd name="T15" fmla="*/ 30846009 h 237"/>
              <a:gd name="T16" fmla="*/ 60668116 w 471"/>
              <a:gd name="T17" fmla="*/ 34667343 h 237"/>
              <a:gd name="T18" fmla="*/ 68155453 w 471"/>
              <a:gd name="T19" fmla="*/ 37943219 h 237"/>
              <a:gd name="T20" fmla="*/ 76602807 w 471"/>
              <a:gd name="T21" fmla="*/ 39853886 h 237"/>
              <a:gd name="T22" fmla="*/ 86586362 w 471"/>
              <a:gd name="T23" fmla="*/ 40399866 h 237"/>
              <a:gd name="T24" fmla="*/ 86778278 w 471"/>
              <a:gd name="T25" fmla="*/ 51046203 h 237"/>
              <a:gd name="T26" fmla="*/ 88122125 w 471"/>
              <a:gd name="T27" fmla="*/ 57597434 h 237"/>
              <a:gd name="T28" fmla="*/ 89657888 w 471"/>
              <a:gd name="T29" fmla="*/ 61964747 h 237"/>
              <a:gd name="T30" fmla="*/ 89657888 w 471"/>
              <a:gd name="T31" fmla="*/ 64421916 h 237"/>
              <a:gd name="T32" fmla="*/ 86586362 w 471"/>
              <a:gd name="T33" fmla="*/ 64421916 h 237"/>
              <a:gd name="T34" fmla="*/ 79866687 w 471"/>
              <a:gd name="T35" fmla="*/ 63056706 h 237"/>
              <a:gd name="T36" fmla="*/ 69499301 w 471"/>
              <a:gd name="T37" fmla="*/ 59781352 h 237"/>
              <a:gd name="T38" fmla="*/ 60475762 w 471"/>
              <a:gd name="T39" fmla="*/ 56505475 h 237"/>
              <a:gd name="T40" fmla="*/ 56444220 w 471"/>
              <a:gd name="T41" fmla="*/ 55413516 h 237"/>
              <a:gd name="T42" fmla="*/ 55100372 w 471"/>
              <a:gd name="T43" fmla="*/ 54321557 h 237"/>
              <a:gd name="T44" fmla="*/ 53180340 w 471"/>
              <a:gd name="T45" fmla="*/ 51864911 h 237"/>
              <a:gd name="T46" fmla="*/ 51260746 w 471"/>
              <a:gd name="T47" fmla="*/ 48589034 h 237"/>
              <a:gd name="T48" fmla="*/ 48956882 w 471"/>
              <a:gd name="T49" fmla="*/ 45313680 h 237"/>
              <a:gd name="T50" fmla="*/ 46076834 w 471"/>
              <a:gd name="T51" fmla="*/ 43402491 h 237"/>
              <a:gd name="T52" fmla="*/ 43581054 w 471"/>
              <a:gd name="T53" fmla="*/ 43402491 h 237"/>
              <a:gd name="T54" fmla="*/ 39357597 w 471"/>
              <a:gd name="T55" fmla="*/ 44494450 h 237"/>
              <a:gd name="T56" fmla="*/ 35133701 w 471"/>
              <a:gd name="T57" fmla="*/ 45586409 h 237"/>
              <a:gd name="T58" fmla="*/ 32446006 w 471"/>
              <a:gd name="T59" fmla="*/ 45859660 h 237"/>
              <a:gd name="T60" fmla="*/ 30334058 w 471"/>
              <a:gd name="T61" fmla="*/ 44767701 h 237"/>
              <a:gd name="T62" fmla="*/ 28414025 w 471"/>
              <a:gd name="T63" fmla="*/ 42311055 h 237"/>
              <a:gd name="T64" fmla="*/ 26686347 w 471"/>
              <a:gd name="T65" fmla="*/ 40399866 h 237"/>
              <a:gd name="T66" fmla="*/ 23422467 w 471"/>
              <a:gd name="T67" fmla="*/ 39581158 h 237"/>
              <a:gd name="T68" fmla="*/ 17662808 w 471"/>
              <a:gd name="T69" fmla="*/ 36851260 h 237"/>
              <a:gd name="T70" fmla="*/ 9215454 w 471"/>
              <a:gd name="T71" fmla="*/ 31937968 h 237"/>
              <a:gd name="T72" fmla="*/ 2303864 w 471"/>
              <a:gd name="T73" fmla="*/ 26205445 h 237"/>
              <a:gd name="T74" fmla="*/ 134384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72" name="Freeform 274">
            <a:extLst>
              <a:ext uri="{FF2B5EF4-FFF2-40B4-BE49-F238E27FC236}">
                <a16:creationId xmlns:a16="http://schemas.microsoft.com/office/drawing/2014/main" id="{6B20451E-86A1-4146-B117-4759E2548DC3}"/>
              </a:ext>
            </a:extLst>
          </p:cNvPr>
          <p:cNvSpPr>
            <a:spLocks/>
          </p:cNvSpPr>
          <p:nvPr>
            <p:custDataLst>
              <p:tags r:id="rId201"/>
            </p:custDataLst>
          </p:nvPr>
        </p:nvSpPr>
        <p:spPr bwMode="auto">
          <a:xfrm>
            <a:off x="8401198" y="3099627"/>
            <a:ext cx="102357" cy="85379"/>
          </a:xfrm>
          <a:custGeom>
            <a:avLst/>
            <a:gdLst>
              <a:gd name="T0" fmla="*/ 31932040 w 167"/>
              <a:gd name="T1" fmla="*/ 12040566 h 123"/>
              <a:gd name="T2" fmla="*/ 31358334 w 167"/>
              <a:gd name="T3" fmla="*/ 15120821 h 123"/>
              <a:gd name="T4" fmla="*/ 30784629 w 167"/>
              <a:gd name="T5" fmla="*/ 18481004 h 123"/>
              <a:gd name="T6" fmla="*/ 29637655 w 167"/>
              <a:gd name="T7" fmla="*/ 22121113 h 123"/>
              <a:gd name="T8" fmla="*/ 28681334 w 167"/>
              <a:gd name="T9" fmla="*/ 26041150 h 123"/>
              <a:gd name="T10" fmla="*/ 27916539 w 167"/>
              <a:gd name="T11" fmla="*/ 27721241 h 123"/>
              <a:gd name="T12" fmla="*/ 27151744 w 167"/>
              <a:gd name="T13" fmla="*/ 29401332 h 123"/>
              <a:gd name="T14" fmla="*/ 26386950 w 167"/>
              <a:gd name="T15" fmla="*/ 30801497 h 123"/>
              <a:gd name="T16" fmla="*/ 25239539 w 167"/>
              <a:gd name="T17" fmla="*/ 31921734 h 123"/>
              <a:gd name="T18" fmla="*/ 24283655 w 167"/>
              <a:gd name="T19" fmla="*/ 33041442 h 123"/>
              <a:gd name="T20" fmla="*/ 23136244 w 167"/>
              <a:gd name="T21" fmla="*/ 33881752 h 123"/>
              <a:gd name="T22" fmla="*/ 21989271 w 167"/>
              <a:gd name="T23" fmla="*/ 34161679 h 123"/>
              <a:gd name="T24" fmla="*/ 20459244 w 167"/>
              <a:gd name="T25" fmla="*/ 34441606 h 123"/>
              <a:gd name="T26" fmla="*/ 19121181 w 167"/>
              <a:gd name="T27" fmla="*/ 34161679 h 123"/>
              <a:gd name="T28" fmla="*/ 17591154 w 167"/>
              <a:gd name="T29" fmla="*/ 33321369 h 123"/>
              <a:gd name="T30" fmla="*/ 16635270 w 167"/>
              <a:gd name="T31" fmla="*/ 32481588 h 123"/>
              <a:gd name="T32" fmla="*/ 16061565 w 167"/>
              <a:gd name="T33" fmla="*/ 31641278 h 123"/>
              <a:gd name="T34" fmla="*/ 15679386 w 167"/>
              <a:gd name="T35" fmla="*/ 30521570 h 123"/>
              <a:gd name="T36" fmla="*/ 15487859 w 167"/>
              <a:gd name="T37" fmla="*/ 29401332 h 123"/>
              <a:gd name="T38" fmla="*/ 13576091 w 167"/>
              <a:gd name="T39" fmla="*/ 29121405 h 123"/>
              <a:gd name="T40" fmla="*/ 11663885 w 167"/>
              <a:gd name="T41" fmla="*/ 28841478 h 123"/>
              <a:gd name="T42" fmla="*/ 9751680 w 167"/>
              <a:gd name="T43" fmla="*/ 28281095 h 123"/>
              <a:gd name="T44" fmla="*/ 7839474 w 167"/>
              <a:gd name="T45" fmla="*/ 27441314 h 123"/>
              <a:gd name="T46" fmla="*/ 4015500 w 167"/>
              <a:gd name="T47" fmla="*/ 25761223 h 123"/>
              <a:gd name="T48" fmla="*/ 0 w 167"/>
              <a:gd name="T49" fmla="*/ 24081132 h 123"/>
              <a:gd name="T50" fmla="*/ 382616 w 167"/>
              <a:gd name="T51" fmla="*/ 21561259 h 123"/>
              <a:gd name="T52" fmla="*/ 955884 w 167"/>
              <a:gd name="T53" fmla="*/ 18760931 h 123"/>
              <a:gd name="T54" fmla="*/ 1720679 w 167"/>
              <a:gd name="T55" fmla="*/ 15680675 h 123"/>
              <a:gd name="T56" fmla="*/ 2868090 w 167"/>
              <a:gd name="T57" fmla="*/ 12040566 h 123"/>
              <a:gd name="T58" fmla="*/ 3824411 w 167"/>
              <a:gd name="T59" fmla="*/ 12040566 h 123"/>
              <a:gd name="T60" fmla="*/ 4971385 w 167"/>
              <a:gd name="T61" fmla="*/ 11760639 h 123"/>
              <a:gd name="T62" fmla="*/ 5736179 w 167"/>
              <a:gd name="T63" fmla="*/ 11480712 h 123"/>
              <a:gd name="T64" fmla="*/ 6309885 w 167"/>
              <a:gd name="T65" fmla="*/ 10640402 h 123"/>
              <a:gd name="T66" fmla="*/ 7648385 w 167"/>
              <a:gd name="T67" fmla="*/ 9240237 h 123"/>
              <a:gd name="T68" fmla="*/ 8604269 w 167"/>
              <a:gd name="T69" fmla="*/ 7280219 h 123"/>
              <a:gd name="T70" fmla="*/ 9942769 w 167"/>
              <a:gd name="T71" fmla="*/ 3360183 h 123"/>
              <a:gd name="T72" fmla="*/ 11663885 w 167"/>
              <a:gd name="T73" fmla="*/ 0 h 123"/>
              <a:gd name="T74" fmla="*/ 12237591 w 167"/>
              <a:gd name="T75" fmla="*/ 1120237 h 123"/>
              <a:gd name="T76" fmla="*/ 12810859 w 167"/>
              <a:gd name="T77" fmla="*/ 1960018 h 123"/>
              <a:gd name="T78" fmla="*/ 13958270 w 167"/>
              <a:gd name="T79" fmla="*/ 3080256 h 123"/>
              <a:gd name="T80" fmla="*/ 14914154 w 167"/>
              <a:gd name="T81" fmla="*/ 3920037 h 123"/>
              <a:gd name="T82" fmla="*/ 17591154 w 167"/>
              <a:gd name="T83" fmla="*/ 5880055 h 123"/>
              <a:gd name="T84" fmla="*/ 20459244 w 167"/>
              <a:gd name="T85" fmla="*/ 7840602 h 123"/>
              <a:gd name="T86" fmla="*/ 23327771 w 167"/>
              <a:gd name="T87" fmla="*/ 9800621 h 123"/>
              <a:gd name="T88" fmla="*/ 26578039 w 167"/>
              <a:gd name="T89" fmla="*/ 10920329 h 123"/>
              <a:gd name="T90" fmla="*/ 29255039 w 167"/>
              <a:gd name="T91" fmla="*/ 11760639 h 123"/>
              <a:gd name="T92" fmla="*/ 31932040 w 167"/>
              <a:gd name="T93" fmla="*/ 12040566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0872A6"/>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73" name="Freeform 275">
            <a:extLst>
              <a:ext uri="{FF2B5EF4-FFF2-40B4-BE49-F238E27FC236}">
                <a16:creationId xmlns:a16="http://schemas.microsoft.com/office/drawing/2014/main" id="{EDEE57F7-C2FB-4CE3-BB13-C37E896D18C4}"/>
              </a:ext>
            </a:extLst>
          </p:cNvPr>
          <p:cNvSpPr>
            <a:spLocks/>
          </p:cNvSpPr>
          <p:nvPr>
            <p:custDataLst>
              <p:tags r:id="rId202"/>
            </p:custDataLst>
          </p:nvPr>
        </p:nvSpPr>
        <p:spPr bwMode="auto">
          <a:xfrm>
            <a:off x="8388665" y="3193136"/>
            <a:ext cx="185914" cy="215479"/>
          </a:xfrm>
          <a:custGeom>
            <a:avLst/>
            <a:gdLst>
              <a:gd name="T0" fmla="*/ 49186104 w 306"/>
              <a:gd name="T1" fmla="*/ 43143632 h 321"/>
              <a:gd name="T2" fmla="*/ 47856962 w 306"/>
              <a:gd name="T3" fmla="*/ 46649273 h 321"/>
              <a:gd name="T4" fmla="*/ 46147816 w 306"/>
              <a:gd name="T5" fmla="*/ 49075855 h 321"/>
              <a:gd name="T6" fmla="*/ 44248668 w 306"/>
              <a:gd name="T7" fmla="*/ 50154913 h 321"/>
              <a:gd name="T8" fmla="*/ 42349520 w 306"/>
              <a:gd name="T9" fmla="*/ 49615384 h 321"/>
              <a:gd name="T10" fmla="*/ 40640374 w 306"/>
              <a:gd name="T11" fmla="*/ 47997316 h 321"/>
              <a:gd name="T12" fmla="*/ 39690800 w 306"/>
              <a:gd name="T13" fmla="*/ 45570734 h 321"/>
              <a:gd name="T14" fmla="*/ 39121229 w 306"/>
              <a:gd name="T15" fmla="*/ 43143632 h 321"/>
              <a:gd name="T16" fmla="*/ 39690800 w 306"/>
              <a:gd name="T17" fmla="*/ 39908015 h 321"/>
              <a:gd name="T18" fmla="*/ 40450372 w 306"/>
              <a:gd name="T19" fmla="*/ 36672399 h 321"/>
              <a:gd name="T20" fmla="*/ 43678662 w 306"/>
              <a:gd name="T21" fmla="*/ 30740175 h 321"/>
              <a:gd name="T22" fmla="*/ 46717386 w 306"/>
              <a:gd name="T23" fmla="*/ 25077457 h 321"/>
              <a:gd name="T24" fmla="*/ 47476958 w 306"/>
              <a:gd name="T25" fmla="*/ 22111345 h 321"/>
              <a:gd name="T26" fmla="*/ 48046528 w 306"/>
              <a:gd name="T27" fmla="*/ 18605704 h 321"/>
              <a:gd name="T28" fmla="*/ 24498051 w 306"/>
              <a:gd name="T29" fmla="*/ 18336199 h 321"/>
              <a:gd name="T30" fmla="*/ 22598903 w 306"/>
              <a:gd name="T31" fmla="*/ 15909097 h 321"/>
              <a:gd name="T32" fmla="*/ 21269761 w 306"/>
              <a:gd name="T33" fmla="*/ 12133952 h 321"/>
              <a:gd name="T34" fmla="*/ 20510189 w 306"/>
              <a:gd name="T35" fmla="*/ 7550291 h 321"/>
              <a:gd name="T36" fmla="*/ 19180611 w 306"/>
              <a:gd name="T37" fmla="*/ 5123189 h 321"/>
              <a:gd name="T38" fmla="*/ 17091897 w 306"/>
              <a:gd name="T39" fmla="*/ 4584180 h 321"/>
              <a:gd name="T40" fmla="*/ 15192749 w 306"/>
              <a:gd name="T41" fmla="*/ 3235617 h 321"/>
              <a:gd name="T42" fmla="*/ 14243175 w 306"/>
              <a:gd name="T43" fmla="*/ 1078539 h 321"/>
              <a:gd name="T44" fmla="*/ 12344026 w 306"/>
              <a:gd name="T45" fmla="*/ 0 h 321"/>
              <a:gd name="T46" fmla="*/ 9305302 w 306"/>
              <a:gd name="T47" fmla="*/ 0 h 321"/>
              <a:gd name="T48" fmla="*/ 6457016 w 306"/>
              <a:gd name="T49" fmla="*/ 269505 h 321"/>
              <a:gd name="T50" fmla="*/ 4177864 w 306"/>
              <a:gd name="T51" fmla="*/ 1348044 h 321"/>
              <a:gd name="T52" fmla="*/ 1899148 w 306"/>
              <a:gd name="T53" fmla="*/ 3775146 h 321"/>
              <a:gd name="T54" fmla="*/ 190002 w 306"/>
              <a:gd name="T55" fmla="*/ 6741257 h 321"/>
              <a:gd name="T56" fmla="*/ 380004 w 306"/>
              <a:gd name="T57" fmla="*/ 9437864 h 321"/>
              <a:gd name="T58" fmla="*/ 2848722 w 306"/>
              <a:gd name="T59" fmla="*/ 12403976 h 321"/>
              <a:gd name="T60" fmla="*/ 6646582 w 306"/>
              <a:gd name="T61" fmla="*/ 15639592 h 321"/>
              <a:gd name="T62" fmla="*/ 10254876 w 306"/>
              <a:gd name="T63" fmla="*/ 18066694 h 321"/>
              <a:gd name="T64" fmla="*/ 8925734 w 306"/>
              <a:gd name="T65" fmla="*/ 21302311 h 321"/>
              <a:gd name="T66" fmla="*/ 4747870 w 306"/>
              <a:gd name="T67" fmla="*/ 26155996 h 321"/>
              <a:gd name="T68" fmla="*/ 3228290 w 306"/>
              <a:gd name="T69" fmla="*/ 28852602 h 321"/>
              <a:gd name="T70" fmla="*/ 2658720 w 306"/>
              <a:gd name="T71" fmla="*/ 30740175 h 321"/>
              <a:gd name="T72" fmla="*/ 2658720 w 306"/>
              <a:gd name="T73" fmla="*/ 32897253 h 321"/>
              <a:gd name="T74" fmla="*/ 3418292 w 306"/>
              <a:gd name="T75" fmla="*/ 34784826 h 321"/>
              <a:gd name="T76" fmla="*/ 5317440 w 306"/>
              <a:gd name="T77" fmla="*/ 38020442 h 321"/>
              <a:gd name="T78" fmla="*/ 8925734 w 306"/>
              <a:gd name="T79" fmla="*/ 42065093 h 321"/>
              <a:gd name="T80" fmla="*/ 12154025 w 306"/>
              <a:gd name="T81" fmla="*/ 44222171 h 321"/>
              <a:gd name="T82" fmla="*/ 14243175 w 306"/>
              <a:gd name="T83" fmla="*/ 44761700 h 321"/>
              <a:gd name="T84" fmla="*/ 20320187 w 306"/>
              <a:gd name="T85" fmla="*/ 73074773 h 321"/>
              <a:gd name="T86" fmla="*/ 20510189 w 306"/>
              <a:gd name="T87" fmla="*/ 70917695 h 321"/>
              <a:gd name="T88" fmla="*/ 21269761 w 306"/>
              <a:gd name="T89" fmla="*/ 69030122 h 321"/>
              <a:gd name="T90" fmla="*/ 24118483 w 306"/>
              <a:gd name="T91" fmla="*/ 66333516 h 321"/>
              <a:gd name="T92" fmla="*/ 28106345 w 306"/>
              <a:gd name="T93" fmla="*/ 64715967 h 321"/>
              <a:gd name="T94" fmla="*/ 33043781 w 306"/>
              <a:gd name="T95" fmla="*/ 63367404 h 321"/>
              <a:gd name="T96" fmla="*/ 33043781 w 306"/>
              <a:gd name="T97" fmla="*/ 56626146 h 321"/>
              <a:gd name="T98" fmla="*/ 34753363 w 306"/>
              <a:gd name="T99" fmla="*/ 57165676 h 321"/>
              <a:gd name="T100" fmla="*/ 36652075 w 306"/>
              <a:gd name="T101" fmla="*/ 57165676 h 321"/>
              <a:gd name="T102" fmla="*/ 40450372 w 306"/>
              <a:gd name="T103" fmla="*/ 56626146 h 321"/>
              <a:gd name="T104" fmla="*/ 44058666 w 306"/>
              <a:gd name="T105" fmla="*/ 70378166 h 321"/>
              <a:gd name="T106" fmla="*/ 49186104 w 306"/>
              <a:gd name="T107" fmla="*/ 86557288 h 321"/>
              <a:gd name="T108" fmla="*/ 51654822 w 306"/>
              <a:gd name="T109" fmla="*/ 83860681 h 321"/>
              <a:gd name="T110" fmla="*/ 53553970 w 306"/>
              <a:gd name="T111" fmla="*/ 81434098 h 321"/>
              <a:gd name="T112" fmla="*/ 56022688 w 306"/>
              <a:gd name="T113" fmla="*/ 75501875 h 321"/>
              <a:gd name="T114" fmla="*/ 58111838 w 306"/>
              <a:gd name="T115" fmla="*/ 63367404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74" name="Freeform 276">
            <a:extLst>
              <a:ext uri="{FF2B5EF4-FFF2-40B4-BE49-F238E27FC236}">
                <a16:creationId xmlns:a16="http://schemas.microsoft.com/office/drawing/2014/main" id="{7CA850C8-19AD-4CF3-8835-D5E4D0DFBEFD}"/>
              </a:ext>
            </a:extLst>
          </p:cNvPr>
          <p:cNvSpPr>
            <a:spLocks/>
          </p:cNvSpPr>
          <p:nvPr>
            <p:custDataLst>
              <p:tags r:id="rId203"/>
            </p:custDataLst>
          </p:nvPr>
        </p:nvSpPr>
        <p:spPr bwMode="auto">
          <a:xfrm>
            <a:off x="8831517" y="3343565"/>
            <a:ext cx="279916" cy="349646"/>
          </a:xfrm>
          <a:custGeom>
            <a:avLst/>
            <a:gdLst>
              <a:gd name="T0" fmla="*/ 17223486 w 471"/>
              <a:gd name="T1" fmla="*/ 3257256 h 518"/>
              <a:gd name="T2" fmla="*/ 12276073 w 471"/>
              <a:gd name="T3" fmla="*/ 8686015 h 518"/>
              <a:gd name="T4" fmla="*/ 7329088 w 471"/>
              <a:gd name="T5" fmla="*/ 13300461 h 518"/>
              <a:gd name="T6" fmla="*/ 4946985 w 471"/>
              <a:gd name="T7" fmla="*/ 22257915 h 518"/>
              <a:gd name="T8" fmla="*/ 1465646 w 471"/>
              <a:gd name="T9" fmla="*/ 32029161 h 518"/>
              <a:gd name="T10" fmla="*/ 1282441 w 471"/>
              <a:gd name="T11" fmla="*/ 36915045 h 518"/>
              <a:gd name="T12" fmla="*/ 5497030 w 471"/>
              <a:gd name="T13" fmla="*/ 41529490 h 518"/>
              <a:gd name="T14" fmla="*/ 9161575 w 471"/>
              <a:gd name="T15" fmla="*/ 45601060 h 518"/>
              <a:gd name="T16" fmla="*/ 11360044 w 471"/>
              <a:gd name="T17" fmla="*/ 46686812 h 518"/>
              <a:gd name="T18" fmla="*/ 13742148 w 471"/>
              <a:gd name="T19" fmla="*/ 57272893 h 518"/>
              <a:gd name="T20" fmla="*/ 15391000 w 471"/>
              <a:gd name="T21" fmla="*/ 73830089 h 518"/>
              <a:gd name="T22" fmla="*/ 17223486 w 471"/>
              <a:gd name="T23" fmla="*/ 81158915 h 518"/>
              <a:gd name="T24" fmla="*/ 19055544 w 471"/>
              <a:gd name="T25" fmla="*/ 81973229 h 518"/>
              <a:gd name="T26" fmla="*/ 20521619 w 471"/>
              <a:gd name="T27" fmla="*/ 80616039 h 518"/>
              <a:gd name="T28" fmla="*/ 23453340 w 471"/>
              <a:gd name="T29" fmla="*/ 72744337 h 518"/>
              <a:gd name="T30" fmla="*/ 26567839 w 471"/>
              <a:gd name="T31" fmla="*/ 71115709 h 518"/>
              <a:gd name="T32" fmla="*/ 29316354 w 471"/>
              <a:gd name="T33" fmla="*/ 73830089 h 518"/>
              <a:gd name="T34" fmla="*/ 31698457 w 471"/>
              <a:gd name="T35" fmla="*/ 75187279 h 518"/>
              <a:gd name="T36" fmla="*/ 33530515 w 471"/>
              <a:gd name="T37" fmla="*/ 74372965 h 518"/>
              <a:gd name="T38" fmla="*/ 35179796 w 471"/>
              <a:gd name="T39" fmla="*/ 70301917 h 518"/>
              <a:gd name="T40" fmla="*/ 37195060 w 471"/>
              <a:gd name="T41" fmla="*/ 66230347 h 518"/>
              <a:gd name="T42" fmla="*/ 38844340 w 471"/>
              <a:gd name="T43" fmla="*/ 65416033 h 518"/>
              <a:gd name="T44" fmla="*/ 44157737 w 471"/>
              <a:gd name="T45" fmla="*/ 67044661 h 518"/>
              <a:gd name="T46" fmla="*/ 47455869 w 471"/>
              <a:gd name="T47" fmla="*/ 73558651 h 518"/>
              <a:gd name="T48" fmla="*/ 56434238 w 471"/>
              <a:gd name="T49" fmla="*/ 91202120 h 518"/>
              <a:gd name="T50" fmla="*/ 62480458 w 471"/>
              <a:gd name="T51" fmla="*/ 103688267 h 518"/>
              <a:gd name="T52" fmla="*/ 65595385 w 471"/>
              <a:gd name="T53" fmla="*/ 113731473 h 518"/>
              <a:gd name="T54" fmla="*/ 67061459 w 471"/>
              <a:gd name="T55" fmla="*/ 124045595 h 518"/>
              <a:gd name="T56" fmla="*/ 65778590 w 471"/>
              <a:gd name="T57" fmla="*/ 127574289 h 518"/>
              <a:gd name="T58" fmla="*/ 62114046 w 471"/>
              <a:gd name="T59" fmla="*/ 132188735 h 518"/>
              <a:gd name="T60" fmla="*/ 66511414 w 471"/>
              <a:gd name="T61" fmla="*/ 134631676 h 518"/>
              <a:gd name="T62" fmla="*/ 71825238 w 471"/>
              <a:gd name="T63" fmla="*/ 140603312 h 518"/>
              <a:gd name="T64" fmla="*/ 73474090 w 471"/>
              <a:gd name="T65" fmla="*/ 135445990 h 518"/>
              <a:gd name="T66" fmla="*/ 75672988 w 471"/>
              <a:gd name="T67" fmla="*/ 132731611 h 518"/>
              <a:gd name="T68" fmla="*/ 81353224 w 471"/>
              <a:gd name="T69" fmla="*/ 131102983 h 518"/>
              <a:gd name="T70" fmla="*/ 85750592 w 471"/>
              <a:gd name="T71" fmla="*/ 118888273 h 518"/>
              <a:gd name="T72" fmla="*/ 82269253 w 471"/>
              <a:gd name="T73" fmla="*/ 105045457 h 518"/>
              <a:gd name="T74" fmla="*/ 77138635 w 471"/>
              <a:gd name="T75" fmla="*/ 94187938 h 518"/>
              <a:gd name="T76" fmla="*/ 63213709 w 471"/>
              <a:gd name="T77" fmla="*/ 75187279 h 518"/>
              <a:gd name="T78" fmla="*/ 51120413 w 471"/>
              <a:gd name="T79" fmla="*/ 59172959 h 518"/>
              <a:gd name="T80" fmla="*/ 41042810 w 471"/>
              <a:gd name="T81" fmla="*/ 43972432 h 518"/>
              <a:gd name="T82" fmla="*/ 32797692 w 471"/>
              <a:gd name="T83" fmla="*/ 28500467 h 518"/>
              <a:gd name="T84" fmla="*/ 23269706 w 471"/>
              <a:gd name="T85" fmla="*/ 10857519 h 518"/>
              <a:gd name="T86" fmla="*/ 21071236 w 471"/>
              <a:gd name="T87" fmla="*/ 3800132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75" name="Freeform 277">
            <a:extLst>
              <a:ext uri="{FF2B5EF4-FFF2-40B4-BE49-F238E27FC236}">
                <a16:creationId xmlns:a16="http://schemas.microsoft.com/office/drawing/2014/main" id="{32FD4DA4-F204-4E35-86A2-FA0DE184D62B}"/>
              </a:ext>
            </a:extLst>
          </p:cNvPr>
          <p:cNvSpPr>
            <a:spLocks/>
          </p:cNvSpPr>
          <p:nvPr>
            <p:custDataLst>
              <p:tags r:id="rId204"/>
            </p:custDataLst>
          </p:nvPr>
        </p:nvSpPr>
        <p:spPr bwMode="auto">
          <a:xfrm>
            <a:off x="8946407" y="3668818"/>
            <a:ext cx="183826" cy="170758"/>
          </a:xfrm>
          <a:custGeom>
            <a:avLst/>
            <a:gdLst>
              <a:gd name="T0" fmla="*/ 31484254 w 293"/>
              <a:gd name="T1" fmla="*/ 5320242 h 246"/>
              <a:gd name="T2" fmla="*/ 37076761 w 293"/>
              <a:gd name="T3" fmla="*/ 8400521 h 246"/>
              <a:gd name="T4" fmla="*/ 40598021 w 293"/>
              <a:gd name="T5" fmla="*/ 8400521 h 246"/>
              <a:gd name="T6" fmla="*/ 41840952 w 293"/>
              <a:gd name="T7" fmla="*/ 5040313 h 246"/>
              <a:gd name="T8" fmla="*/ 43498042 w 293"/>
              <a:gd name="T9" fmla="*/ 2800350 h 246"/>
              <a:gd name="T10" fmla="*/ 45362211 w 293"/>
              <a:gd name="T11" fmla="*/ 1680104 h 246"/>
              <a:gd name="T12" fmla="*/ 50747640 w 293"/>
              <a:gd name="T13" fmla="*/ 559858 h 246"/>
              <a:gd name="T14" fmla="*/ 60690179 w 293"/>
              <a:gd name="T15" fmla="*/ 22401213 h 246"/>
              <a:gd name="T16" fmla="*/ 55097671 w 293"/>
              <a:gd name="T17" fmla="*/ 29961946 h 246"/>
              <a:gd name="T18" fmla="*/ 49090550 w 293"/>
              <a:gd name="T19" fmla="*/ 39482713 h 246"/>
              <a:gd name="T20" fmla="*/ 46605142 w 293"/>
              <a:gd name="T21" fmla="*/ 44523025 h 246"/>
              <a:gd name="T22" fmla="*/ 44533894 w 293"/>
              <a:gd name="T23" fmla="*/ 49843267 h 246"/>
              <a:gd name="T24" fmla="*/ 43290962 w 293"/>
              <a:gd name="T25" fmla="*/ 55163508 h 246"/>
              <a:gd name="T26" fmla="*/ 42669724 w 293"/>
              <a:gd name="T27" fmla="*/ 60483750 h 246"/>
              <a:gd name="T28" fmla="*/ 40598021 w 293"/>
              <a:gd name="T29" fmla="*/ 60763679 h 246"/>
              <a:gd name="T30" fmla="*/ 38526772 w 293"/>
              <a:gd name="T31" fmla="*/ 61603996 h 246"/>
              <a:gd name="T32" fmla="*/ 35212592 w 293"/>
              <a:gd name="T33" fmla="*/ 64123887 h 246"/>
              <a:gd name="T34" fmla="*/ 31898412 w 293"/>
              <a:gd name="T35" fmla="*/ 66924237 h 246"/>
              <a:gd name="T36" fmla="*/ 27548836 w 293"/>
              <a:gd name="T37" fmla="*/ 68884271 h 246"/>
              <a:gd name="T38" fmla="*/ 21127555 w 293"/>
              <a:gd name="T39" fmla="*/ 67204167 h 246"/>
              <a:gd name="T40" fmla="*/ 14706275 w 293"/>
              <a:gd name="T41" fmla="*/ 64964204 h 246"/>
              <a:gd name="T42" fmla="*/ 12220868 w 293"/>
              <a:gd name="T43" fmla="*/ 63284100 h 246"/>
              <a:gd name="T44" fmla="*/ 10149619 w 293"/>
              <a:gd name="T45" fmla="*/ 61603996 h 246"/>
              <a:gd name="T46" fmla="*/ 8906688 w 293"/>
              <a:gd name="T47" fmla="*/ 59363504 h 246"/>
              <a:gd name="T48" fmla="*/ 8492529 w 293"/>
              <a:gd name="T49" fmla="*/ 57123542 h 246"/>
              <a:gd name="T50" fmla="*/ 9735460 w 293"/>
              <a:gd name="T51" fmla="*/ 49843267 h 246"/>
              <a:gd name="T52" fmla="*/ 9320846 w 293"/>
              <a:gd name="T53" fmla="*/ 45362813 h 246"/>
              <a:gd name="T54" fmla="*/ 8285450 w 293"/>
              <a:gd name="T55" fmla="*/ 41162817 h 246"/>
              <a:gd name="T56" fmla="*/ 4971270 w 293"/>
              <a:gd name="T57" fmla="*/ 33322154 h 246"/>
              <a:gd name="T58" fmla="*/ 1657090 w 293"/>
              <a:gd name="T59" fmla="*/ 25481492 h 246"/>
              <a:gd name="T60" fmla="*/ 414159 w 293"/>
              <a:gd name="T61" fmla="*/ 20721108 h 246"/>
              <a:gd name="T62" fmla="*/ 0 w 293"/>
              <a:gd name="T63" fmla="*/ 15400867 h 246"/>
              <a:gd name="T64" fmla="*/ 414159 w 293"/>
              <a:gd name="T65" fmla="*/ 12601046 h 246"/>
              <a:gd name="T66" fmla="*/ 1657090 w 293"/>
              <a:gd name="T67" fmla="*/ 10080625 h 246"/>
              <a:gd name="T68" fmla="*/ 3521259 w 293"/>
              <a:gd name="T69" fmla="*/ 8120592 h 246"/>
              <a:gd name="T70" fmla="*/ 5385428 w 293"/>
              <a:gd name="T71" fmla="*/ 6160558 h 246"/>
              <a:gd name="T72" fmla="*/ 9942540 w 293"/>
              <a:gd name="T73" fmla="*/ 3920067 h 246"/>
              <a:gd name="T74" fmla="*/ 13877958 w 293"/>
              <a:gd name="T75" fmla="*/ 3360208 h 246"/>
              <a:gd name="T76" fmla="*/ 19884624 w 293"/>
              <a:gd name="T77" fmla="*/ 3360208 h 246"/>
              <a:gd name="T78" fmla="*/ 27548836 w 293"/>
              <a:gd name="T79" fmla="*/ 3360208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70C0"/>
              </a:solidFill>
              <a:effectLst/>
              <a:uLnTx/>
              <a:uFillTx/>
              <a:latin typeface="Arial" panose="020B0604020202020204" pitchFamily="34" charset="0"/>
              <a:ea typeface="MS PGothic" panose="020B0600070205080204" pitchFamily="34" charset="-128"/>
              <a:cs typeface="Arial"/>
            </a:endParaRPr>
          </a:p>
        </p:txBody>
      </p:sp>
      <p:sp>
        <p:nvSpPr>
          <p:cNvPr id="776" name="Freeform 278">
            <a:extLst>
              <a:ext uri="{FF2B5EF4-FFF2-40B4-BE49-F238E27FC236}">
                <a16:creationId xmlns:a16="http://schemas.microsoft.com/office/drawing/2014/main" id="{B45A27C1-659A-4637-8184-9EAC06C1F742}"/>
              </a:ext>
            </a:extLst>
          </p:cNvPr>
          <p:cNvSpPr>
            <a:spLocks/>
          </p:cNvSpPr>
          <p:nvPr>
            <p:custDataLst>
              <p:tags r:id="rId205"/>
            </p:custDataLst>
          </p:nvPr>
        </p:nvSpPr>
        <p:spPr bwMode="auto">
          <a:xfrm>
            <a:off x="9504150" y="2676798"/>
            <a:ext cx="119069" cy="168724"/>
          </a:xfrm>
          <a:custGeom>
            <a:avLst/>
            <a:gdLst>
              <a:gd name="T0" fmla="*/ 3306842 w 200"/>
              <a:gd name="T1" fmla="*/ 11480800 h 246"/>
              <a:gd name="T2" fmla="*/ 5144357 w 200"/>
              <a:gd name="T3" fmla="*/ 7280275 h 246"/>
              <a:gd name="T4" fmla="*/ 6981444 w 200"/>
              <a:gd name="T5" fmla="*/ 4480454 h 246"/>
              <a:gd name="T6" fmla="*/ 9185862 w 200"/>
              <a:gd name="T7" fmla="*/ 2520421 h 246"/>
              <a:gd name="T8" fmla="*/ 13411676 w 200"/>
              <a:gd name="T9" fmla="*/ 279929 h 246"/>
              <a:gd name="T10" fmla="*/ 16167306 w 200"/>
              <a:gd name="T11" fmla="*/ 3360208 h 246"/>
              <a:gd name="T12" fmla="*/ 19841909 w 200"/>
              <a:gd name="T13" fmla="*/ 9520767 h 246"/>
              <a:gd name="T14" fmla="*/ 22964870 w 200"/>
              <a:gd name="T15" fmla="*/ 14000692 h 246"/>
              <a:gd name="T16" fmla="*/ 25537049 w 200"/>
              <a:gd name="T17" fmla="*/ 16241183 h 246"/>
              <a:gd name="T18" fmla="*/ 27925347 w 200"/>
              <a:gd name="T19" fmla="*/ 17921288 h 246"/>
              <a:gd name="T20" fmla="*/ 30497526 w 200"/>
              <a:gd name="T21" fmla="*/ 18761075 h 246"/>
              <a:gd name="T22" fmla="*/ 33804368 w 200"/>
              <a:gd name="T23" fmla="*/ 26881667 h 246"/>
              <a:gd name="T24" fmla="*/ 35825335 w 200"/>
              <a:gd name="T25" fmla="*/ 38362467 h 246"/>
              <a:gd name="T26" fmla="*/ 36559998 w 200"/>
              <a:gd name="T27" fmla="*/ 46203129 h 246"/>
              <a:gd name="T28" fmla="*/ 36743878 w 200"/>
              <a:gd name="T29" fmla="*/ 51803300 h 246"/>
              <a:gd name="T30" fmla="*/ 36376547 w 200"/>
              <a:gd name="T31" fmla="*/ 55163508 h 246"/>
              <a:gd name="T32" fmla="*/ 35825335 w 200"/>
              <a:gd name="T33" fmla="*/ 57963329 h 246"/>
              <a:gd name="T34" fmla="*/ 34722911 w 200"/>
              <a:gd name="T35" fmla="*/ 59923892 h 246"/>
              <a:gd name="T36" fmla="*/ 32885825 w 200"/>
              <a:gd name="T37" fmla="*/ 61603996 h 246"/>
              <a:gd name="T38" fmla="*/ 30130194 w 200"/>
              <a:gd name="T39" fmla="*/ 62723712 h 246"/>
              <a:gd name="T40" fmla="*/ 25720929 w 200"/>
              <a:gd name="T41" fmla="*/ 62723712 h 246"/>
              <a:gd name="T42" fmla="*/ 21678995 w 200"/>
              <a:gd name="T43" fmla="*/ 64123887 h 246"/>
              <a:gd name="T44" fmla="*/ 20392692 w 200"/>
              <a:gd name="T45" fmla="*/ 65803992 h 246"/>
              <a:gd name="T46" fmla="*/ 19841909 w 200"/>
              <a:gd name="T47" fmla="*/ 67764025 h 246"/>
              <a:gd name="T48" fmla="*/ 18004393 w 200"/>
              <a:gd name="T49" fmla="*/ 68604342 h 246"/>
              <a:gd name="T50" fmla="*/ 15616095 w 200"/>
              <a:gd name="T51" fmla="*/ 67204167 h 246"/>
              <a:gd name="T52" fmla="*/ 14146340 w 200"/>
              <a:gd name="T53" fmla="*/ 64403817 h 246"/>
              <a:gd name="T54" fmla="*/ 13411676 w 200"/>
              <a:gd name="T55" fmla="*/ 60483750 h 246"/>
              <a:gd name="T56" fmla="*/ 13227796 w 200"/>
              <a:gd name="T57" fmla="*/ 53763333 h 246"/>
              <a:gd name="T58" fmla="*/ 13043916 w 200"/>
              <a:gd name="T59" fmla="*/ 47042917 h 246"/>
              <a:gd name="T60" fmla="*/ 12676584 w 200"/>
              <a:gd name="T61" fmla="*/ 43122850 h 246"/>
              <a:gd name="T62" fmla="*/ 11758041 w 200"/>
              <a:gd name="T63" fmla="*/ 39762642 h 246"/>
              <a:gd name="T64" fmla="*/ 10288286 w 200"/>
              <a:gd name="T65" fmla="*/ 37522150 h 246"/>
              <a:gd name="T66" fmla="*/ 7348776 w 200"/>
              <a:gd name="T67" fmla="*/ 35002258 h 246"/>
              <a:gd name="T68" fmla="*/ 3306842 w 200"/>
              <a:gd name="T69" fmla="*/ 32201908 h 246"/>
              <a:gd name="T70" fmla="*/ 1102424 w 200"/>
              <a:gd name="T71" fmla="*/ 29682017 h 246"/>
              <a:gd name="T72" fmla="*/ 183880 w 200"/>
              <a:gd name="T73" fmla="*/ 27441525 h 246"/>
              <a:gd name="T74" fmla="*/ 183880 w 200"/>
              <a:gd name="T75" fmla="*/ 24361775 h 246"/>
              <a:gd name="T76" fmla="*/ 918543 w 200"/>
              <a:gd name="T77" fmla="*/ 21841354 h 246"/>
              <a:gd name="T78" fmla="*/ 1837087 w 200"/>
              <a:gd name="T79" fmla="*/ 19041004 h 246"/>
              <a:gd name="T80" fmla="*/ 2388299 w 200"/>
              <a:gd name="T81" fmla="*/ 15680796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77" name="Freeform 279">
            <a:extLst>
              <a:ext uri="{FF2B5EF4-FFF2-40B4-BE49-F238E27FC236}">
                <a16:creationId xmlns:a16="http://schemas.microsoft.com/office/drawing/2014/main" id="{4B05789C-35A1-48F7-BCD9-DE144C8C4F13}"/>
              </a:ext>
            </a:extLst>
          </p:cNvPr>
          <p:cNvSpPr>
            <a:spLocks/>
          </p:cNvSpPr>
          <p:nvPr>
            <p:custDataLst>
              <p:tags r:id="rId206"/>
            </p:custDataLst>
          </p:nvPr>
        </p:nvSpPr>
        <p:spPr bwMode="auto">
          <a:xfrm>
            <a:off x="10295853" y="4362011"/>
            <a:ext cx="321694" cy="331351"/>
          </a:xfrm>
          <a:custGeom>
            <a:avLst/>
            <a:gdLst>
              <a:gd name="T0" fmla="*/ 16889418 w 538"/>
              <a:gd name="T1" fmla="*/ 5712653 h 487"/>
              <a:gd name="T2" fmla="*/ 29695203 w 538"/>
              <a:gd name="T3" fmla="*/ 12785014 h 487"/>
              <a:gd name="T4" fmla="*/ 37490252 w 538"/>
              <a:gd name="T5" fmla="*/ 19041655 h 487"/>
              <a:gd name="T6" fmla="*/ 46955978 w 538"/>
              <a:gd name="T7" fmla="*/ 29922973 h 487"/>
              <a:gd name="T8" fmla="*/ 55678989 w 538"/>
              <a:gd name="T9" fmla="*/ 36995335 h 487"/>
              <a:gd name="T10" fmla="*/ 55493311 w 538"/>
              <a:gd name="T11" fmla="*/ 43795963 h 487"/>
              <a:gd name="T12" fmla="*/ 64402001 w 538"/>
              <a:gd name="T13" fmla="*/ 55765257 h 487"/>
              <a:gd name="T14" fmla="*/ 72939334 w 538"/>
              <a:gd name="T15" fmla="*/ 67462296 h 487"/>
              <a:gd name="T16" fmla="*/ 70340697 w 538"/>
              <a:gd name="T17" fmla="*/ 68006283 h 487"/>
              <a:gd name="T18" fmla="*/ 69041809 w 538"/>
              <a:gd name="T19" fmla="*/ 69638768 h 487"/>
              <a:gd name="T20" fmla="*/ 69041809 w 538"/>
              <a:gd name="T21" fmla="*/ 75623154 h 487"/>
              <a:gd name="T22" fmla="*/ 69969771 w 538"/>
              <a:gd name="T23" fmla="*/ 81879795 h 487"/>
              <a:gd name="T24" fmla="*/ 72197051 w 538"/>
              <a:gd name="T25" fmla="*/ 88408168 h 487"/>
              <a:gd name="T26" fmla="*/ 75537540 w 538"/>
              <a:gd name="T27" fmla="*/ 94664809 h 487"/>
              <a:gd name="T28" fmla="*/ 79435065 w 538"/>
              <a:gd name="T29" fmla="*/ 99561220 h 487"/>
              <a:gd name="T30" fmla="*/ 83703947 w 538"/>
              <a:gd name="T31" fmla="*/ 102281680 h 487"/>
              <a:gd name="T32" fmla="*/ 85559870 w 538"/>
              <a:gd name="T33" fmla="*/ 106090115 h 487"/>
              <a:gd name="T34" fmla="*/ 87601472 w 538"/>
              <a:gd name="T35" fmla="*/ 110442538 h 487"/>
              <a:gd name="T36" fmla="*/ 90756283 w 538"/>
              <a:gd name="T37" fmla="*/ 113434731 h 487"/>
              <a:gd name="T38" fmla="*/ 95210844 w 538"/>
              <a:gd name="T39" fmla="*/ 117514899 h 487"/>
              <a:gd name="T40" fmla="*/ 96138805 w 538"/>
              <a:gd name="T41" fmla="*/ 120779347 h 487"/>
              <a:gd name="T42" fmla="*/ 97437693 w 538"/>
              <a:gd name="T43" fmla="*/ 122411310 h 487"/>
              <a:gd name="T44" fmla="*/ 99850652 w 538"/>
              <a:gd name="T45" fmla="*/ 124043795 h 487"/>
              <a:gd name="T46" fmla="*/ 99108369 w 538"/>
              <a:gd name="T47" fmla="*/ 128396218 h 487"/>
              <a:gd name="T48" fmla="*/ 96324484 w 538"/>
              <a:gd name="T49" fmla="*/ 131660144 h 487"/>
              <a:gd name="T50" fmla="*/ 90941962 w 538"/>
              <a:gd name="T51" fmla="*/ 132476386 h 487"/>
              <a:gd name="T52" fmla="*/ 83146912 w 538"/>
              <a:gd name="T53" fmla="*/ 130572168 h 487"/>
              <a:gd name="T54" fmla="*/ 76836859 w 538"/>
              <a:gd name="T55" fmla="*/ 126763733 h 487"/>
              <a:gd name="T56" fmla="*/ 71640015 w 538"/>
              <a:gd name="T57" fmla="*/ 121323335 h 487"/>
              <a:gd name="T58" fmla="*/ 65886567 w 538"/>
              <a:gd name="T59" fmla="*/ 112890743 h 487"/>
              <a:gd name="T60" fmla="*/ 57905839 w 538"/>
              <a:gd name="T61" fmla="*/ 99289487 h 487"/>
              <a:gd name="T62" fmla="*/ 50853503 w 538"/>
              <a:gd name="T63" fmla="*/ 89768398 h 487"/>
              <a:gd name="T64" fmla="*/ 45656659 w 538"/>
              <a:gd name="T65" fmla="*/ 85959963 h 487"/>
              <a:gd name="T66" fmla="*/ 39346176 w 538"/>
              <a:gd name="T67" fmla="*/ 84055745 h 487"/>
              <a:gd name="T68" fmla="*/ 33407480 w 538"/>
              <a:gd name="T69" fmla="*/ 84328000 h 487"/>
              <a:gd name="T70" fmla="*/ 28396315 w 538"/>
              <a:gd name="T71" fmla="*/ 86232218 h 487"/>
              <a:gd name="T72" fmla="*/ 20972191 w 538"/>
              <a:gd name="T73" fmla="*/ 93848567 h 487"/>
              <a:gd name="T74" fmla="*/ 25241073 w 538"/>
              <a:gd name="T75" fmla="*/ 98200990 h 487"/>
              <a:gd name="T76" fmla="*/ 25983356 w 538"/>
              <a:gd name="T77" fmla="*/ 100649195 h 487"/>
              <a:gd name="T78" fmla="*/ 23013793 w 538"/>
              <a:gd name="T79" fmla="*/ 109082308 h 487"/>
              <a:gd name="T80" fmla="*/ 20972191 w 538"/>
              <a:gd name="T81" fmla="*/ 112618489 h 487"/>
              <a:gd name="T82" fmla="*/ 8723012 w 538"/>
              <a:gd name="T83" fmla="*/ 109626296 h 487"/>
              <a:gd name="T84" fmla="*/ 3711846 w 538"/>
              <a:gd name="T85" fmla="*/ 70454489 h 487"/>
              <a:gd name="T86" fmla="*/ 3711846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78" name="Freeform 280">
            <a:extLst>
              <a:ext uri="{FF2B5EF4-FFF2-40B4-BE49-F238E27FC236}">
                <a16:creationId xmlns:a16="http://schemas.microsoft.com/office/drawing/2014/main" id="{6BE4B9ED-57CD-43D4-9407-7901C0549C32}"/>
              </a:ext>
            </a:extLst>
          </p:cNvPr>
          <p:cNvSpPr>
            <a:spLocks/>
          </p:cNvSpPr>
          <p:nvPr>
            <p:custDataLst>
              <p:tags r:id="rId207"/>
            </p:custDataLst>
          </p:nvPr>
        </p:nvSpPr>
        <p:spPr bwMode="auto">
          <a:xfrm>
            <a:off x="10563234" y="4341682"/>
            <a:ext cx="148314" cy="168725"/>
          </a:xfrm>
          <a:custGeom>
            <a:avLst/>
            <a:gdLst>
              <a:gd name="T0" fmla="*/ 24036551 w 253"/>
              <a:gd name="T1" fmla="*/ 273378 h 246"/>
              <a:gd name="T2" fmla="*/ 27747870 w 253"/>
              <a:gd name="T3" fmla="*/ 2185979 h 246"/>
              <a:gd name="T4" fmla="*/ 31636179 w 253"/>
              <a:gd name="T5" fmla="*/ 5737803 h 246"/>
              <a:gd name="T6" fmla="*/ 35170929 w 253"/>
              <a:gd name="T7" fmla="*/ 10109238 h 246"/>
              <a:gd name="T8" fmla="*/ 38529109 w 253"/>
              <a:gd name="T9" fmla="*/ 15574186 h 246"/>
              <a:gd name="T10" fmla="*/ 41356741 w 253"/>
              <a:gd name="T11" fmla="*/ 20765232 h 246"/>
              <a:gd name="T12" fmla="*/ 43301105 w 253"/>
              <a:gd name="T13" fmla="*/ 25683424 h 246"/>
              <a:gd name="T14" fmla="*/ 44538352 w 253"/>
              <a:gd name="T15" fmla="*/ 30328237 h 246"/>
              <a:gd name="T16" fmla="*/ 44538352 w 253"/>
              <a:gd name="T17" fmla="*/ 34973050 h 246"/>
              <a:gd name="T18" fmla="*/ 42947546 w 253"/>
              <a:gd name="T19" fmla="*/ 41257087 h 246"/>
              <a:gd name="T20" fmla="*/ 40473053 w 253"/>
              <a:gd name="T21" fmla="*/ 47541646 h 246"/>
              <a:gd name="T22" fmla="*/ 36938303 w 253"/>
              <a:gd name="T23" fmla="*/ 53279448 h 246"/>
              <a:gd name="T24" fmla="*/ 32519866 w 253"/>
              <a:gd name="T25" fmla="*/ 58470495 h 246"/>
              <a:gd name="T26" fmla="*/ 27747870 w 253"/>
              <a:gd name="T27" fmla="*/ 62569075 h 246"/>
              <a:gd name="T28" fmla="*/ 22799304 w 253"/>
              <a:gd name="T29" fmla="*/ 65574666 h 246"/>
              <a:gd name="T30" fmla="*/ 17673749 w 253"/>
              <a:gd name="T31" fmla="*/ 66940510 h 246"/>
              <a:gd name="T32" fmla="*/ 13078742 w 253"/>
              <a:gd name="T33" fmla="*/ 66940510 h 246"/>
              <a:gd name="T34" fmla="*/ 9367003 w 253"/>
              <a:gd name="T35" fmla="*/ 65574666 h 246"/>
              <a:gd name="T36" fmla="*/ 5832253 w 253"/>
              <a:gd name="T37" fmla="*/ 63934920 h 246"/>
              <a:gd name="T38" fmla="*/ 1943944 w 253"/>
              <a:gd name="T39" fmla="*/ 62569075 h 246"/>
              <a:gd name="T40" fmla="*/ 530128 w 253"/>
              <a:gd name="T41" fmla="*/ 59836863 h 246"/>
              <a:gd name="T42" fmla="*/ 1767375 w 253"/>
              <a:gd name="T43" fmla="*/ 56011661 h 246"/>
              <a:gd name="T44" fmla="*/ 3888309 w 253"/>
              <a:gd name="T45" fmla="*/ 53552304 h 246"/>
              <a:gd name="T46" fmla="*/ 6539371 w 253"/>
              <a:gd name="T47" fmla="*/ 52186459 h 246"/>
              <a:gd name="T48" fmla="*/ 8836874 w 253"/>
              <a:gd name="T49" fmla="*/ 53825682 h 246"/>
              <a:gd name="T50" fmla="*/ 10604249 w 253"/>
              <a:gd name="T51" fmla="*/ 56557894 h 246"/>
              <a:gd name="T52" fmla="*/ 12018065 w 253"/>
              <a:gd name="T53" fmla="*/ 54918671 h 246"/>
              <a:gd name="T54" fmla="*/ 13255312 w 253"/>
              <a:gd name="T55" fmla="*/ 51913081 h 246"/>
              <a:gd name="T56" fmla="*/ 14846117 w 253"/>
              <a:gd name="T57" fmla="*/ 49180869 h 246"/>
              <a:gd name="T58" fmla="*/ 16083364 w 253"/>
              <a:gd name="T59" fmla="*/ 49454247 h 246"/>
              <a:gd name="T60" fmla="*/ 17320610 w 253"/>
              <a:gd name="T61" fmla="*/ 48907490 h 246"/>
              <a:gd name="T62" fmla="*/ 18734426 w 253"/>
              <a:gd name="T63" fmla="*/ 48634635 h 246"/>
              <a:gd name="T64" fmla="*/ 21208499 w 253"/>
              <a:gd name="T65" fmla="*/ 47541646 h 246"/>
              <a:gd name="T66" fmla="*/ 26334054 w 253"/>
              <a:gd name="T67" fmla="*/ 44809433 h 246"/>
              <a:gd name="T68" fmla="*/ 31636179 w 253"/>
              <a:gd name="T69" fmla="*/ 40164620 h 246"/>
              <a:gd name="T70" fmla="*/ 34817369 w 253"/>
              <a:gd name="T71" fmla="*/ 36885651 h 246"/>
              <a:gd name="T72" fmla="*/ 37115293 w 253"/>
              <a:gd name="T73" fmla="*/ 33607206 h 246"/>
              <a:gd name="T74" fmla="*/ 38529109 w 253"/>
              <a:gd name="T75" fmla="*/ 30328237 h 246"/>
              <a:gd name="T76" fmla="*/ 38705678 w 253"/>
              <a:gd name="T77" fmla="*/ 26776413 h 246"/>
              <a:gd name="T78" fmla="*/ 37821991 w 253"/>
              <a:gd name="T79" fmla="*/ 24044201 h 246"/>
              <a:gd name="T80" fmla="*/ 37115293 w 253"/>
              <a:gd name="T81" fmla="*/ 21858222 h 246"/>
              <a:gd name="T82" fmla="*/ 36584744 w 253"/>
              <a:gd name="T83" fmla="*/ 19672243 h 246"/>
              <a:gd name="T84" fmla="*/ 35524488 w 253"/>
              <a:gd name="T85" fmla="*/ 18306398 h 246"/>
              <a:gd name="T86" fmla="*/ 33757113 w 253"/>
              <a:gd name="T87" fmla="*/ 17759642 h 246"/>
              <a:gd name="T88" fmla="*/ 32519866 w 253"/>
              <a:gd name="T89" fmla="*/ 16666652 h 246"/>
              <a:gd name="T90" fmla="*/ 31813168 w 253"/>
              <a:gd name="T91" fmla="*/ 14754051 h 246"/>
              <a:gd name="T92" fmla="*/ 24743249 w 253"/>
              <a:gd name="T93" fmla="*/ 13388207 h 246"/>
              <a:gd name="T94" fmla="*/ 24036551 w 253"/>
              <a:gd name="T95" fmla="*/ 12021839 h 246"/>
              <a:gd name="T96" fmla="*/ 24036551 w 253"/>
              <a:gd name="T97" fmla="*/ 9836383 h 246"/>
              <a:gd name="T98" fmla="*/ 24743249 w 253"/>
              <a:gd name="T99" fmla="*/ 4918191 h 246"/>
              <a:gd name="T100" fmla="*/ 19441124 w 253"/>
              <a:gd name="T101" fmla="*/ 3005590 h 246"/>
              <a:gd name="T102" fmla="*/ 17143621 w 253"/>
              <a:gd name="T103" fmla="*/ 3278969 h 246"/>
              <a:gd name="T104" fmla="*/ 15199676 w 253"/>
              <a:gd name="T105" fmla="*/ 4918191 h 246"/>
              <a:gd name="T106" fmla="*/ 18380867 w 253"/>
              <a:gd name="T107" fmla="*/ 1366368 h 246"/>
              <a:gd name="T108" fmla="*/ 19971673 w 253"/>
              <a:gd name="T109" fmla="*/ 273378 h 246"/>
              <a:gd name="T110" fmla="*/ 22445745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79" name="Freeform 281">
            <a:extLst>
              <a:ext uri="{FF2B5EF4-FFF2-40B4-BE49-F238E27FC236}">
                <a16:creationId xmlns:a16="http://schemas.microsoft.com/office/drawing/2014/main" id="{E10CDA67-F6E0-4929-ABF2-C0827DBA5A1E}"/>
              </a:ext>
            </a:extLst>
          </p:cNvPr>
          <p:cNvSpPr>
            <a:spLocks/>
          </p:cNvSpPr>
          <p:nvPr>
            <p:custDataLst>
              <p:tags r:id="rId208"/>
            </p:custDataLst>
          </p:nvPr>
        </p:nvSpPr>
        <p:spPr bwMode="auto">
          <a:xfrm>
            <a:off x="8163061" y="3866001"/>
            <a:ext cx="87735" cy="154495"/>
          </a:xfrm>
          <a:custGeom>
            <a:avLst/>
            <a:gdLst>
              <a:gd name="T0" fmla="*/ 8315798 w 141"/>
              <a:gd name="T1" fmla="*/ 62175430 h 228"/>
              <a:gd name="T2" fmla="*/ 7301599 w 141"/>
              <a:gd name="T3" fmla="*/ 59993652 h 228"/>
              <a:gd name="T4" fmla="*/ 5881631 w 141"/>
              <a:gd name="T5" fmla="*/ 56721509 h 228"/>
              <a:gd name="T6" fmla="*/ 4462113 w 141"/>
              <a:gd name="T7" fmla="*/ 52903660 h 228"/>
              <a:gd name="T8" fmla="*/ 3245255 w 141"/>
              <a:gd name="T9" fmla="*/ 48540627 h 228"/>
              <a:gd name="T10" fmla="*/ 2028397 w 141"/>
              <a:gd name="T11" fmla="*/ 44450187 h 228"/>
              <a:gd name="T12" fmla="*/ 1014199 w 141"/>
              <a:gd name="T13" fmla="*/ 40359746 h 228"/>
              <a:gd name="T14" fmla="*/ 405770 w 141"/>
              <a:gd name="T15" fmla="*/ 36814488 h 228"/>
              <a:gd name="T16" fmla="*/ 0 w 141"/>
              <a:gd name="T17" fmla="*/ 33541823 h 228"/>
              <a:gd name="T18" fmla="*/ 405770 w 141"/>
              <a:gd name="T19" fmla="*/ 28360493 h 228"/>
              <a:gd name="T20" fmla="*/ 811089 w 141"/>
              <a:gd name="T21" fmla="*/ 23724869 h 228"/>
              <a:gd name="T22" fmla="*/ 1216858 w 141"/>
              <a:gd name="T23" fmla="*/ 19088723 h 228"/>
              <a:gd name="T24" fmla="*/ 1825287 w 141"/>
              <a:gd name="T25" fmla="*/ 14998283 h 228"/>
              <a:gd name="T26" fmla="*/ 3650574 w 141"/>
              <a:gd name="T27" fmla="*/ 7635698 h 228"/>
              <a:gd name="T28" fmla="*/ 5678972 w 141"/>
              <a:gd name="T29" fmla="*/ 0 h 228"/>
              <a:gd name="T30" fmla="*/ 9126887 w 141"/>
              <a:gd name="T31" fmla="*/ 4363032 h 228"/>
              <a:gd name="T32" fmla="*/ 12574801 w 141"/>
              <a:gd name="T33" fmla="*/ 7635698 h 228"/>
              <a:gd name="T34" fmla="*/ 15414287 w 141"/>
              <a:gd name="T35" fmla="*/ 10090067 h 228"/>
              <a:gd name="T36" fmla="*/ 18051113 w 141"/>
              <a:gd name="T37" fmla="*/ 13089619 h 228"/>
              <a:gd name="T38" fmla="*/ 19267972 w 141"/>
              <a:gd name="T39" fmla="*/ 14998283 h 228"/>
              <a:gd name="T40" fmla="*/ 20484830 w 141"/>
              <a:gd name="T41" fmla="*/ 17180060 h 228"/>
              <a:gd name="T42" fmla="*/ 21701688 w 141"/>
              <a:gd name="T43" fmla="*/ 20179612 h 228"/>
              <a:gd name="T44" fmla="*/ 23121206 w 141"/>
              <a:gd name="T45" fmla="*/ 23452278 h 228"/>
              <a:gd name="T46" fmla="*/ 24338514 w 141"/>
              <a:gd name="T47" fmla="*/ 27270127 h 228"/>
              <a:gd name="T48" fmla="*/ 25758032 w 141"/>
              <a:gd name="T49" fmla="*/ 31905751 h 228"/>
              <a:gd name="T50" fmla="*/ 26974890 w 141"/>
              <a:gd name="T51" fmla="*/ 37632263 h 228"/>
              <a:gd name="T52" fmla="*/ 28597518 w 141"/>
              <a:gd name="T53" fmla="*/ 43904481 h 228"/>
              <a:gd name="T54" fmla="*/ 28394858 w 141"/>
              <a:gd name="T55" fmla="*/ 46086259 h 228"/>
              <a:gd name="T56" fmla="*/ 27989089 w 141"/>
              <a:gd name="T57" fmla="*/ 48267514 h 228"/>
              <a:gd name="T58" fmla="*/ 27380660 w 141"/>
              <a:gd name="T59" fmla="*/ 50721882 h 228"/>
              <a:gd name="T60" fmla="*/ 26569121 w 141"/>
              <a:gd name="T61" fmla="*/ 52358476 h 228"/>
              <a:gd name="T62" fmla="*/ 25758032 w 141"/>
              <a:gd name="T63" fmla="*/ 54267140 h 228"/>
              <a:gd name="T64" fmla="*/ 24541174 w 141"/>
              <a:gd name="T65" fmla="*/ 55630620 h 228"/>
              <a:gd name="T66" fmla="*/ 23324316 w 141"/>
              <a:gd name="T67" fmla="*/ 56994100 h 228"/>
              <a:gd name="T68" fmla="*/ 21904348 w 141"/>
              <a:gd name="T69" fmla="*/ 58084989 h 228"/>
              <a:gd name="T70" fmla="*/ 20281720 w 141"/>
              <a:gd name="T71" fmla="*/ 59175878 h 228"/>
              <a:gd name="T72" fmla="*/ 18862202 w 141"/>
              <a:gd name="T73" fmla="*/ 59993652 h 228"/>
              <a:gd name="T74" fmla="*/ 17239574 w 141"/>
              <a:gd name="T75" fmla="*/ 60811949 h 228"/>
              <a:gd name="T76" fmla="*/ 15414287 w 141"/>
              <a:gd name="T77" fmla="*/ 61357133 h 228"/>
              <a:gd name="T78" fmla="*/ 11966372 w 141"/>
              <a:gd name="T79" fmla="*/ 61902838 h 228"/>
              <a:gd name="T80" fmla="*/ 8315798 w 141"/>
              <a:gd name="T81" fmla="*/ 62175430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nvGrpSpPr>
          <p:cNvPr id="780" name="Group 282">
            <a:extLst>
              <a:ext uri="{FF2B5EF4-FFF2-40B4-BE49-F238E27FC236}">
                <a16:creationId xmlns:a16="http://schemas.microsoft.com/office/drawing/2014/main" id="{8BC557FB-B135-4198-8AB1-BEC21C5E40E4}"/>
              </a:ext>
            </a:extLst>
          </p:cNvPr>
          <p:cNvGrpSpPr>
            <a:grpSpLocks/>
          </p:cNvGrpSpPr>
          <p:nvPr>
            <p:custDataLst>
              <p:tags r:id="rId209"/>
            </p:custDataLst>
          </p:nvPr>
        </p:nvGrpSpPr>
        <p:grpSpPr bwMode="auto">
          <a:xfrm>
            <a:off x="9471407" y="3510329"/>
            <a:ext cx="324787" cy="551214"/>
            <a:chOff x="5062" y="2305"/>
            <a:chExt cx="177" cy="269"/>
          </a:xfrm>
          <a:solidFill>
            <a:srgbClr val="0872A6"/>
          </a:solidFill>
        </p:grpSpPr>
        <p:sp>
          <p:nvSpPr>
            <p:cNvPr id="1025" name="Freeform 283">
              <a:extLst>
                <a:ext uri="{FF2B5EF4-FFF2-40B4-BE49-F238E27FC236}">
                  <a16:creationId xmlns:a16="http://schemas.microsoft.com/office/drawing/2014/main" id="{0B329EE0-B75D-49FB-BD95-B105653B5546}"/>
                </a:ext>
              </a:extLst>
            </p:cNvPr>
            <p:cNvSpPr>
              <a:spLocks/>
            </p:cNvSpPr>
            <p:nvPr/>
          </p:nvSpPr>
          <p:spPr bwMode="auto">
            <a:xfrm>
              <a:off x="5154" y="2449"/>
              <a:ext cx="19" cy="37"/>
            </a:xfrm>
            <a:custGeom>
              <a:avLst/>
              <a:gdLst>
                <a:gd name="T0" fmla="*/ 4 w 60"/>
                <a:gd name="T1" fmla="*/ 12 h 110"/>
                <a:gd name="T2" fmla="*/ 4 w 60"/>
                <a:gd name="T3" fmla="*/ 12 h 110"/>
                <a:gd name="T4" fmla="*/ 5 w 60"/>
                <a:gd name="T5" fmla="*/ 12 h 110"/>
                <a:gd name="T6" fmla="*/ 5 w 60"/>
                <a:gd name="T7" fmla="*/ 11 h 110"/>
                <a:gd name="T8" fmla="*/ 5 w 60"/>
                <a:gd name="T9" fmla="*/ 11 h 110"/>
                <a:gd name="T10" fmla="*/ 5 w 60"/>
                <a:gd name="T11" fmla="*/ 10 h 110"/>
                <a:gd name="T12" fmla="*/ 6 w 60"/>
                <a:gd name="T13" fmla="*/ 9 h 110"/>
                <a:gd name="T14" fmla="*/ 6 w 60"/>
                <a:gd name="T15" fmla="*/ 9 h 110"/>
                <a:gd name="T16" fmla="*/ 6 w 60"/>
                <a:gd name="T17" fmla="*/ 8 h 110"/>
                <a:gd name="T18" fmla="*/ 6 w 60"/>
                <a:gd name="T19" fmla="*/ 7 h 110"/>
                <a:gd name="T20" fmla="*/ 6 w 60"/>
                <a:gd name="T21" fmla="*/ 5 h 110"/>
                <a:gd name="T22" fmla="*/ 6 w 60"/>
                <a:gd name="T23" fmla="*/ 4 h 110"/>
                <a:gd name="T24" fmla="*/ 5 w 60"/>
                <a:gd name="T25" fmla="*/ 3 h 110"/>
                <a:gd name="T26" fmla="*/ 5 w 60"/>
                <a:gd name="T27" fmla="*/ 2 h 110"/>
                <a:gd name="T28" fmla="*/ 5 w 60"/>
                <a:gd name="T29" fmla="*/ 1 h 110"/>
                <a:gd name="T30" fmla="*/ 4 w 60"/>
                <a:gd name="T31" fmla="*/ 1 h 110"/>
                <a:gd name="T32" fmla="*/ 4 w 60"/>
                <a:gd name="T33" fmla="*/ 0 h 110"/>
                <a:gd name="T34" fmla="*/ 3 w 60"/>
                <a:gd name="T35" fmla="*/ 0 h 110"/>
                <a:gd name="T36" fmla="*/ 3 w 60"/>
                <a:gd name="T37" fmla="*/ 1 h 110"/>
                <a:gd name="T38" fmla="*/ 3 w 60"/>
                <a:gd name="T39" fmla="*/ 1 h 110"/>
                <a:gd name="T40" fmla="*/ 3 w 60"/>
                <a:gd name="T41" fmla="*/ 2 h 110"/>
                <a:gd name="T42" fmla="*/ 2 w 60"/>
                <a:gd name="T43" fmla="*/ 3 h 110"/>
                <a:gd name="T44" fmla="*/ 2 w 60"/>
                <a:gd name="T45" fmla="*/ 4 h 110"/>
                <a:gd name="T46" fmla="*/ 1 w 60"/>
                <a:gd name="T47" fmla="*/ 6 h 110"/>
                <a:gd name="T48" fmla="*/ 1 w 60"/>
                <a:gd name="T49" fmla="*/ 7 h 110"/>
                <a:gd name="T50" fmla="*/ 1 w 60"/>
                <a:gd name="T51" fmla="*/ 7 h 110"/>
                <a:gd name="T52" fmla="*/ 0 w 60"/>
                <a:gd name="T53" fmla="*/ 8 h 110"/>
                <a:gd name="T54" fmla="*/ 0 w 60"/>
                <a:gd name="T55" fmla="*/ 8 h 110"/>
                <a:gd name="T56" fmla="*/ 0 w 60"/>
                <a:gd name="T57" fmla="*/ 8 h 110"/>
                <a:gd name="T58" fmla="*/ 0 w 60"/>
                <a:gd name="T59" fmla="*/ 9 h 110"/>
                <a:gd name="T60" fmla="*/ 0 w 60"/>
                <a:gd name="T61" fmla="*/ 9 h 110"/>
                <a:gd name="T62" fmla="*/ 1 w 60"/>
                <a:gd name="T63" fmla="*/ 10 h 110"/>
                <a:gd name="T64" fmla="*/ 1 w 60"/>
                <a:gd name="T65" fmla="*/ 11 h 110"/>
                <a:gd name="T66" fmla="*/ 2 w 60"/>
                <a:gd name="T67" fmla="*/ 11 h 110"/>
                <a:gd name="T68" fmla="*/ 3 w 60"/>
                <a:gd name="T69" fmla="*/ 12 h 110"/>
                <a:gd name="T70" fmla="*/ 3 w 60"/>
                <a:gd name="T71" fmla="*/ 12 h 110"/>
                <a:gd name="T72" fmla="*/ 4 w 60"/>
                <a:gd name="T73" fmla="*/ 12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26" name="Freeform 284">
              <a:extLst>
                <a:ext uri="{FF2B5EF4-FFF2-40B4-BE49-F238E27FC236}">
                  <a16:creationId xmlns:a16="http://schemas.microsoft.com/office/drawing/2014/main" id="{AEDEBE0A-AA92-4671-8619-C424E2EEAF7C}"/>
                </a:ext>
              </a:extLst>
            </p:cNvPr>
            <p:cNvSpPr>
              <a:spLocks/>
            </p:cNvSpPr>
            <p:nvPr/>
          </p:nvSpPr>
          <p:spPr bwMode="auto">
            <a:xfrm>
              <a:off x="5189" y="2422"/>
              <a:ext cx="24" cy="25"/>
            </a:xfrm>
            <a:custGeom>
              <a:avLst/>
              <a:gdLst>
                <a:gd name="T0" fmla="*/ 0 w 72"/>
                <a:gd name="T1" fmla="*/ 1 h 75"/>
                <a:gd name="T2" fmla="*/ 1 w 72"/>
                <a:gd name="T3" fmla="*/ 2 h 75"/>
                <a:gd name="T4" fmla="*/ 2 w 72"/>
                <a:gd name="T5" fmla="*/ 3 h 75"/>
                <a:gd name="T6" fmla="*/ 3 w 72"/>
                <a:gd name="T7" fmla="*/ 4 h 75"/>
                <a:gd name="T8" fmla="*/ 3 w 72"/>
                <a:gd name="T9" fmla="*/ 4 h 75"/>
                <a:gd name="T10" fmla="*/ 4 w 72"/>
                <a:gd name="T11" fmla="*/ 5 h 75"/>
                <a:gd name="T12" fmla="*/ 5 w 72"/>
                <a:gd name="T13" fmla="*/ 6 h 75"/>
                <a:gd name="T14" fmla="*/ 5 w 72"/>
                <a:gd name="T15" fmla="*/ 7 h 75"/>
                <a:gd name="T16" fmla="*/ 5 w 72"/>
                <a:gd name="T17" fmla="*/ 8 h 75"/>
                <a:gd name="T18" fmla="*/ 8 w 72"/>
                <a:gd name="T19" fmla="*/ 8 h 75"/>
                <a:gd name="T20" fmla="*/ 7 w 72"/>
                <a:gd name="T21" fmla="*/ 6 h 75"/>
                <a:gd name="T22" fmla="*/ 7 w 72"/>
                <a:gd name="T23" fmla="*/ 4 h 75"/>
                <a:gd name="T24" fmla="*/ 7 w 72"/>
                <a:gd name="T25" fmla="*/ 3 h 75"/>
                <a:gd name="T26" fmla="*/ 7 w 72"/>
                <a:gd name="T27" fmla="*/ 2 h 75"/>
                <a:gd name="T28" fmla="*/ 7 w 72"/>
                <a:gd name="T29" fmla="*/ 1 h 75"/>
                <a:gd name="T30" fmla="*/ 8 w 72"/>
                <a:gd name="T31" fmla="*/ 0 h 75"/>
                <a:gd name="T32" fmla="*/ 6 w 72"/>
                <a:gd name="T33" fmla="*/ 0 h 75"/>
                <a:gd name="T34" fmla="*/ 4 w 72"/>
                <a:gd name="T35" fmla="*/ 0 h 75"/>
                <a:gd name="T36" fmla="*/ 2 w 72"/>
                <a:gd name="T37" fmla="*/ 0 h 75"/>
                <a:gd name="T38" fmla="*/ 1 w 72"/>
                <a:gd name="T39" fmla="*/ 0 h 75"/>
                <a:gd name="T40" fmla="*/ 1 w 72"/>
                <a:gd name="T41" fmla="*/ 1 h 75"/>
                <a:gd name="T42" fmla="*/ 1 w 72"/>
                <a:gd name="T43" fmla="*/ 1 h 75"/>
                <a:gd name="T44" fmla="*/ 0 w 72"/>
                <a:gd name="T45" fmla="*/ 1 h 75"/>
                <a:gd name="T46" fmla="*/ 0 w 72"/>
                <a:gd name="T47" fmla="*/ 1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27" name="Freeform 285">
              <a:extLst>
                <a:ext uri="{FF2B5EF4-FFF2-40B4-BE49-F238E27FC236}">
                  <a16:creationId xmlns:a16="http://schemas.microsoft.com/office/drawing/2014/main" id="{94AEB1D6-72B5-4544-AE61-5E37B4496ACE}"/>
                </a:ext>
              </a:extLst>
            </p:cNvPr>
            <p:cNvSpPr>
              <a:spLocks/>
            </p:cNvSpPr>
            <p:nvPr/>
          </p:nvSpPr>
          <p:spPr bwMode="auto">
            <a:xfrm>
              <a:off x="5160" y="2389"/>
              <a:ext cx="8" cy="16"/>
            </a:xfrm>
            <a:custGeom>
              <a:avLst/>
              <a:gdLst>
                <a:gd name="T0" fmla="*/ 2 w 15"/>
                <a:gd name="T1" fmla="*/ 5 h 49"/>
                <a:gd name="T2" fmla="*/ 2 w 15"/>
                <a:gd name="T3" fmla="*/ 4 h 49"/>
                <a:gd name="T4" fmla="*/ 2 w 15"/>
                <a:gd name="T5" fmla="*/ 2 h 49"/>
                <a:gd name="T6" fmla="*/ 2 w 15"/>
                <a:gd name="T7" fmla="*/ 1 h 49"/>
                <a:gd name="T8" fmla="*/ 1 w 15"/>
                <a:gd name="T9" fmla="*/ 1 h 49"/>
                <a:gd name="T10" fmla="*/ 1 w 15"/>
                <a:gd name="T11" fmla="*/ 0 h 49"/>
                <a:gd name="T12" fmla="*/ 1 w 15"/>
                <a:gd name="T13" fmla="*/ 0 h 49"/>
                <a:gd name="T14" fmla="*/ 0 w 15"/>
                <a:gd name="T15" fmla="*/ 1 h 49"/>
                <a:gd name="T16" fmla="*/ 0 w 15"/>
                <a:gd name="T17" fmla="*/ 2 h 49"/>
                <a:gd name="T18" fmla="*/ 0 w 15"/>
                <a:gd name="T19" fmla="*/ 3 h 49"/>
                <a:gd name="T20" fmla="*/ 0 w 15"/>
                <a:gd name="T21" fmla="*/ 3 h 49"/>
                <a:gd name="T22" fmla="*/ 0 w 15"/>
                <a:gd name="T23" fmla="*/ 4 h 49"/>
                <a:gd name="T24" fmla="*/ 0 w 15"/>
                <a:gd name="T25" fmla="*/ 5 h 49"/>
                <a:gd name="T26" fmla="*/ 1 w 15"/>
                <a:gd name="T27" fmla="*/ 5 h 49"/>
                <a:gd name="T28" fmla="*/ 1 w 15"/>
                <a:gd name="T29" fmla="*/ 5 h 49"/>
                <a:gd name="T30" fmla="*/ 1 w 15"/>
                <a:gd name="T31" fmla="*/ 5 h 49"/>
                <a:gd name="T32" fmla="*/ 2 w 15"/>
                <a:gd name="T33" fmla="*/ 5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28" name="Freeform 287">
              <a:extLst>
                <a:ext uri="{FF2B5EF4-FFF2-40B4-BE49-F238E27FC236}">
                  <a16:creationId xmlns:a16="http://schemas.microsoft.com/office/drawing/2014/main" id="{CF6D1FFD-70B6-4204-BA89-D9AE75FA6C3A}"/>
                </a:ext>
              </a:extLst>
            </p:cNvPr>
            <p:cNvSpPr>
              <a:spLocks/>
            </p:cNvSpPr>
            <p:nvPr/>
          </p:nvSpPr>
          <p:spPr bwMode="auto">
            <a:xfrm>
              <a:off x="5185" y="2465"/>
              <a:ext cx="17" cy="10"/>
            </a:xfrm>
            <a:custGeom>
              <a:avLst/>
              <a:gdLst>
                <a:gd name="T0" fmla="*/ 0 w 39"/>
                <a:gd name="T1" fmla="*/ 0 h 31"/>
                <a:gd name="T2" fmla="*/ 0 w 39"/>
                <a:gd name="T3" fmla="*/ 1 h 31"/>
                <a:gd name="T4" fmla="*/ 1 w 39"/>
                <a:gd name="T5" fmla="*/ 1 h 31"/>
                <a:gd name="T6" fmla="*/ 1 w 39"/>
                <a:gd name="T7" fmla="*/ 2 h 31"/>
                <a:gd name="T8" fmla="*/ 2 w 39"/>
                <a:gd name="T9" fmla="*/ 2 h 31"/>
                <a:gd name="T10" fmla="*/ 3 w 39"/>
                <a:gd name="T11" fmla="*/ 3 h 31"/>
                <a:gd name="T12" fmla="*/ 3 w 39"/>
                <a:gd name="T13" fmla="*/ 3 h 31"/>
                <a:gd name="T14" fmla="*/ 4 w 39"/>
                <a:gd name="T15" fmla="*/ 3 h 31"/>
                <a:gd name="T16" fmla="*/ 4 w 39"/>
                <a:gd name="T17" fmla="*/ 3 h 31"/>
                <a:gd name="T18" fmla="*/ 4 w 39"/>
                <a:gd name="T19" fmla="*/ 2 h 31"/>
                <a:gd name="T20" fmla="*/ 3 w 39"/>
                <a:gd name="T21" fmla="*/ 2 h 31"/>
                <a:gd name="T22" fmla="*/ 2 w 39"/>
                <a:gd name="T23" fmla="*/ 1 h 31"/>
                <a:gd name="T24" fmla="*/ 1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29" name="Freeform 288">
              <a:extLst>
                <a:ext uri="{FF2B5EF4-FFF2-40B4-BE49-F238E27FC236}">
                  <a16:creationId xmlns:a16="http://schemas.microsoft.com/office/drawing/2014/main" id="{7FAB4B92-E385-4D71-92F5-A6690D145FBF}"/>
                </a:ext>
              </a:extLst>
            </p:cNvPr>
            <p:cNvSpPr>
              <a:spLocks/>
            </p:cNvSpPr>
            <p:nvPr/>
          </p:nvSpPr>
          <p:spPr bwMode="auto">
            <a:xfrm>
              <a:off x="5172" y="2410"/>
              <a:ext cx="10" cy="6"/>
            </a:xfrm>
            <a:custGeom>
              <a:avLst/>
              <a:gdLst>
                <a:gd name="T0" fmla="*/ 0 w 34"/>
                <a:gd name="T1" fmla="*/ 0 h 19"/>
                <a:gd name="T2" fmla="*/ 3 w 34"/>
                <a:gd name="T3" fmla="*/ 2 h 19"/>
                <a:gd name="T4" fmla="*/ 3 w 34"/>
                <a:gd name="T5" fmla="*/ 0 h 19"/>
                <a:gd name="T6" fmla="*/ 2 w 34"/>
                <a:gd name="T7" fmla="*/ 0 h 19"/>
                <a:gd name="T8" fmla="*/ 1 w 34"/>
                <a:gd name="T9" fmla="*/ 0 h 19"/>
                <a:gd name="T10" fmla="*/ 1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9">
                  <a:moveTo>
                    <a:pt x="0" y="0"/>
                  </a:moveTo>
                  <a:lnTo>
                    <a:pt x="34" y="19"/>
                  </a:lnTo>
                  <a:lnTo>
                    <a:pt x="34" y="0"/>
                  </a:lnTo>
                  <a:lnTo>
                    <a:pt x="24" y="0"/>
                  </a:lnTo>
                  <a:lnTo>
                    <a:pt x="14" y="0"/>
                  </a:lnTo>
                  <a:lnTo>
                    <a:pt x="7" y="0"/>
                  </a:lnTo>
                  <a:lnTo>
                    <a:pt x="0"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30" name="Freeform 289">
              <a:extLst>
                <a:ext uri="{FF2B5EF4-FFF2-40B4-BE49-F238E27FC236}">
                  <a16:creationId xmlns:a16="http://schemas.microsoft.com/office/drawing/2014/main" id="{AFEED8ED-965A-4163-80A1-D8A4C75DC26A}"/>
                </a:ext>
              </a:extLst>
            </p:cNvPr>
            <p:cNvSpPr>
              <a:spLocks/>
            </p:cNvSpPr>
            <p:nvPr/>
          </p:nvSpPr>
          <p:spPr bwMode="auto">
            <a:xfrm>
              <a:off x="5180" y="2471"/>
              <a:ext cx="6" cy="4"/>
            </a:xfrm>
            <a:custGeom>
              <a:avLst/>
              <a:gdLst>
                <a:gd name="T0" fmla="*/ 0 w 19"/>
                <a:gd name="T1" fmla="*/ 0 h 12"/>
                <a:gd name="T2" fmla="*/ 2 w 19"/>
                <a:gd name="T3" fmla="*/ 1 h 12"/>
                <a:gd name="T4" fmla="*/ 1 w 19"/>
                <a:gd name="T5" fmla="*/ 1 h 12"/>
                <a:gd name="T6" fmla="*/ 1 w 19"/>
                <a:gd name="T7" fmla="*/ 1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0" y="0"/>
                  </a:moveTo>
                  <a:lnTo>
                    <a:pt x="19" y="12"/>
                  </a:lnTo>
                  <a:lnTo>
                    <a:pt x="13" y="6"/>
                  </a:lnTo>
                  <a:lnTo>
                    <a:pt x="6" y="6"/>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31" name="Freeform 291">
              <a:extLst>
                <a:ext uri="{FF2B5EF4-FFF2-40B4-BE49-F238E27FC236}">
                  <a16:creationId xmlns:a16="http://schemas.microsoft.com/office/drawing/2014/main" id="{1430B33C-2E99-48C1-AAD5-A1ACD9577D8D}"/>
                </a:ext>
              </a:extLst>
            </p:cNvPr>
            <p:cNvSpPr>
              <a:spLocks/>
            </p:cNvSpPr>
            <p:nvPr/>
          </p:nvSpPr>
          <p:spPr bwMode="auto">
            <a:xfrm>
              <a:off x="5154" y="2465"/>
              <a:ext cx="85" cy="86"/>
            </a:xfrm>
            <a:custGeom>
              <a:avLst/>
              <a:gdLst>
                <a:gd name="T0" fmla="*/ 1 w 259"/>
                <a:gd name="T1" fmla="*/ 20 h 259"/>
                <a:gd name="T2" fmla="*/ 0 w 259"/>
                <a:gd name="T3" fmla="*/ 18 h 259"/>
                <a:gd name="T4" fmla="*/ 0 w 259"/>
                <a:gd name="T5" fmla="*/ 16 h 259"/>
                <a:gd name="T6" fmla="*/ 1 w 259"/>
                <a:gd name="T7" fmla="*/ 14 h 259"/>
                <a:gd name="T8" fmla="*/ 2 w 259"/>
                <a:gd name="T9" fmla="*/ 14 h 259"/>
                <a:gd name="T10" fmla="*/ 4 w 259"/>
                <a:gd name="T11" fmla="*/ 13 h 259"/>
                <a:gd name="T12" fmla="*/ 5 w 259"/>
                <a:gd name="T13" fmla="*/ 11 h 259"/>
                <a:gd name="T14" fmla="*/ 7 w 259"/>
                <a:gd name="T15" fmla="*/ 10 h 259"/>
                <a:gd name="T16" fmla="*/ 7 w 259"/>
                <a:gd name="T17" fmla="*/ 10 h 259"/>
                <a:gd name="T18" fmla="*/ 9 w 259"/>
                <a:gd name="T19" fmla="*/ 10 h 259"/>
                <a:gd name="T20" fmla="*/ 10 w 259"/>
                <a:gd name="T21" fmla="*/ 10 h 259"/>
                <a:gd name="T22" fmla="*/ 11 w 259"/>
                <a:gd name="T23" fmla="*/ 12 h 259"/>
                <a:gd name="T24" fmla="*/ 11 w 259"/>
                <a:gd name="T25" fmla="*/ 12 h 259"/>
                <a:gd name="T26" fmla="*/ 13 w 259"/>
                <a:gd name="T27" fmla="*/ 12 h 259"/>
                <a:gd name="T28" fmla="*/ 14 w 259"/>
                <a:gd name="T29" fmla="*/ 12 h 259"/>
                <a:gd name="T30" fmla="*/ 16 w 259"/>
                <a:gd name="T31" fmla="*/ 10 h 259"/>
                <a:gd name="T32" fmla="*/ 17 w 259"/>
                <a:gd name="T33" fmla="*/ 9 h 259"/>
                <a:gd name="T34" fmla="*/ 19 w 259"/>
                <a:gd name="T35" fmla="*/ 6 h 259"/>
                <a:gd name="T36" fmla="*/ 20 w 259"/>
                <a:gd name="T37" fmla="*/ 2 h 259"/>
                <a:gd name="T38" fmla="*/ 21 w 259"/>
                <a:gd name="T39" fmla="*/ 0 h 259"/>
                <a:gd name="T40" fmla="*/ 22 w 259"/>
                <a:gd name="T41" fmla="*/ 1 h 259"/>
                <a:gd name="T42" fmla="*/ 23 w 259"/>
                <a:gd name="T43" fmla="*/ 2 h 259"/>
                <a:gd name="T44" fmla="*/ 24 w 259"/>
                <a:gd name="T45" fmla="*/ 4 h 259"/>
                <a:gd name="T46" fmla="*/ 24 w 259"/>
                <a:gd name="T47" fmla="*/ 6 h 259"/>
                <a:gd name="T48" fmla="*/ 24 w 259"/>
                <a:gd name="T49" fmla="*/ 7 h 259"/>
                <a:gd name="T50" fmla="*/ 25 w 259"/>
                <a:gd name="T51" fmla="*/ 8 h 259"/>
                <a:gd name="T52" fmla="*/ 25 w 259"/>
                <a:gd name="T53" fmla="*/ 10 h 259"/>
                <a:gd name="T54" fmla="*/ 25 w 259"/>
                <a:gd name="T55" fmla="*/ 12 h 259"/>
                <a:gd name="T56" fmla="*/ 26 w 259"/>
                <a:gd name="T57" fmla="*/ 12 h 259"/>
                <a:gd name="T58" fmla="*/ 26 w 259"/>
                <a:gd name="T59" fmla="*/ 13 h 259"/>
                <a:gd name="T60" fmla="*/ 27 w 259"/>
                <a:gd name="T61" fmla="*/ 15 h 259"/>
                <a:gd name="T62" fmla="*/ 27 w 259"/>
                <a:gd name="T63" fmla="*/ 18 h 259"/>
                <a:gd name="T64" fmla="*/ 26 w 259"/>
                <a:gd name="T65" fmla="*/ 26 h 259"/>
                <a:gd name="T66" fmla="*/ 26 w 259"/>
                <a:gd name="T67" fmla="*/ 25 h 259"/>
                <a:gd name="T68" fmla="*/ 26 w 259"/>
                <a:gd name="T69" fmla="*/ 23 h 259"/>
                <a:gd name="T70" fmla="*/ 26 w 259"/>
                <a:gd name="T71" fmla="*/ 21 h 259"/>
                <a:gd name="T72" fmla="*/ 24 w 259"/>
                <a:gd name="T73" fmla="*/ 21 h 259"/>
                <a:gd name="T74" fmla="*/ 22 w 259"/>
                <a:gd name="T75" fmla="*/ 20 h 259"/>
                <a:gd name="T76" fmla="*/ 21 w 259"/>
                <a:gd name="T77" fmla="*/ 22 h 259"/>
                <a:gd name="T78" fmla="*/ 20 w 259"/>
                <a:gd name="T79" fmla="*/ 24 h 259"/>
                <a:gd name="T80" fmla="*/ 20 w 259"/>
                <a:gd name="T81" fmla="*/ 29 h 259"/>
                <a:gd name="T82" fmla="*/ 13 w 259"/>
                <a:gd name="T83" fmla="*/ 27 h 259"/>
                <a:gd name="T84" fmla="*/ 12 w 259"/>
                <a:gd name="T85" fmla="*/ 24 h 259"/>
                <a:gd name="T86" fmla="*/ 11 w 259"/>
                <a:gd name="T87" fmla="*/ 23 h 259"/>
                <a:gd name="T88" fmla="*/ 11 w 259"/>
                <a:gd name="T89" fmla="*/ 22 h 259"/>
                <a:gd name="T90" fmla="*/ 11 w 259"/>
                <a:gd name="T91" fmla="*/ 21 h 259"/>
                <a:gd name="T92" fmla="*/ 12 w 259"/>
                <a:gd name="T93" fmla="*/ 20 h 259"/>
                <a:gd name="T94" fmla="*/ 12 w 259"/>
                <a:gd name="T95" fmla="*/ 19 h 259"/>
                <a:gd name="T96" fmla="*/ 10 w 259"/>
                <a:gd name="T97" fmla="*/ 17 h 259"/>
                <a:gd name="T98" fmla="*/ 3 w 259"/>
                <a:gd name="T99" fmla="*/ 17 h 259"/>
                <a:gd name="T100" fmla="*/ 2 w 259"/>
                <a:gd name="T101" fmla="*/ 18 h 259"/>
                <a:gd name="T102" fmla="*/ 2 w 259"/>
                <a:gd name="T103" fmla="*/ 19 h 259"/>
                <a:gd name="T104" fmla="*/ 1 w 259"/>
                <a:gd name="T105" fmla="*/ 21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32" name="Freeform 292">
              <a:extLst>
                <a:ext uri="{FF2B5EF4-FFF2-40B4-BE49-F238E27FC236}">
                  <a16:creationId xmlns:a16="http://schemas.microsoft.com/office/drawing/2014/main" id="{ED76660F-857B-4D5C-90BE-9F49F3F6102B}"/>
                </a:ext>
              </a:extLst>
            </p:cNvPr>
            <p:cNvSpPr>
              <a:spLocks/>
            </p:cNvSpPr>
            <p:nvPr/>
          </p:nvSpPr>
          <p:spPr bwMode="auto">
            <a:xfrm>
              <a:off x="5104" y="2395"/>
              <a:ext cx="23" cy="31"/>
            </a:xfrm>
            <a:custGeom>
              <a:avLst/>
              <a:gdLst>
                <a:gd name="T0" fmla="*/ 7 w 72"/>
                <a:gd name="T1" fmla="*/ 5 h 92"/>
                <a:gd name="T2" fmla="*/ 7 w 72"/>
                <a:gd name="T3" fmla="*/ 10 h 92"/>
                <a:gd name="T4" fmla="*/ 7 w 72"/>
                <a:gd name="T5" fmla="*/ 10 h 92"/>
                <a:gd name="T6" fmla="*/ 6 w 72"/>
                <a:gd name="T7" fmla="*/ 9 h 92"/>
                <a:gd name="T8" fmla="*/ 5 w 72"/>
                <a:gd name="T9" fmla="*/ 8 h 92"/>
                <a:gd name="T10" fmla="*/ 5 w 72"/>
                <a:gd name="T11" fmla="*/ 8 h 92"/>
                <a:gd name="T12" fmla="*/ 4 w 72"/>
                <a:gd name="T13" fmla="*/ 7 h 92"/>
                <a:gd name="T14" fmla="*/ 3 w 72"/>
                <a:gd name="T15" fmla="*/ 5 h 92"/>
                <a:gd name="T16" fmla="*/ 3 w 72"/>
                <a:gd name="T17" fmla="*/ 4 h 92"/>
                <a:gd name="T18" fmla="*/ 2 w 72"/>
                <a:gd name="T19" fmla="*/ 3 h 92"/>
                <a:gd name="T20" fmla="*/ 1 w 72"/>
                <a:gd name="T21" fmla="*/ 1 h 92"/>
                <a:gd name="T22" fmla="*/ 0 w 72"/>
                <a:gd name="T23" fmla="*/ 0 h 92"/>
                <a:gd name="T24" fmla="*/ 3 w 72"/>
                <a:gd name="T25" fmla="*/ 1 h 92"/>
                <a:gd name="T26" fmla="*/ 4 w 72"/>
                <a:gd name="T27" fmla="*/ 2 h 92"/>
                <a:gd name="T28" fmla="*/ 5 w 72"/>
                <a:gd name="T29" fmla="*/ 3 h 92"/>
                <a:gd name="T30" fmla="*/ 6 w 72"/>
                <a:gd name="T31" fmla="*/ 3 h 92"/>
                <a:gd name="T32" fmla="*/ 7 w 72"/>
                <a:gd name="T33" fmla="*/ 4 h 92"/>
                <a:gd name="T34" fmla="*/ 7 w 72"/>
                <a:gd name="T35" fmla="*/ 5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33" name="Freeform 293">
              <a:extLst>
                <a:ext uri="{FF2B5EF4-FFF2-40B4-BE49-F238E27FC236}">
                  <a16:creationId xmlns:a16="http://schemas.microsoft.com/office/drawing/2014/main" id="{07A2F52F-8211-45C8-A1D5-07A3331DC890}"/>
                </a:ext>
              </a:extLst>
            </p:cNvPr>
            <p:cNvSpPr>
              <a:spLocks/>
            </p:cNvSpPr>
            <p:nvPr/>
          </p:nvSpPr>
          <p:spPr bwMode="auto">
            <a:xfrm>
              <a:off x="5142" y="2436"/>
              <a:ext cx="16" cy="21"/>
            </a:xfrm>
            <a:custGeom>
              <a:avLst/>
              <a:gdLst>
                <a:gd name="T0" fmla="*/ 1 w 46"/>
                <a:gd name="T1" fmla="*/ 1 h 62"/>
                <a:gd name="T2" fmla="*/ 2 w 46"/>
                <a:gd name="T3" fmla="*/ 1 h 62"/>
                <a:gd name="T4" fmla="*/ 4 w 46"/>
                <a:gd name="T5" fmla="*/ 0 h 62"/>
                <a:gd name="T6" fmla="*/ 5 w 46"/>
                <a:gd name="T7" fmla="*/ 0 h 62"/>
                <a:gd name="T8" fmla="*/ 6 w 46"/>
                <a:gd name="T9" fmla="*/ 0 h 62"/>
                <a:gd name="T10" fmla="*/ 6 w 46"/>
                <a:gd name="T11" fmla="*/ 1 h 62"/>
                <a:gd name="T12" fmla="*/ 6 w 46"/>
                <a:gd name="T13" fmla="*/ 2 h 62"/>
                <a:gd name="T14" fmla="*/ 6 w 46"/>
                <a:gd name="T15" fmla="*/ 3 h 62"/>
                <a:gd name="T16" fmla="*/ 6 w 46"/>
                <a:gd name="T17" fmla="*/ 4 h 62"/>
                <a:gd name="T18" fmla="*/ 6 w 46"/>
                <a:gd name="T19" fmla="*/ 5 h 62"/>
                <a:gd name="T20" fmla="*/ 5 w 46"/>
                <a:gd name="T21" fmla="*/ 6 h 62"/>
                <a:gd name="T22" fmla="*/ 5 w 46"/>
                <a:gd name="T23" fmla="*/ 6 h 62"/>
                <a:gd name="T24" fmla="*/ 5 w 46"/>
                <a:gd name="T25" fmla="*/ 7 h 62"/>
                <a:gd name="T26" fmla="*/ 4 w 46"/>
                <a:gd name="T27" fmla="*/ 7 h 62"/>
                <a:gd name="T28" fmla="*/ 4 w 46"/>
                <a:gd name="T29" fmla="*/ 7 h 62"/>
                <a:gd name="T30" fmla="*/ 3 w 46"/>
                <a:gd name="T31" fmla="*/ 7 h 62"/>
                <a:gd name="T32" fmla="*/ 3 w 46"/>
                <a:gd name="T33" fmla="*/ 7 h 62"/>
                <a:gd name="T34" fmla="*/ 2 w 46"/>
                <a:gd name="T35" fmla="*/ 7 h 62"/>
                <a:gd name="T36" fmla="*/ 2 w 46"/>
                <a:gd name="T37" fmla="*/ 6 h 62"/>
                <a:gd name="T38" fmla="*/ 1 w 46"/>
                <a:gd name="T39" fmla="*/ 6 h 62"/>
                <a:gd name="T40" fmla="*/ 1 w 46"/>
                <a:gd name="T41" fmla="*/ 6 h 62"/>
                <a:gd name="T42" fmla="*/ 1 w 46"/>
                <a:gd name="T43" fmla="*/ 5 h 62"/>
                <a:gd name="T44" fmla="*/ 0 w 46"/>
                <a:gd name="T45" fmla="*/ 5 h 62"/>
                <a:gd name="T46" fmla="*/ 0 w 46"/>
                <a:gd name="T47" fmla="*/ 4 h 62"/>
                <a:gd name="T48" fmla="*/ 0 w 46"/>
                <a:gd name="T49" fmla="*/ 3 h 62"/>
                <a:gd name="T50" fmla="*/ 0 w 46"/>
                <a:gd name="T51" fmla="*/ 2 h 62"/>
                <a:gd name="T52" fmla="*/ 0 w 46"/>
                <a:gd name="T53" fmla="*/ 1 h 62"/>
                <a:gd name="T54" fmla="*/ 1 w 46"/>
                <a:gd name="T55" fmla="*/ 1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34" name="Freeform 295">
              <a:extLst>
                <a:ext uri="{FF2B5EF4-FFF2-40B4-BE49-F238E27FC236}">
                  <a16:creationId xmlns:a16="http://schemas.microsoft.com/office/drawing/2014/main" id="{FA6F6FBA-83BC-4FEA-97D2-479CB0742B6C}"/>
                </a:ext>
              </a:extLst>
            </p:cNvPr>
            <p:cNvSpPr>
              <a:spLocks/>
            </p:cNvSpPr>
            <p:nvPr/>
          </p:nvSpPr>
          <p:spPr bwMode="auto">
            <a:xfrm>
              <a:off x="5189" y="2442"/>
              <a:ext cx="8" cy="13"/>
            </a:xfrm>
            <a:custGeom>
              <a:avLst/>
              <a:gdLst>
                <a:gd name="T0" fmla="*/ 2 w 26"/>
                <a:gd name="T1" fmla="*/ 4 h 38"/>
                <a:gd name="T2" fmla="*/ 2 w 26"/>
                <a:gd name="T3" fmla="*/ 0 h 38"/>
                <a:gd name="T4" fmla="*/ 2 w 26"/>
                <a:gd name="T5" fmla="*/ 0 h 38"/>
                <a:gd name="T6" fmla="*/ 1 w 26"/>
                <a:gd name="T7" fmla="*/ 0 h 38"/>
                <a:gd name="T8" fmla="*/ 1 w 26"/>
                <a:gd name="T9" fmla="*/ 1 h 38"/>
                <a:gd name="T10" fmla="*/ 0 w 26"/>
                <a:gd name="T11" fmla="*/ 1 h 38"/>
                <a:gd name="T12" fmla="*/ 2 w 26"/>
                <a:gd name="T13" fmla="*/ 3 h 38"/>
                <a:gd name="T14" fmla="*/ 2 w 26"/>
                <a:gd name="T15" fmla="*/ 4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35" name="Freeform 296">
              <a:extLst>
                <a:ext uri="{FF2B5EF4-FFF2-40B4-BE49-F238E27FC236}">
                  <a16:creationId xmlns:a16="http://schemas.microsoft.com/office/drawing/2014/main" id="{C0D209C6-8D47-4104-B348-FD505254B323}"/>
                </a:ext>
              </a:extLst>
            </p:cNvPr>
            <p:cNvSpPr>
              <a:spLocks/>
            </p:cNvSpPr>
            <p:nvPr/>
          </p:nvSpPr>
          <p:spPr bwMode="auto">
            <a:xfrm>
              <a:off x="5165" y="2420"/>
              <a:ext cx="10" cy="10"/>
            </a:xfrm>
            <a:custGeom>
              <a:avLst/>
              <a:gdLst>
                <a:gd name="T0" fmla="*/ 0 w 34"/>
                <a:gd name="T1" fmla="*/ 2 h 31"/>
                <a:gd name="T2" fmla="*/ 1 w 34"/>
                <a:gd name="T3" fmla="*/ 2 h 31"/>
                <a:gd name="T4" fmla="*/ 1 w 34"/>
                <a:gd name="T5" fmla="*/ 3 h 31"/>
                <a:gd name="T6" fmla="*/ 2 w 34"/>
                <a:gd name="T7" fmla="*/ 3 h 31"/>
                <a:gd name="T8" fmla="*/ 3 w 34"/>
                <a:gd name="T9" fmla="*/ 3 h 31"/>
                <a:gd name="T10" fmla="*/ 3 w 34"/>
                <a:gd name="T11" fmla="*/ 3 h 31"/>
                <a:gd name="T12" fmla="*/ 3 w 34"/>
                <a:gd name="T13" fmla="*/ 2 h 31"/>
                <a:gd name="T14" fmla="*/ 2 w 34"/>
                <a:gd name="T15" fmla="*/ 1 h 31"/>
                <a:gd name="T16" fmla="*/ 2 w 34"/>
                <a:gd name="T17" fmla="*/ 0 h 31"/>
                <a:gd name="T18" fmla="*/ 1 w 34"/>
                <a:gd name="T19" fmla="*/ 1 h 31"/>
                <a:gd name="T20" fmla="*/ 1 w 34"/>
                <a:gd name="T21" fmla="*/ 1 h 31"/>
                <a:gd name="T22" fmla="*/ 1 w 34"/>
                <a:gd name="T23" fmla="*/ 2 h 31"/>
                <a:gd name="T24" fmla="*/ 1 w 34"/>
                <a:gd name="T25" fmla="*/ 2 h 31"/>
                <a:gd name="T26" fmla="*/ 0 w 34"/>
                <a:gd name="T27" fmla="*/ 2 h 31"/>
                <a:gd name="T28" fmla="*/ 0 w 34"/>
                <a:gd name="T29" fmla="*/ 2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36" name="Freeform 297">
              <a:extLst>
                <a:ext uri="{FF2B5EF4-FFF2-40B4-BE49-F238E27FC236}">
                  <a16:creationId xmlns:a16="http://schemas.microsoft.com/office/drawing/2014/main" id="{316CEED3-FD7C-42D1-9DFB-658B980461F0}"/>
                </a:ext>
              </a:extLst>
            </p:cNvPr>
            <p:cNvSpPr>
              <a:spLocks/>
            </p:cNvSpPr>
            <p:nvPr/>
          </p:nvSpPr>
          <p:spPr bwMode="auto">
            <a:xfrm>
              <a:off x="5139" y="2418"/>
              <a:ext cx="6" cy="12"/>
            </a:xfrm>
            <a:custGeom>
              <a:avLst/>
              <a:gdLst>
                <a:gd name="T0" fmla="*/ 0 w 20"/>
                <a:gd name="T1" fmla="*/ 1 h 37"/>
                <a:gd name="T2" fmla="*/ 0 w 20"/>
                <a:gd name="T3" fmla="*/ 4 h 37"/>
                <a:gd name="T4" fmla="*/ 1 w 20"/>
                <a:gd name="T5" fmla="*/ 4 h 37"/>
                <a:gd name="T6" fmla="*/ 2 w 20"/>
                <a:gd name="T7" fmla="*/ 3 h 37"/>
                <a:gd name="T8" fmla="*/ 2 w 20"/>
                <a:gd name="T9" fmla="*/ 0 h 37"/>
                <a:gd name="T10" fmla="*/ 0 w 20"/>
                <a:gd name="T11" fmla="*/ 1 h 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37">
                  <a:moveTo>
                    <a:pt x="0" y="6"/>
                  </a:moveTo>
                  <a:lnTo>
                    <a:pt x="0" y="37"/>
                  </a:lnTo>
                  <a:lnTo>
                    <a:pt x="7" y="33"/>
                  </a:lnTo>
                  <a:lnTo>
                    <a:pt x="20" y="30"/>
                  </a:lnTo>
                  <a:lnTo>
                    <a:pt x="20" y="0"/>
                  </a:lnTo>
                  <a:lnTo>
                    <a:pt x="0" y="6"/>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37" name="Line 298">
              <a:extLst>
                <a:ext uri="{FF2B5EF4-FFF2-40B4-BE49-F238E27FC236}">
                  <a16:creationId xmlns:a16="http://schemas.microsoft.com/office/drawing/2014/main" id="{E867BE0A-01BB-4629-BCE3-092A2BB2B78B}"/>
                </a:ext>
              </a:extLst>
            </p:cNvPr>
            <p:cNvSpPr>
              <a:spLocks noChangeShapeType="1"/>
            </p:cNvSpPr>
            <p:nvPr/>
          </p:nvSpPr>
          <p:spPr bwMode="auto">
            <a:xfrm>
              <a:off x="5180" y="2449"/>
              <a:ext cx="1" cy="10"/>
            </a:xfrm>
            <a:prstGeom prst="line">
              <a:avLst/>
            </a:prstGeom>
            <a:grpFill/>
            <a:ln w="9525">
              <a:solidFill>
                <a:schemeClr val="bg1"/>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38" name="Freeform 299">
              <a:extLst>
                <a:ext uri="{FF2B5EF4-FFF2-40B4-BE49-F238E27FC236}">
                  <a16:creationId xmlns:a16="http://schemas.microsoft.com/office/drawing/2014/main" id="{C09F6A37-95CF-4269-995F-23D71733D18B}"/>
                </a:ext>
              </a:extLst>
            </p:cNvPr>
            <p:cNvSpPr>
              <a:spLocks/>
            </p:cNvSpPr>
            <p:nvPr/>
          </p:nvSpPr>
          <p:spPr bwMode="auto">
            <a:xfrm>
              <a:off x="5180" y="2453"/>
              <a:ext cx="5" cy="6"/>
            </a:xfrm>
            <a:custGeom>
              <a:avLst/>
              <a:gdLst>
                <a:gd name="T0" fmla="*/ 0 w 13"/>
                <a:gd name="T1" fmla="*/ 2 h 18"/>
                <a:gd name="T2" fmla="*/ 0 w 13"/>
                <a:gd name="T3" fmla="*/ 1 h 18"/>
                <a:gd name="T4" fmla="*/ 0 w 13"/>
                <a:gd name="T5" fmla="*/ 1 h 18"/>
                <a:gd name="T6" fmla="*/ 1 w 13"/>
                <a:gd name="T7" fmla="*/ 0 h 18"/>
                <a:gd name="T8" fmla="*/ 1 w 1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8">
                  <a:moveTo>
                    <a:pt x="0" y="18"/>
                  </a:moveTo>
                  <a:lnTo>
                    <a:pt x="1" y="13"/>
                  </a:lnTo>
                  <a:lnTo>
                    <a:pt x="3" y="9"/>
                  </a:lnTo>
                  <a:lnTo>
                    <a:pt x="7" y="4"/>
                  </a:lnTo>
                  <a:lnTo>
                    <a:pt x="13"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39" name="Line 300">
              <a:extLst>
                <a:ext uri="{FF2B5EF4-FFF2-40B4-BE49-F238E27FC236}">
                  <a16:creationId xmlns:a16="http://schemas.microsoft.com/office/drawing/2014/main" id="{55432397-2968-4122-B958-09573827487E}"/>
                </a:ext>
              </a:extLst>
            </p:cNvPr>
            <p:cNvSpPr>
              <a:spLocks noChangeShapeType="1"/>
            </p:cNvSpPr>
            <p:nvPr/>
          </p:nvSpPr>
          <p:spPr bwMode="auto">
            <a:xfrm flipH="1" flipV="1">
              <a:off x="5178" y="2447"/>
              <a:ext cx="7" cy="6"/>
            </a:xfrm>
            <a:prstGeom prst="line">
              <a:avLst/>
            </a:prstGeom>
            <a:grpFill/>
            <a:ln w="9525">
              <a:solidFill>
                <a:schemeClr val="bg1"/>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40" name="Freeform 301">
              <a:extLst>
                <a:ext uri="{FF2B5EF4-FFF2-40B4-BE49-F238E27FC236}">
                  <a16:creationId xmlns:a16="http://schemas.microsoft.com/office/drawing/2014/main" id="{E10EA447-881D-4955-97C1-2BC9785E8444}"/>
                </a:ext>
              </a:extLst>
            </p:cNvPr>
            <p:cNvSpPr>
              <a:spLocks/>
            </p:cNvSpPr>
            <p:nvPr/>
          </p:nvSpPr>
          <p:spPr bwMode="auto">
            <a:xfrm>
              <a:off x="5116" y="2564"/>
              <a:ext cx="9" cy="10"/>
            </a:xfrm>
            <a:custGeom>
              <a:avLst/>
              <a:gdLst>
                <a:gd name="T0" fmla="*/ 0 w 27"/>
                <a:gd name="T1" fmla="*/ 0 h 31"/>
                <a:gd name="T2" fmla="*/ 2 w 27"/>
                <a:gd name="T3" fmla="*/ 3 h 31"/>
                <a:gd name="T4" fmla="*/ 3 w 27"/>
                <a:gd name="T5" fmla="*/ 1 h 31"/>
                <a:gd name="T6" fmla="*/ 0 60000 65536"/>
                <a:gd name="T7" fmla="*/ 0 60000 65536"/>
                <a:gd name="T8" fmla="*/ 0 60000 65536"/>
              </a:gdLst>
              <a:ahLst/>
              <a:cxnLst>
                <a:cxn ang="T6">
                  <a:pos x="T0" y="T1"/>
                </a:cxn>
                <a:cxn ang="T7">
                  <a:pos x="T2" y="T3"/>
                </a:cxn>
                <a:cxn ang="T8">
                  <a:pos x="T4" y="T5"/>
                </a:cxn>
              </a:cxnLst>
              <a:rect l="0" t="0" r="r" b="b"/>
              <a:pathLst>
                <a:path w="27" h="31">
                  <a:moveTo>
                    <a:pt x="0" y="0"/>
                  </a:moveTo>
                  <a:lnTo>
                    <a:pt x="20" y="31"/>
                  </a:lnTo>
                  <a:lnTo>
                    <a:pt x="27" y="13"/>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41" name="Freeform 302">
              <a:extLst>
                <a:ext uri="{FF2B5EF4-FFF2-40B4-BE49-F238E27FC236}">
                  <a16:creationId xmlns:a16="http://schemas.microsoft.com/office/drawing/2014/main" id="{8984B430-549C-4F31-B3EE-BBA498C59245}"/>
                </a:ext>
              </a:extLst>
            </p:cNvPr>
            <p:cNvSpPr>
              <a:spLocks/>
            </p:cNvSpPr>
            <p:nvPr/>
          </p:nvSpPr>
          <p:spPr bwMode="auto">
            <a:xfrm>
              <a:off x="5119" y="2568"/>
              <a:ext cx="7" cy="1"/>
            </a:xfrm>
            <a:custGeom>
              <a:avLst/>
              <a:gdLst>
                <a:gd name="T0" fmla="*/ 2 w 20"/>
                <a:gd name="T1" fmla="*/ 0 h 1"/>
                <a:gd name="T2" fmla="*/ 1 w 20"/>
                <a:gd name="T3" fmla="*/ 0 h 1"/>
                <a:gd name="T4" fmla="*/ 0 w 20"/>
                <a:gd name="T5" fmla="*/ 0 h 1"/>
                <a:gd name="T6" fmla="*/ 0 60000 65536"/>
                <a:gd name="T7" fmla="*/ 0 60000 65536"/>
                <a:gd name="T8" fmla="*/ 0 60000 65536"/>
              </a:gdLst>
              <a:ahLst/>
              <a:cxnLst>
                <a:cxn ang="T6">
                  <a:pos x="T0" y="T1"/>
                </a:cxn>
                <a:cxn ang="T7">
                  <a:pos x="T2" y="T3"/>
                </a:cxn>
                <a:cxn ang="T8">
                  <a:pos x="T4" y="T5"/>
                </a:cxn>
              </a:cxnLst>
              <a:rect l="0" t="0" r="r" b="b"/>
              <a:pathLst>
                <a:path w="20" h="1">
                  <a:moveTo>
                    <a:pt x="20" y="0"/>
                  </a:moveTo>
                  <a:lnTo>
                    <a:pt x="10" y="0"/>
                  </a:lnTo>
                  <a:lnTo>
                    <a:pt x="0"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42" name="Freeform 303">
              <a:extLst>
                <a:ext uri="{FF2B5EF4-FFF2-40B4-BE49-F238E27FC236}">
                  <a16:creationId xmlns:a16="http://schemas.microsoft.com/office/drawing/2014/main" id="{5AEF8257-4A88-45E9-A042-AEA5A9881EC8}"/>
                </a:ext>
              </a:extLst>
            </p:cNvPr>
            <p:cNvSpPr>
              <a:spLocks/>
            </p:cNvSpPr>
            <p:nvPr/>
          </p:nvSpPr>
          <p:spPr bwMode="auto">
            <a:xfrm>
              <a:off x="5127" y="2557"/>
              <a:ext cx="16" cy="5"/>
            </a:xfrm>
            <a:custGeom>
              <a:avLst/>
              <a:gdLst>
                <a:gd name="T0" fmla="*/ 0 w 34"/>
                <a:gd name="T1" fmla="*/ 2 h 13"/>
                <a:gd name="T2" fmla="*/ 1 w 34"/>
                <a:gd name="T3" fmla="*/ 2 h 13"/>
                <a:gd name="T4" fmla="*/ 1 w 34"/>
                <a:gd name="T5" fmla="*/ 2 h 13"/>
                <a:gd name="T6" fmla="*/ 2 w 34"/>
                <a:gd name="T7" fmla="*/ 2 h 13"/>
                <a:gd name="T8" fmla="*/ 2 w 34"/>
                <a:gd name="T9" fmla="*/ 1 h 13"/>
                <a:gd name="T10" fmla="*/ 4 w 34"/>
                <a:gd name="T11" fmla="*/ 0 h 13"/>
                <a:gd name="T12" fmla="*/ 4 w 34"/>
                <a:gd name="T13" fmla="*/ 0 h 13"/>
                <a:gd name="T14" fmla="*/ 3 w 34"/>
                <a:gd name="T15" fmla="*/ 0 h 13"/>
                <a:gd name="T16" fmla="*/ 2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43" name="Freeform 304">
              <a:extLst>
                <a:ext uri="{FF2B5EF4-FFF2-40B4-BE49-F238E27FC236}">
                  <a16:creationId xmlns:a16="http://schemas.microsoft.com/office/drawing/2014/main" id="{246711DA-7AEF-4388-9929-A037E0AE000B}"/>
                </a:ext>
              </a:extLst>
            </p:cNvPr>
            <p:cNvSpPr>
              <a:spLocks/>
            </p:cNvSpPr>
            <p:nvPr/>
          </p:nvSpPr>
          <p:spPr bwMode="auto">
            <a:xfrm>
              <a:off x="5127" y="2547"/>
              <a:ext cx="16" cy="6"/>
            </a:xfrm>
            <a:custGeom>
              <a:avLst/>
              <a:gdLst>
                <a:gd name="T0" fmla="*/ 4 w 34"/>
                <a:gd name="T1" fmla="*/ 2 h 18"/>
                <a:gd name="T2" fmla="*/ 4 w 34"/>
                <a:gd name="T3" fmla="*/ 0 h 18"/>
                <a:gd name="T4" fmla="*/ 4 w 34"/>
                <a:gd name="T5" fmla="*/ 0 h 18"/>
                <a:gd name="T6" fmla="*/ 2 w 34"/>
                <a:gd name="T7" fmla="*/ 0 h 18"/>
                <a:gd name="T8" fmla="*/ 1 w 34"/>
                <a:gd name="T9" fmla="*/ 0 h 18"/>
                <a:gd name="T10" fmla="*/ 0 w 34"/>
                <a:gd name="T11" fmla="*/ 0 h 18"/>
                <a:gd name="T12" fmla="*/ 4 w 34"/>
                <a:gd name="T13" fmla="*/ 2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8">
                  <a:moveTo>
                    <a:pt x="34" y="18"/>
                  </a:moveTo>
                  <a:lnTo>
                    <a:pt x="34" y="0"/>
                  </a:lnTo>
                  <a:lnTo>
                    <a:pt x="28" y="0"/>
                  </a:lnTo>
                  <a:lnTo>
                    <a:pt x="20" y="0"/>
                  </a:lnTo>
                  <a:lnTo>
                    <a:pt x="10" y="0"/>
                  </a:lnTo>
                  <a:lnTo>
                    <a:pt x="0" y="0"/>
                  </a:lnTo>
                  <a:lnTo>
                    <a:pt x="34" y="18"/>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44" name="Freeform 305">
              <a:extLst>
                <a:ext uri="{FF2B5EF4-FFF2-40B4-BE49-F238E27FC236}">
                  <a16:creationId xmlns:a16="http://schemas.microsoft.com/office/drawing/2014/main" id="{51482BC6-F36B-46E4-A8C3-F805825E8E17}"/>
                </a:ext>
              </a:extLst>
            </p:cNvPr>
            <p:cNvSpPr>
              <a:spLocks/>
            </p:cNvSpPr>
            <p:nvPr/>
          </p:nvSpPr>
          <p:spPr bwMode="auto">
            <a:xfrm>
              <a:off x="5141" y="2535"/>
              <a:ext cx="17" cy="8"/>
            </a:xfrm>
            <a:custGeom>
              <a:avLst/>
              <a:gdLst>
                <a:gd name="T0" fmla="*/ 6 w 59"/>
                <a:gd name="T1" fmla="*/ 3 h 25"/>
                <a:gd name="T2" fmla="*/ 6 w 59"/>
                <a:gd name="T3" fmla="*/ 1 h 25"/>
                <a:gd name="T4" fmla="*/ 7 w 59"/>
                <a:gd name="T5" fmla="*/ 0 h 25"/>
                <a:gd name="T6" fmla="*/ 5 w 59"/>
                <a:gd name="T7" fmla="*/ 0 h 25"/>
                <a:gd name="T8" fmla="*/ 3 w 59"/>
                <a:gd name="T9" fmla="*/ 0 h 25"/>
                <a:gd name="T10" fmla="*/ 2 w 59"/>
                <a:gd name="T11" fmla="*/ 0 h 25"/>
                <a:gd name="T12" fmla="*/ 1 w 59"/>
                <a:gd name="T13" fmla="*/ 0 h 25"/>
                <a:gd name="T14" fmla="*/ 1 w 59"/>
                <a:gd name="T15" fmla="*/ 0 h 25"/>
                <a:gd name="T16" fmla="*/ 0 w 59"/>
                <a:gd name="T17" fmla="*/ 1 h 25"/>
                <a:gd name="T18" fmla="*/ 1 w 59"/>
                <a:gd name="T19" fmla="*/ 1 h 25"/>
                <a:gd name="T20" fmla="*/ 3 w 59"/>
                <a:gd name="T21" fmla="*/ 2 h 25"/>
                <a:gd name="T22" fmla="*/ 4 w 59"/>
                <a:gd name="T23" fmla="*/ 2 h 25"/>
                <a:gd name="T24" fmla="*/ 4 w 59"/>
                <a:gd name="T25" fmla="*/ 3 h 25"/>
                <a:gd name="T26" fmla="*/ 5 w 59"/>
                <a:gd name="T27" fmla="*/ 3 h 25"/>
                <a:gd name="T28" fmla="*/ 6 w 59"/>
                <a:gd name="T29" fmla="*/ 3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45" name="Line 306">
              <a:extLst>
                <a:ext uri="{FF2B5EF4-FFF2-40B4-BE49-F238E27FC236}">
                  <a16:creationId xmlns:a16="http://schemas.microsoft.com/office/drawing/2014/main" id="{F31E6B67-C380-4E30-A76A-8D574D2561CB}"/>
                </a:ext>
              </a:extLst>
            </p:cNvPr>
            <p:cNvSpPr>
              <a:spLocks noChangeShapeType="1"/>
            </p:cNvSpPr>
            <p:nvPr/>
          </p:nvSpPr>
          <p:spPr bwMode="auto">
            <a:xfrm flipV="1">
              <a:off x="5191" y="2516"/>
              <a:ext cx="6" cy="2"/>
            </a:xfrm>
            <a:prstGeom prst="line">
              <a:avLst/>
            </a:prstGeom>
            <a:grpFill/>
            <a:ln w="9525">
              <a:solidFill>
                <a:schemeClr val="bg1"/>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46" name="Freeform 290">
              <a:extLst>
                <a:ext uri="{FF2B5EF4-FFF2-40B4-BE49-F238E27FC236}">
                  <a16:creationId xmlns:a16="http://schemas.microsoft.com/office/drawing/2014/main" id="{61AED105-73A6-47FA-AF1F-9EEF807C3101}"/>
                </a:ext>
              </a:extLst>
            </p:cNvPr>
            <p:cNvSpPr>
              <a:spLocks/>
            </p:cNvSpPr>
            <p:nvPr/>
          </p:nvSpPr>
          <p:spPr bwMode="auto">
            <a:xfrm>
              <a:off x="5062" y="2457"/>
              <a:ext cx="42" cy="60"/>
            </a:xfrm>
            <a:custGeom>
              <a:avLst/>
              <a:gdLst>
                <a:gd name="T0" fmla="*/ 13 w 126"/>
                <a:gd name="T1" fmla="*/ 0 h 166"/>
                <a:gd name="T2" fmla="*/ 13 w 126"/>
                <a:gd name="T3" fmla="*/ 1 h 166"/>
                <a:gd name="T4" fmla="*/ 13 w 126"/>
                <a:gd name="T5" fmla="*/ 1 h 166"/>
                <a:gd name="T6" fmla="*/ 14 w 126"/>
                <a:gd name="T7" fmla="*/ 1 h 166"/>
                <a:gd name="T8" fmla="*/ 14 w 126"/>
                <a:gd name="T9" fmla="*/ 2 h 166"/>
                <a:gd name="T10" fmla="*/ 14 w 126"/>
                <a:gd name="T11" fmla="*/ 2 h 166"/>
                <a:gd name="T12" fmla="*/ 14 w 126"/>
                <a:gd name="T13" fmla="*/ 3 h 166"/>
                <a:gd name="T14" fmla="*/ 14 w 126"/>
                <a:gd name="T15" fmla="*/ 4 h 166"/>
                <a:gd name="T16" fmla="*/ 13 w 126"/>
                <a:gd name="T17" fmla="*/ 5 h 166"/>
                <a:gd name="T18" fmla="*/ 13 w 126"/>
                <a:gd name="T19" fmla="*/ 6 h 166"/>
                <a:gd name="T20" fmla="*/ 12 w 126"/>
                <a:gd name="T21" fmla="*/ 7 h 166"/>
                <a:gd name="T22" fmla="*/ 10 w 126"/>
                <a:gd name="T23" fmla="*/ 9 h 166"/>
                <a:gd name="T24" fmla="*/ 8 w 126"/>
                <a:gd name="T25" fmla="*/ 11 h 166"/>
                <a:gd name="T26" fmla="*/ 6 w 126"/>
                <a:gd name="T27" fmla="*/ 14 h 166"/>
                <a:gd name="T28" fmla="*/ 4 w 126"/>
                <a:gd name="T29" fmla="*/ 16 h 166"/>
                <a:gd name="T30" fmla="*/ 3 w 126"/>
                <a:gd name="T31" fmla="*/ 17 h 166"/>
                <a:gd name="T32" fmla="*/ 2 w 126"/>
                <a:gd name="T33" fmla="*/ 17 h 166"/>
                <a:gd name="T34" fmla="*/ 1 w 126"/>
                <a:gd name="T35" fmla="*/ 18 h 166"/>
                <a:gd name="T36" fmla="*/ 0 w 126"/>
                <a:gd name="T37" fmla="*/ 18 h 166"/>
                <a:gd name="T38" fmla="*/ 0 w 126"/>
                <a:gd name="T39" fmla="*/ 18 h 166"/>
                <a:gd name="T40" fmla="*/ 0 w 126"/>
                <a:gd name="T41" fmla="*/ 17 h 166"/>
                <a:gd name="T42" fmla="*/ 0 w 126"/>
                <a:gd name="T43" fmla="*/ 16 h 166"/>
                <a:gd name="T44" fmla="*/ 0 w 126"/>
                <a:gd name="T45" fmla="*/ 15 h 166"/>
                <a:gd name="T46" fmla="*/ 0 w 126"/>
                <a:gd name="T47" fmla="*/ 14 h 166"/>
                <a:gd name="T48" fmla="*/ 1 w 126"/>
                <a:gd name="T49" fmla="*/ 14 h 166"/>
                <a:gd name="T50" fmla="*/ 1 w 126"/>
                <a:gd name="T51" fmla="*/ 14 h 166"/>
                <a:gd name="T52" fmla="*/ 2 w 126"/>
                <a:gd name="T53" fmla="*/ 13 h 166"/>
                <a:gd name="T54" fmla="*/ 3 w 126"/>
                <a:gd name="T55" fmla="*/ 13 h 166"/>
                <a:gd name="T56" fmla="*/ 4 w 126"/>
                <a:gd name="T57" fmla="*/ 12 h 166"/>
                <a:gd name="T58" fmla="*/ 4 w 126"/>
                <a:gd name="T59" fmla="*/ 11 h 166"/>
                <a:gd name="T60" fmla="*/ 5 w 126"/>
                <a:gd name="T61" fmla="*/ 11 h 166"/>
                <a:gd name="T62" fmla="*/ 6 w 126"/>
                <a:gd name="T63" fmla="*/ 10 h 166"/>
                <a:gd name="T64" fmla="*/ 6 w 126"/>
                <a:gd name="T65" fmla="*/ 9 h 166"/>
                <a:gd name="T66" fmla="*/ 7 w 126"/>
                <a:gd name="T67" fmla="*/ 7 h 166"/>
                <a:gd name="T68" fmla="*/ 8 w 126"/>
                <a:gd name="T69" fmla="*/ 6 h 166"/>
                <a:gd name="T70" fmla="*/ 9 w 126"/>
                <a:gd name="T71" fmla="*/ 4 h 166"/>
                <a:gd name="T72" fmla="*/ 10 w 126"/>
                <a:gd name="T73" fmla="*/ 3 h 166"/>
                <a:gd name="T74" fmla="*/ 10 w 126"/>
                <a:gd name="T75" fmla="*/ 2 h 166"/>
                <a:gd name="T76" fmla="*/ 11 w 126"/>
                <a:gd name="T77" fmla="*/ 1 h 166"/>
                <a:gd name="T78" fmla="*/ 12 w 126"/>
                <a:gd name="T79" fmla="*/ 1 h 166"/>
                <a:gd name="T80" fmla="*/ 13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47" name="Freeform 294">
              <a:extLst>
                <a:ext uri="{FF2B5EF4-FFF2-40B4-BE49-F238E27FC236}">
                  <a16:creationId xmlns:a16="http://schemas.microsoft.com/office/drawing/2014/main" id="{10DD5CB8-F0BA-42FE-AA9F-4575E88AA0AD}"/>
                </a:ext>
              </a:extLst>
            </p:cNvPr>
            <p:cNvSpPr>
              <a:spLocks/>
            </p:cNvSpPr>
            <p:nvPr/>
          </p:nvSpPr>
          <p:spPr bwMode="auto">
            <a:xfrm>
              <a:off x="5089" y="2305"/>
              <a:ext cx="50" cy="98"/>
            </a:xfrm>
            <a:custGeom>
              <a:avLst/>
              <a:gdLst>
                <a:gd name="T0" fmla="*/ 6 w 152"/>
                <a:gd name="T1" fmla="*/ 0 h 296"/>
                <a:gd name="T2" fmla="*/ 7 w 152"/>
                <a:gd name="T3" fmla="*/ 1 h 296"/>
                <a:gd name="T4" fmla="*/ 8 w 152"/>
                <a:gd name="T5" fmla="*/ 2 h 296"/>
                <a:gd name="T6" fmla="*/ 10 w 152"/>
                <a:gd name="T7" fmla="*/ 3 h 296"/>
                <a:gd name="T8" fmla="*/ 11 w 152"/>
                <a:gd name="T9" fmla="*/ 3 h 296"/>
                <a:gd name="T10" fmla="*/ 12 w 152"/>
                <a:gd name="T11" fmla="*/ 2 h 296"/>
                <a:gd name="T12" fmla="*/ 13 w 152"/>
                <a:gd name="T13" fmla="*/ 1 h 296"/>
                <a:gd name="T14" fmla="*/ 13 w 152"/>
                <a:gd name="T15" fmla="*/ 4 h 296"/>
                <a:gd name="T16" fmla="*/ 14 w 152"/>
                <a:gd name="T17" fmla="*/ 7 h 296"/>
                <a:gd name="T18" fmla="*/ 15 w 152"/>
                <a:gd name="T19" fmla="*/ 9 h 296"/>
                <a:gd name="T20" fmla="*/ 16 w 152"/>
                <a:gd name="T21" fmla="*/ 10 h 296"/>
                <a:gd name="T22" fmla="*/ 16 w 152"/>
                <a:gd name="T23" fmla="*/ 11 h 296"/>
                <a:gd name="T24" fmla="*/ 15 w 152"/>
                <a:gd name="T25" fmla="*/ 13 h 296"/>
                <a:gd name="T26" fmla="*/ 14 w 152"/>
                <a:gd name="T27" fmla="*/ 15 h 296"/>
                <a:gd name="T28" fmla="*/ 13 w 152"/>
                <a:gd name="T29" fmla="*/ 17 h 296"/>
                <a:gd name="T30" fmla="*/ 12 w 152"/>
                <a:gd name="T31" fmla="*/ 19 h 296"/>
                <a:gd name="T32" fmla="*/ 13 w 152"/>
                <a:gd name="T33" fmla="*/ 22 h 296"/>
                <a:gd name="T34" fmla="*/ 13 w 152"/>
                <a:gd name="T35" fmla="*/ 23 h 296"/>
                <a:gd name="T36" fmla="*/ 12 w 152"/>
                <a:gd name="T37" fmla="*/ 24 h 296"/>
                <a:gd name="T38" fmla="*/ 13 w 152"/>
                <a:gd name="T39" fmla="*/ 24 h 296"/>
                <a:gd name="T40" fmla="*/ 16 w 152"/>
                <a:gd name="T41" fmla="*/ 24 h 296"/>
                <a:gd name="T42" fmla="*/ 15 w 152"/>
                <a:gd name="T43" fmla="*/ 27 h 296"/>
                <a:gd name="T44" fmla="*/ 15 w 152"/>
                <a:gd name="T45" fmla="*/ 29 h 296"/>
                <a:gd name="T46" fmla="*/ 16 w 152"/>
                <a:gd name="T47" fmla="*/ 31 h 296"/>
                <a:gd name="T48" fmla="*/ 13 w 152"/>
                <a:gd name="T49" fmla="*/ 32 h 296"/>
                <a:gd name="T50" fmla="*/ 12 w 152"/>
                <a:gd name="T51" fmla="*/ 32 h 296"/>
                <a:gd name="T52" fmla="*/ 9 w 152"/>
                <a:gd name="T53" fmla="*/ 32 h 296"/>
                <a:gd name="T54" fmla="*/ 8 w 152"/>
                <a:gd name="T55" fmla="*/ 31 h 296"/>
                <a:gd name="T56" fmla="*/ 7 w 152"/>
                <a:gd name="T57" fmla="*/ 31 h 296"/>
                <a:gd name="T58" fmla="*/ 7 w 152"/>
                <a:gd name="T59" fmla="*/ 30 h 296"/>
                <a:gd name="T60" fmla="*/ 9 w 152"/>
                <a:gd name="T61" fmla="*/ 28 h 296"/>
                <a:gd name="T62" fmla="*/ 8 w 152"/>
                <a:gd name="T63" fmla="*/ 27 h 296"/>
                <a:gd name="T64" fmla="*/ 6 w 152"/>
                <a:gd name="T65" fmla="*/ 26 h 296"/>
                <a:gd name="T66" fmla="*/ 4 w 152"/>
                <a:gd name="T67" fmla="*/ 25 h 296"/>
                <a:gd name="T68" fmla="*/ 3 w 152"/>
                <a:gd name="T69" fmla="*/ 24 h 296"/>
                <a:gd name="T70" fmla="*/ 2 w 152"/>
                <a:gd name="T71" fmla="*/ 23 h 296"/>
                <a:gd name="T72" fmla="*/ 1 w 152"/>
                <a:gd name="T73" fmla="*/ 21 h 296"/>
                <a:gd name="T74" fmla="*/ 0 w 152"/>
                <a:gd name="T75" fmla="*/ 19 h 296"/>
                <a:gd name="T76" fmla="*/ 0 w 152"/>
                <a:gd name="T77" fmla="*/ 17 h 296"/>
                <a:gd name="T78" fmla="*/ 0 w 152"/>
                <a:gd name="T79" fmla="*/ 14 h 296"/>
                <a:gd name="T80" fmla="*/ 3 w 152"/>
                <a:gd name="T81" fmla="*/ 12 h 296"/>
                <a:gd name="T82" fmla="*/ 4 w 152"/>
                <a:gd name="T83" fmla="*/ 5 h 296"/>
                <a:gd name="T84" fmla="*/ 3 w 152"/>
                <a:gd name="T85" fmla="*/ 2 h 296"/>
                <a:gd name="T86" fmla="*/ 3 w 152"/>
                <a:gd name="T87" fmla="*/ 0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sp>
        <p:nvSpPr>
          <p:cNvPr id="781" name="Freeform 307">
            <a:extLst>
              <a:ext uri="{FF2B5EF4-FFF2-40B4-BE49-F238E27FC236}">
                <a16:creationId xmlns:a16="http://schemas.microsoft.com/office/drawing/2014/main" id="{D9AF0661-8CF1-46B8-91BB-1AEE75CE72E3}"/>
              </a:ext>
            </a:extLst>
          </p:cNvPr>
          <p:cNvSpPr>
            <a:spLocks/>
          </p:cNvSpPr>
          <p:nvPr>
            <p:custDataLst>
              <p:tags r:id="rId210"/>
            </p:custDataLst>
          </p:nvPr>
        </p:nvSpPr>
        <p:spPr bwMode="auto">
          <a:xfrm>
            <a:off x="9951181" y="4555130"/>
            <a:ext cx="18800" cy="71148"/>
          </a:xfrm>
          <a:custGeom>
            <a:avLst/>
            <a:gdLst>
              <a:gd name="T0" fmla="*/ 0 w 33"/>
              <a:gd name="T1" fmla="*/ 71796441 h 43"/>
              <a:gd name="T2" fmla="*/ 187476 w 33"/>
              <a:gd name="T3" fmla="*/ 56769880 h 43"/>
              <a:gd name="T4" fmla="*/ 374952 w 33"/>
              <a:gd name="T5" fmla="*/ 45080975 h 43"/>
              <a:gd name="T6" fmla="*/ 937379 w 33"/>
              <a:gd name="T7" fmla="*/ 35062837 h 43"/>
              <a:gd name="T8" fmla="*/ 1687283 w 33"/>
              <a:gd name="T9" fmla="*/ 25044699 h 43"/>
              <a:gd name="T10" fmla="*/ 2624662 w 33"/>
              <a:gd name="T11" fmla="*/ 15026561 h 43"/>
              <a:gd name="T12" fmla="*/ 3749085 w 33"/>
              <a:gd name="T13" fmla="*/ 8348664 h 43"/>
              <a:gd name="T14" fmla="*/ 4873940 w 33"/>
              <a:gd name="T15" fmla="*/ 3338949 h 43"/>
              <a:gd name="T16" fmla="*/ 6186271 w 33"/>
              <a:gd name="T17" fmla="*/ 0 h 43"/>
              <a:gd name="T18" fmla="*/ 6186271 w 33"/>
              <a:gd name="T19" fmla="*/ 41742027 h 43"/>
              <a:gd name="T20" fmla="*/ 4311512 w 33"/>
              <a:gd name="T21" fmla="*/ 45080975 h 43"/>
              <a:gd name="T22" fmla="*/ 3374133 w 33"/>
              <a:gd name="T23" fmla="*/ 48421216 h 43"/>
              <a:gd name="T24" fmla="*/ 2999614 w 33"/>
              <a:gd name="T25" fmla="*/ 53429639 h 43"/>
              <a:gd name="T26" fmla="*/ 2999614 w 33"/>
              <a:gd name="T27" fmla="*/ 56769880 h 43"/>
              <a:gd name="T28" fmla="*/ 2999614 w 33"/>
              <a:gd name="T29" fmla="*/ 60108829 h 43"/>
              <a:gd name="T30" fmla="*/ 2624662 w 33"/>
              <a:gd name="T31" fmla="*/ 63447777 h 43"/>
              <a:gd name="T32" fmla="*/ 1874759 w 33"/>
              <a:gd name="T33" fmla="*/ 68457492 h 43"/>
              <a:gd name="T34" fmla="*/ 0 w 33"/>
              <a:gd name="T35" fmla="*/ 71796441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82" name="Freeform 308">
            <a:extLst>
              <a:ext uri="{FF2B5EF4-FFF2-40B4-BE49-F238E27FC236}">
                <a16:creationId xmlns:a16="http://schemas.microsoft.com/office/drawing/2014/main" id="{C4748F66-4FA6-4900-AC62-B2576EDB709E}"/>
              </a:ext>
            </a:extLst>
          </p:cNvPr>
          <p:cNvSpPr>
            <a:spLocks/>
          </p:cNvSpPr>
          <p:nvPr>
            <p:custDataLst>
              <p:tags r:id="rId211"/>
            </p:custDataLst>
          </p:nvPr>
        </p:nvSpPr>
        <p:spPr bwMode="auto">
          <a:xfrm>
            <a:off x="10057716" y="4475849"/>
            <a:ext cx="29245" cy="77247"/>
          </a:xfrm>
          <a:custGeom>
            <a:avLst/>
            <a:gdLst>
              <a:gd name="T0" fmla="*/ 0 w 54"/>
              <a:gd name="T1" fmla="*/ 22419401 h 92"/>
              <a:gd name="T2" fmla="*/ 169569 w 54"/>
              <a:gd name="T3" fmla="*/ 20788783 h 92"/>
              <a:gd name="T4" fmla="*/ 338725 w 54"/>
              <a:gd name="T5" fmla="*/ 18750830 h 92"/>
              <a:gd name="T6" fmla="*/ 508294 w 54"/>
              <a:gd name="T7" fmla="*/ 17120212 h 92"/>
              <a:gd name="T8" fmla="*/ 1016176 w 54"/>
              <a:gd name="T9" fmla="*/ 15082258 h 92"/>
              <a:gd name="T10" fmla="*/ 1863196 w 54"/>
              <a:gd name="T11" fmla="*/ 11821022 h 92"/>
              <a:gd name="T12" fmla="*/ 3048941 w 54"/>
              <a:gd name="T13" fmla="*/ 8560425 h 92"/>
              <a:gd name="T14" fmla="*/ 5251274 w 54"/>
              <a:gd name="T15" fmla="*/ 2853262 h 92"/>
              <a:gd name="T16" fmla="*/ 6945313 w 54"/>
              <a:gd name="T17" fmla="*/ 0 h 92"/>
              <a:gd name="T18" fmla="*/ 9147234 w 54"/>
              <a:gd name="T19" fmla="*/ 4891215 h 92"/>
              <a:gd name="T20" fmla="*/ 8638940 w 54"/>
              <a:gd name="T21" fmla="*/ 8560425 h 92"/>
              <a:gd name="T22" fmla="*/ 7961489 w 54"/>
              <a:gd name="T23" fmla="*/ 11821022 h 92"/>
              <a:gd name="T24" fmla="*/ 7453195 w 54"/>
              <a:gd name="T25" fmla="*/ 14266949 h 92"/>
              <a:gd name="T26" fmla="*/ 6945313 w 54"/>
              <a:gd name="T27" fmla="*/ 16712876 h 92"/>
              <a:gd name="T28" fmla="*/ 5589999 w 54"/>
              <a:gd name="T29" fmla="*/ 19973474 h 92"/>
              <a:gd name="T30" fmla="*/ 4742980 w 54"/>
              <a:gd name="T31" fmla="*/ 22419401 h 92"/>
              <a:gd name="T32" fmla="*/ 4404254 w 54"/>
              <a:gd name="T33" fmla="*/ 26087972 h 92"/>
              <a:gd name="T34" fmla="*/ 4404254 w 54"/>
              <a:gd name="T35" fmla="*/ 30164517 h 92"/>
              <a:gd name="T36" fmla="*/ 4065529 w 54"/>
              <a:gd name="T37" fmla="*/ 33833088 h 92"/>
              <a:gd name="T38" fmla="*/ 3387666 w 54"/>
              <a:gd name="T39" fmla="*/ 37501659 h 92"/>
              <a:gd name="T40" fmla="*/ 2371490 w 54"/>
              <a:gd name="T41" fmla="*/ 33833088 h 92"/>
              <a:gd name="T42" fmla="*/ 1355313 w 54"/>
              <a:gd name="T43" fmla="*/ 30164517 h 92"/>
              <a:gd name="T44" fmla="*/ 847019 w 54"/>
              <a:gd name="T45" fmla="*/ 28533899 h 92"/>
              <a:gd name="T46" fmla="*/ 338725 w 54"/>
              <a:gd name="T47" fmla="*/ 26087972 h 92"/>
              <a:gd name="T48" fmla="*/ 169569 w 54"/>
              <a:gd name="T49" fmla="*/ 24457354 h 92"/>
              <a:gd name="T50" fmla="*/ 0 w 54"/>
              <a:gd name="T51" fmla="*/ 22419401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83" name="Freeform 309">
            <a:extLst>
              <a:ext uri="{FF2B5EF4-FFF2-40B4-BE49-F238E27FC236}">
                <a16:creationId xmlns:a16="http://schemas.microsoft.com/office/drawing/2014/main" id="{91D5194D-203F-4156-BD61-107BC446F7CC}"/>
              </a:ext>
            </a:extLst>
          </p:cNvPr>
          <p:cNvSpPr>
            <a:spLocks/>
          </p:cNvSpPr>
          <p:nvPr>
            <p:custDataLst>
              <p:tags r:id="rId212"/>
            </p:custDataLst>
          </p:nvPr>
        </p:nvSpPr>
        <p:spPr bwMode="auto">
          <a:xfrm>
            <a:off x="10122473" y="4319322"/>
            <a:ext cx="33423" cy="75213"/>
          </a:xfrm>
          <a:custGeom>
            <a:avLst/>
            <a:gdLst>
              <a:gd name="T0" fmla="*/ 0 w 60"/>
              <a:gd name="T1" fmla="*/ 0 h 18"/>
              <a:gd name="T2" fmla="*/ 2992897 w 60"/>
              <a:gd name="T3" fmla="*/ 40322500 h 18"/>
              <a:gd name="T4" fmla="*/ 5828232 w 60"/>
              <a:gd name="T5" fmla="*/ 90725625 h 18"/>
              <a:gd name="T6" fmla="*/ 7088336 w 60"/>
              <a:gd name="T7" fmla="*/ 110886875 h 18"/>
              <a:gd name="T8" fmla="*/ 8033316 w 60"/>
              <a:gd name="T9" fmla="*/ 131048125 h 18"/>
              <a:gd name="T10" fmla="*/ 8820732 w 60"/>
              <a:gd name="T11" fmla="*/ 161290000 h 18"/>
              <a:gd name="T12" fmla="*/ 9450983 w 60"/>
              <a:gd name="T13" fmla="*/ 181451250 h 18"/>
              <a:gd name="T14" fmla="*/ 5985794 w 60"/>
              <a:gd name="T15" fmla="*/ 181451250 h 18"/>
              <a:gd name="T16" fmla="*/ 3622751 w 60"/>
              <a:gd name="T17" fmla="*/ 181451250 h 18"/>
              <a:gd name="T18" fmla="*/ 1575230 w 60"/>
              <a:gd name="T19" fmla="*/ 181451250 h 18"/>
              <a:gd name="T20" fmla="*/ 0 w 60"/>
              <a:gd name="T21" fmla="*/ 181451250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84" name="Freeform 310">
            <a:extLst>
              <a:ext uri="{FF2B5EF4-FFF2-40B4-BE49-F238E27FC236}">
                <a16:creationId xmlns:a16="http://schemas.microsoft.com/office/drawing/2014/main" id="{B64397D7-5CC4-4133-AAEE-935B0DF651EC}"/>
              </a:ext>
            </a:extLst>
          </p:cNvPr>
          <p:cNvSpPr>
            <a:spLocks/>
          </p:cNvSpPr>
          <p:nvPr>
            <p:custDataLst>
              <p:tags r:id="rId213"/>
            </p:custDataLst>
          </p:nvPr>
        </p:nvSpPr>
        <p:spPr bwMode="auto">
          <a:xfrm>
            <a:off x="10101584" y="4280697"/>
            <a:ext cx="35511" cy="73182"/>
          </a:xfrm>
          <a:custGeom>
            <a:avLst/>
            <a:gdLst>
              <a:gd name="T0" fmla="*/ 0 w 66"/>
              <a:gd name="T1" fmla="*/ 181451250 h 18"/>
              <a:gd name="T2" fmla="*/ 9775152 w 66"/>
              <a:gd name="T3" fmla="*/ 181451250 h 18"/>
              <a:gd name="T4" fmla="*/ 7701588 w 66"/>
              <a:gd name="T5" fmla="*/ 131048125 h 18"/>
              <a:gd name="T6" fmla="*/ 5924358 w 66"/>
              <a:gd name="T7" fmla="*/ 70564375 h 18"/>
              <a:gd name="T8" fmla="*/ 5183909 w 66"/>
              <a:gd name="T9" fmla="*/ 40322500 h 18"/>
              <a:gd name="T10" fmla="*/ 4295294 w 66"/>
              <a:gd name="T11" fmla="*/ 20161250 h 18"/>
              <a:gd name="T12" fmla="*/ 3702627 w 66"/>
              <a:gd name="T13" fmla="*/ 10080625 h 18"/>
              <a:gd name="T14" fmla="*/ 2814012 w 66"/>
              <a:gd name="T15" fmla="*/ 0 h 18"/>
              <a:gd name="T16" fmla="*/ 0 w 66"/>
              <a:gd name="T17" fmla="*/ 18145125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85" name="Freeform 311">
            <a:extLst>
              <a:ext uri="{FF2B5EF4-FFF2-40B4-BE49-F238E27FC236}">
                <a16:creationId xmlns:a16="http://schemas.microsoft.com/office/drawing/2014/main" id="{B9FD9E8E-239B-4762-8248-C6F0BC38DDC8}"/>
              </a:ext>
            </a:extLst>
          </p:cNvPr>
          <p:cNvSpPr>
            <a:spLocks/>
          </p:cNvSpPr>
          <p:nvPr>
            <p:custDataLst>
              <p:tags r:id="rId214"/>
            </p:custDataLst>
          </p:nvPr>
        </p:nvSpPr>
        <p:spPr bwMode="auto">
          <a:xfrm>
            <a:off x="9857178" y="4146531"/>
            <a:ext cx="12534" cy="73182"/>
          </a:xfrm>
          <a:custGeom>
            <a:avLst/>
            <a:gdLst>
              <a:gd name="T0" fmla="*/ 0 w 17"/>
              <a:gd name="T1" fmla="*/ 66655950 h 42"/>
              <a:gd name="T2" fmla="*/ 2834333 w 17"/>
              <a:gd name="T3" fmla="*/ 77764821 h 42"/>
              <a:gd name="T4" fmla="*/ 3052394 w 17"/>
              <a:gd name="T5" fmla="*/ 61101514 h 42"/>
              <a:gd name="T6" fmla="*/ 3488518 w 17"/>
              <a:gd name="T7" fmla="*/ 42584914 h 42"/>
              <a:gd name="T8" fmla="*/ 3706579 w 17"/>
              <a:gd name="T9" fmla="*/ 33327975 h 42"/>
              <a:gd name="T10" fmla="*/ 3488518 w 17"/>
              <a:gd name="T11" fmla="*/ 22219104 h 42"/>
              <a:gd name="T12" fmla="*/ 3488518 w 17"/>
              <a:gd name="T13" fmla="*/ 11108871 h 42"/>
              <a:gd name="T14" fmla="*/ 2834333 w 17"/>
              <a:gd name="T15" fmla="*/ 0 h 42"/>
              <a:gd name="T16" fmla="*/ 0 w 17"/>
              <a:gd name="T17" fmla="*/ 66655950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86" name="Freeform 312">
            <a:extLst>
              <a:ext uri="{FF2B5EF4-FFF2-40B4-BE49-F238E27FC236}">
                <a16:creationId xmlns:a16="http://schemas.microsoft.com/office/drawing/2014/main" id="{4EE35E18-7466-4351-AA3A-0162237F6B6F}"/>
              </a:ext>
            </a:extLst>
          </p:cNvPr>
          <p:cNvSpPr>
            <a:spLocks/>
          </p:cNvSpPr>
          <p:nvPr>
            <p:custDataLst>
              <p:tags r:id="rId215"/>
            </p:custDataLst>
          </p:nvPr>
        </p:nvSpPr>
        <p:spPr bwMode="auto">
          <a:xfrm>
            <a:off x="9756910" y="4321355"/>
            <a:ext cx="41779" cy="77247"/>
          </a:xfrm>
          <a:custGeom>
            <a:avLst/>
            <a:gdLst>
              <a:gd name="T0" fmla="*/ 1053191 w 72"/>
              <a:gd name="T1" fmla="*/ 118966730 h 29"/>
              <a:gd name="T2" fmla="*/ 2632560 w 72"/>
              <a:gd name="T3" fmla="*/ 106660316 h 29"/>
              <a:gd name="T4" fmla="*/ 4211928 w 72"/>
              <a:gd name="T5" fmla="*/ 98455364 h 29"/>
              <a:gd name="T6" fmla="*/ 5616183 w 72"/>
              <a:gd name="T7" fmla="*/ 98455364 h 29"/>
              <a:gd name="T8" fmla="*/ 6844487 w 72"/>
              <a:gd name="T9" fmla="*/ 98455364 h 29"/>
              <a:gd name="T10" fmla="*/ 9652579 w 72"/>
              <a:gd name="T11" fmla="*/ 110761779 h 29"/>
              <a:gd name="T12" fmla="*/ 12636202 w 72"/>
              <a:gd name="T13" fmla="*/ 118966730 h 29"/>
              <a:gd name="T14" fmla="*/ 12636202 w 72"/>
              <a:gd name="T15" fmla="*/ 16409903 h 29"/>
              <a:gd name="T16" fmla="*/ 10179175 w 72"/>
              <a:gd name="T17" fmla="*/ 4101463 h 29"/>
              <a:gd name="T18" fmla="*/ 8248743 w 72"/>
              <a:gd name="T19" fmla="*/ 0 h 29"/>
              <a:gd name="T20" fmla="*/ 6844487 w 72"/>
              <a:gd name="T21" fmla="*/ 0 h 29"/>
              <a:gd name="T22" fmla="*/ 5967247 w 72"/>
              <a:gd name="T23" fmla="*/ 8204951 h 29"/>
              <a:gd name="T24" fmla="*/ 4738524 w 72"/>
              <a:gd name="T25" fmla="*/ 12306414 h 29"/>
              <a:gd name="T26" fmla="*/ 3685751 w 72"/>
              <a:gd name="T27" fmla="*/ 20511365 h 29"/>
              <a:gd name="T28" fmla="*/ 2105964 w 72"/>
              <a:gd name="T29" fmla="*/ 20511365 h 29"/>
              <a:gd name="T30" fmla="*/ 0 w 72"/>
              <a:gd name="T31" fmla="*/ 16409903 h 29"/>
              <a:gd name="T32" fmla="*/ 526596 w 72"/>
              <a:gd name="T33" fmla="*/ 65637585 h 29"/>
              <a:gd name="T34" fmla="*/ 1053191 w 72"/>
              <a:gd name="T35" fmla="*/ 118966730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87" name="Freeform 313">
            <a:extLst>
              <a:ext uri="{FF2B5EF4-FFF2-40B4-BE49-F238E27FC236}">
                <a16:creationId xmlns:a16="http://schemas.microsoft.com/office/drawing/2014/main" id="{D0B1F820-9E24-40D3-8A0D-14790A6F9BAB}"/>
              </a:ext>
            </a:extLst>
          </p:cNvPr>
          <p:cNvSpPr>
            <a:spLocks/>
          </p:cNvSpPr>
          <p:nvPr>
            <p:custDataLst>
              <p:tags r:id="rId216"/>
            </p:custDataLst>
          </p:nvPr>
        </p:nvSpPr>
        <p:spPr bwMode="auto">
          <a:xfrm>
            <a:off x="9767355" y="4563261"/>
            <a:ext cx="27155" cy="71148"/>
          </a:xfrm>
          <a:custGeom>
            <a:avLst/>
            <a:gdLst>
              <a:gd name="T0" fmla="*/ 0 w 46"/>
              <a:gd name="T1" fmla="*/ 0 h 37"/>
              <a:gd name="T2" fmla="*/ 1543464 w 46"/>
              <a:gd name="T3" fmla="*/ 20295512 h 37"/>
              <a:gd name="T4" fmla="*/ 3430242 w 46"/>
              <a:gd name="T5" fmla="*/ 33827355 h 37"/>
              <a:gd name="T6" fmla="*/ 5316607 w 46"/>
              <a:gd name="T7" fmla="*/ 45102139 h 37"/>
              <a:gd name="T8" fmla="*/ 7889185 w 46"/>
              <a:gd name="T9" fmla="*/ 56378425 h 37"/>
              <a:gd name="T10" fmla="*/ 6345721 w 46"/>
              <a:gd name="T11" fmla="*/ 65397651 h 37"/>
              <a:gd name="T12" fmla="*/ 4973707 w 46"/>
              <a:gd name="T13" fmla="*/ 74418379 h 37"/>
              <a:gd name="T14" fmla="*/ 3601692 w 46"/>
              <a:gd name="T15" fmla="*/ 81183550 h 37"/>
              <a:gd name="T16" fmla="*/ 2229678 w 46"/>
              <a:gd name="T17" fmla="*/ 83439107 h 37"/>
              <a:gd name="T18" fmla="*/ 1543464 w 46"/>
              <a:gd name="T19" fmla="*/ 81183550 h 37"/>
              <a:gd name="T20" fmla="*/ 1200564 w 46"/>
              <a:gd name="T21" fmla="*/ 74418379 h 37"/>
              <a:gd name="T22" fmla="*/ 857664 w 46"/>
              <a:gd name="T23" fmla="*/ 65397651 h 37"/>
              <a:gd name="T24" fmla="*/ 514350 w 46"/>
              <a:gd name="T25" fmla="*/ 51867310 h 37"/>
              <a:gd name="T26" fmla="*/ 171450 w 46"/>
              <a:gd name="T27" fmla="*/ 27060683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88" name="Freeform 314">
            <a:extLst>
              <a:ext uri="{FF2B5EF4-FFF2-40B4-BE49-F238E27FC236}">
                <a16:creationId xmlns:a16="http://schemas.microsoft.com/office/drawing/2014/main" id="{409E2F0B-8918-48B1-9A34-5E407C4B2C30}"/>
              </a:ext>
            </a:extLst>
          </p:cNvPr>
          <p:cNvSpPr>
            <a:spLocks/>
          </p:cNvSpPr>
          <p:nvPr>
            <p:custDataLst>
              <p:tags r:id="rId217"/>
            </p:custDataLst>
          </p:nvPr>
        </p:nvSpPr>
        <p:spPr bwMode="auto">
          <a:xfrm>
            <a:off x="9924024" y="4327453"/>
            <a:ext cx="16712" cy="75213"/>
          </a:xfrm>
          <a:custGeom>
            <a:avLst/>
            <a:gdLst>
              <a:gd name="T0" fmla="*/ 0 w 26"/>
              <a:gd name="T1" fmla="*/ 0 h 19"/>
              <a:gd name="T2" fmla="*/ 4749953 w 26"/>
              <a:gd name="T3" fmla="*/ 171901184 h 19"/>
              <a:gd name="T4" fmla="*/ 4749953 w 26"/>
              <a:gd name="T5" fmla="*/ 81426718 h 19"/>
              <a:gd name="T6" fmla="*/ 4749953 w 26"/>
              <a:gd name="T7" fmla="*/ 0 h 19"/>
              <a:gd name="T8" fmla="*/ 2740209 w 26"/>
              <a:gd name="T9" fmla="*/ 0 h 19"/>
              <a:gd name="T10" fmla="*/ 0 w 2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9">
                <a:moveTo>
                  <a:pt x="0" y="0"/>
                </a:moveTo>
                <a:lnTo>
                  <a:pt x="26" y="19"/>
                </a:lnTo>
                <a:lnTo>
                  <a:pt x="26" y="9"/>
                </a:lnTo>
                <a:lnTo>
                  <a:pt x="26" y="0"/>
                </a:lnTo>
                <a:lnTo>
                  <a:pt x="15" y="0"/>
                </a:lnTo>
                <a:lnTo>
                  <a:pt x="0" y="0"/>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89" name="Freeform 315">
            <a:extLst>
              <a:ext uri="{FF2B5EF4-FFF2-40B4-BE49-F238E27FC236}">
                <a16:creationId xmlns:a16="http://schemas.microsoft.com/office/drawing/2014/main" id="{EEB0C5F7-0CDB-4F04-ACB8-1A612D1AD7F6}"/>
              </a:ext>
            </a:extLst>
          </p:cNvPr>
          <p:cNvSpPr>
            <a:spLocks/>
          </p:cNvSpPr>
          <p:nvPr>
            <p:custDataLst>
              <p:tags r:id="rId218"/>
            </p:custDataLst>
          </p:nvPr>
        </p:nvSpPr>
        <p:spPr bwMode="auto">
          <a:xfrm>
            <a:off x="9729755" y="4321355"/>
            <a:ext cx="27155" cy="77247"/>
          </a:xfrm>
          <a:custGeom>
            <a:avLst/>
            <a:gdLst>
              <a:gd name="T0" fmla="*/ 392519 w 43"/>
              <a:gd name="T1" fmla="*/ 0 h 31"/>
              <a:gd name="T2" fmla="*/ 196259 w 43"/>
              <a:gd name="T3" fmla="*/ 43080747 h 31"/>
              <a:gd name="T4" fmla="*/ 0 w 43"/>
              <a:gd name="T5" fmla="*/ 82570959 h 31"/>
              <a:gd name="T6" fmla="*/ 0 w 43"/>
              <a:gd name="T7" fmla="*/ 93340672 h 31"/>
              <a:gd name="T8" fmla="*/ 0 w 43"/>
              <a:gd name="T9" fmla="*/ 104112280 h 31"/>
              <a:gd name="T10" fmla="*/ 0 w 43"/>
              <a:gd name="T11" fmla="*/ 111291457 h 31"/>
              <a:gd name="T12" fmla="*/ 392519 w 43"/>
              <a:gd name="T13" fmla="*/ 111291457 h 31"/>
              <a:gd name="T14" fmla="*/ 2551371 w 43"/>
              <a:gd name="T15" fmla="*/ 78980423 h 31"/>
              <a:gd name="T16" fmla="*/ 4906926 w 43"/>
              <a:gd name="T17" fmla="*/ 46671283 h 31"/>
              <a:gd name="T18" fmla="*/ 6869519 w 43"/>
              <a:gd name="T19" fmla="*/ 17950785 h 31"/>
              <a:gd name="T20" fmla="*/ 8439593 w 43"/>
              <a:gd name="T21" fmla="*/ 0 h 31"/>
              <a:gd name="T22" fmla="*/ 392519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90" name="Freeform 316">
            <a:extLst>
              <a:ext uri="{FF2B5EF4-FFF2-40B4-BE49-F238E27FC236}">
                <a16:creationId xmlns:a16="http://schemas.microsoft.com/office/drawing/2014/main" id="{CBDEFC41-442A-47CB-BEAC-A2F0EEA866BE}"/>
              </a:ext>
            </a:extLst>
          </p:cNvPr>
          <p:cNvSpPr>
            <a:spLocks/>
          </p:cNvSpPr>
          <p:nvPr>
            <p:custDataLst>
              <p:tags r:id="rId219"/>
            </p:custDataLst>
          </p:nvPr>
        </p:nvSpPr>
        <p:spPr bwMode="auto">
          <a:xfrm>
            <a:off x="9792422" y="4384372"/>
            <a:ext cx="41779" cy="73182"/>
          </a:xfrm>
          <a:custGeom>
            <a:avLst/>
            <a:gdLst>
              <a:gd name="T0" fmla="*/ 721788 w 71"/>
              <a:gd name="T1" fmla="*/ 16323906 h 49"/>
              <a:gd name="T2" fmla="*/ 721788 w 71"/>
              <a:gd name="T3" fmla="*/ 24485859 h 49"/>
              <a:gd name="T4" fmla="*/ 902341 w 71"/>
              <a:gd name="T5" fmla="*/ 34007749 h 49"/>
              <a:gd name="T6" fmla="*/ 1263447 w 71"/>
              <a:gd name="T7" fmla="*/ 42169702 h 49"/>
              <a:gd name="T8" fmla="*/ 1624129 w 71"/>
              <a:gd name="T9" fmla="*/ 50331655 h 49"/>
              <a:gd name="T10" fmla="*/ 2526895 w 71"/>
              <a:gd name="T11" fmla="*/ 55772568 h 49"/>
              <a:gd name="T12" fmla="*/ 3248683 w 71"/>
              <a:gd name="T13" fmla="*/ 62574585 h 49"/>
              <a:gd name="T14" fmla="*/ 4151024 w 71"/>
              <a:gd name="T15" fmla="*/ 65295624 h 49"/>
              <a:gd name="T16" fmla="*/ 5414471 w 71"/>
              <a:gd name="T17" fmla="*/ 66655561 h 49"/>
              <a:gd name="T18" fmla="*/ 6316812 w 71"/>
              <a:gd name="T19" fmla="*/ 65295624 h 49"/>
              <a:gd name="T20" fmla="*/ 7219153 w 71"/>
              <a:gd name="T21" fmla="*/ 62574585 h 49"/>
              <a:gd name="T22" fmla="*/ 8121494 w 71"/>
              <a:gd name="T23" fmla="*/ 57133671 h 49"/>
              <a:gd name="T24" fmla="*/ 9024260 w 71"/>
              <a:gd name="T25" fmla="*/ 50331655 h 49"/>
              <a:gd name="T26" fmla="*/ 10828942 w 71"/>
              <a:gd name="T27" fmla="*/ 38088726 h 49"/>
              <a:gd name="T28" fmla="*/ 12814177 w 71"/>
              <a:gd name="T29" fmla="*/ 24485859 h 49"/>
              <a:gd name="T30" fmla="*/ 11009495 w 71"/>
              <a:gd name="T31" fmla="*/ 16323906 h 49"/>
              <a:gd name="T32" fmla="*/ 9384941 w 71"/>
              <a:gd name="T33" fmla="*/ 12242930 h 49"/>
              <a:gd name="T34" fmla="*/ 7941366 w 71"/>
              <a:gd name="T35" fmla="*/ 9521890 h 49"/>
              <a:gd name="T36" fmla="*/ 6677918 w 71"/>
              <a:gd name="T37" fmla="*/ 8161953 h 49"/>
              <a:gd name="T38" fmla="*/ 5233918 w 71"/>
              <a:gd name="T39" fmla="*/ 8161953 h 49"/>
              <a:gd name="T40" fmla="*/ 3789917 w 71"/>
              <a:gd name="T41" fmla="*/ 6802016 h 49"/>
              <a:gd name="T42" fmla="*/ 2526895 w 71"/>
              <a:gd name="T43" fmla="*/ 4080977 h 49"/>
              <a:gd name="T44" fmla="*/ 721788 w 71"/>
              <a:gd name="T45" fmla="*/ 0 h 49"/>
              <a:gd name="T46" fmla="*/ 541235 w 71"/>
              <a:gd name="T47" fmla="*/ 1359937 h 49"/>
              <a:gd name="T48" fmla="*/ 180553 w 71"/>
              <a:gd name="T49" fmla="*/ 8161953 h 49"/>
              <a:gd name="T50" fmla="*/ 0 w 71"/>
              <a:gd name="T51" fmla="*/ 10882993 h 49"/>
              <a:gd name="T52" fmla="*/ 0 w 71"/>
              <a:gd name="T53" fmla="*/ 13602866 h 49"/>
              <a:gd name="T54" fmla="*/ 180553 w 71"/>
              <a:gd name="T55" fmla="*/ 14963969 h 49"/>
              <a:gd name="T56" fmla="*/ 721788 w 71"/>
              <a:gd name="T57" fmla="*/ 16323906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91" name="Freeform 317">
            <a:extLst>
              <a:ext uri="{FF2B5EF4-FFF2-40B4-BE49-F238E27FC236}">
                <a16:creationId xmlns:a16="http://schemas.microsoft.com/office/drawing/2014/main" id="{CBB330AC-BF48-44E0-9F73-CFA4BC04B26A}"/>
              </a:ext>
            </a:extLst>
          </p:cNvPr>
          <p:cNvSpPr>
            <a:spLocks/>
          </p:cNvSpPr>
          <p:nvPr>
            <p:custDataLst>
              <p:tags r:id="rId220"/>
            </p:custDataLst>
          </p:nvPr>
        </p:nvSpPr>
        <p:spPr bwMode="auto">
          <a:xfrm>
            <a:off x="9514595" y="4648640"/>
            <a:ext cx="64757" cy="75213"/>
          </a:xfrm>
          <a:custGeom>
            <a:avLst/>
            <a:gdLst>
              <a:gd name="T0" fmla="*/ 7772032 w 112"/>
              <a:gd name="T1" fmla="*/ 10206683 h 26"/>
              <a:gd name="T2" fmla="*/ 9461837 w 112"/>
              <a:gd name="T3" fmla="*/ 10206683 h 26"/>
              <a:gd name="T4" fmla="*/ 11151230 w 112"/>
              <a:gd name="T5" fmla="*/ 15310025 h 26"/>
              <a:gd name="T6" fmla="*/ 12502745 w 112"/>
              <a:gd name="T7" fmla="*/ 20413367 h 26"/>
              <a:gd name="T8" fmla="*/ 14192549 w 112"/>
              <a:gd name="T9" fmla="*/ 30622309 h 26"/>
              <a:gd name="T10" fmla="*/ 15544064 w 112"/>
              <a:gd name="T11" fmla="*/ 45932334 h 26"/>
              <a:gd name="T12" fmla="*/ 16895579 w 112"/>
              <a:gd name="T13" fmla="*/ 61242359 h 26"/>
              <a:gd name="T14" fmla="*/ 17909626 w 112"/>
              <a:gd name="T15" fmla="*/ 81657985 h 26"/>
              <a:gd name="T16" fmla="*/ 18923262 w 112"/>
              <a:gd name="T17" fmla="*/ 102071351 h 26"/>
              <a:gd name="T18" fmla="*/ 18585384 w 112"/>
              <a:gd name="T19" fmla="*/ 112280294 h 26"/>
              <a:gd name="T20" fmla="*/ 17740687 w 112"/>
              <a:gd name="T21" fmla="*/ 117383635 h 26"/>
              <a:gd name="T22" fmla="*/ 17064929 w 112"/>
              <a:gd name="T23" fmla="*/ 127590319 h 26"/>
              <a:gd name="T24" fmla="*/ 16050882 w 112"/>
              <a:gd name="T25" fmla="*/ 127590319 h 26"/>
              <a:gd name="T26" fmla="*/ 14699367 w 112"/>
              <a:gd name="T27" fmla="*/ 132693660 h 26"/>
              <a:gd name="T28" fmla="*/ 13347853 w 112"/>
              <a:gd name="T29" fmla="*/ 132693660 h 26"/>
              <a:gd name="T30" fmla="*/ 11151230 w 112"/>
              <a:gd name="T31" fmla="*/ 122486977 h 26"/>
              <a:gd name="T32" fmla="*/ 6927335 w 112"/>
              <a:gd name="T33" fmla="*/ 96968010 h 26"/>
              <a:gd name="T34" fmla="*/ 2703441 w 112"/>
              <a:gd name="T35" fmla="*/ 66347960 h 26"/>
              <a:gd name="T36" fmla="*/ 0 w 112"/>
              <a:gd name="T37" fmla="*/ 40828992 h 26"/>
              <a:gd name="T38" fmla="*/ 844697 w 112"/>
              <a:gd name="T39" fmla="*/ 20413367 h 26"/>
              <a:gd name="T40" fmla="*/ 1858333 w 112"/>
              <a:gd name="T41" fmla="*/ 10206683 h 26"/>
              <a:gd name="T42" fmla="*/ 3041319 w 112"/>
              <a:gd name="T43" fmla="*/ 5103342 h 26"/>
              <a:gd name="T44" fmla="*/ 4223895 w 112"/>
              <a:gd name="T45" fmla="*/ 0 h 26"/>
              <a:gd name="T46" fmla="*/ 6251578 w 112"/>
              <a:gd name="T47" fmla="*/ 5103342 h 26"/>
              <a:gd name="T48" fmla="*/ 7772032 w 112"/>
              <a:gd name="T49" fmla="*/ 10206683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92" name="Freeform 318">
            <a:extLst>
              <a:ext uri="{FF2B5EF4-FFF2-40B4-BE49-F238E27FC236}">
                <a16:creationId xmlns:a16="http://schemas.microsoft.com/office/drawing/2014/main" id="{C8DA1D15-BC47-409E-88C2-901BCA864705}"/>
              </a:ext>
            </a:extLst>
          </p:cNvPr>
          <p:cNvSpPr>
            <a:spLocks/>
          </p:cNvSpPr>
          <p:nvPr>
            <p:custDataLst>
              <p:tags r:id="rId221"/>
            </p:custDataLst>
          </p:nvPr>
        </p:nvSpPr>
        <p:spPr bwMode="auto">
          <a:xfrm>
            <a:off x="9652463" y="4697428"/>
            <a:ext cx="20889" cy="75213"/>
          </a:xfrm>
          <a:custGeom>
            <a:avLst/>
            <a:gdLst>
              <a:gd name="T0" fmla="*/ 0 w 41"/>
              <a:gd name="T1" fmla="*/ 0 h 25"/>
              <a:gd name="T2" fmla="*/ 4978497 w 41"/>
              <a:gd name="T3" fmla="*/ 0 h 25"/>
              <a:gd name="T4" fmla="*/ 3399958 w 41"/>
              <a:gd name="T5" fmla="*/ 44160826 h 25"/>
              <a:gd name="T6" fmla="*/ 2185563 w 41"/>
              <a:gd name="T7" fmla="*/ 82800374 h 25"/>
              <a:gd name="T8" fmla="*/ 1092781 w 41"/>
              <a:gd name="T9" fmla="*/ 110402065 h 25"/>
              <a:gd name="T10" fmla="*/ 0 w 41"/>
              <a:gd name="T11" fmla="*/ 138001407 h 25"/>
              <a:gd name="T12" fmla="*/ 0 w 41"/>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25">
                <a:moveTo>
                  <a:pt x="0" y="0"/>
                </a:moveTo>
                <a:lnTo>
                  <a:pt x="41" y="0"/>
                </a:lnTo>
                <a:lnTo>
                  <a:pt x="28" y="8"/>
                </a:lnTo>
                <a:lnTo>
                  <a:pt x="18" y="15"/>
                </a:lnTo>
                <a:lnTo>
                  <a:pt x="9" y="20"/>
                </a:lnTo>
                <a:lnTo>
                  <a:pt x="0" y="25"/>
                </a:lnTo>
                <a:lnTo>
                  <a:pt x="0" y="0"/>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93" name="Freeform 319">
            <a:extLst>
              <a:ext uri="{FF2B5EF4-FFF2-40B4-BE49-F238E27FC236}">
                <a16:creationId xmlns:a16="http://schemas.microsoft.com/office/drawing/2014/main" id="{8EAA63E6-9919-4A90-B4C4-405949F20719}"/>
              </a:ext>
            </a:extLst>
          </p:cNvPr>
          <p:cNvSpPr>
            <a:spLocks/>
          </p:cNvSpPr>
          <p:nvPr>
            <p:custDataLst>
              <p:tags r:id="rId222"/>
            </p:custDataLst>
          </p:nvPr>
        </p:nvSpPr>
        <p:spPr bwMode="auto">
          <a:xfrm>
            <a:off x="9420594" y="4607983"/>
            <a:ext cx="50134" cy="73182"/>
          </a:xfrm>
          <a:custGeom>
            <a:avLst/>
            <a:gdLst>
              <a:gd name="T0" fmla="*/ 0 w 81"/>
              <a:gd name="T1" fmla="*/ 99588612 h 31"/>
              <a:gd name="T2" fmla="*/ 0 w 81"/>
              <a:gd name="T3" fmla="*/ 70676136 h 31"/>
              <a:gd name="T4" fmla="*/ 0 w 81"/>
              <a:gd name="T5" fmla="*/ 41763660 h 31"/>
              <a:gd name="T6" fmla="*/ 0 w 81"/>
              <a:gd name="T7" fmla="*/ 32126168 h 31"/>
              <a:gd name="T8" fmla="*/ 406602 w 81"/>
              <a:gd name="T9" fmla="*/ 25700576 h 31"/>
              <a:gd name="T10" fmla="*/ 609452 w 81"/>
              <a:gd name="T11" fmla="*/ 19274984 h 31"/>
              <a:gd name="T12" fmla="*/ 812752 w 81"/>
              <a:gd name="T13" fmla="*/ 12849392 h 31"/>
              <a:gd name="T14" fmla="*/ 1625505 w 81"/>
              <a:gd name="T15" fmla="*/ 6425592 h 31"/>
              <a:gd name="T16" fmla="*/ 2844859 w 81"/>
              <a:gd name="T17" fmla="*/ 0 h 31"/>
              <a:gd name="T18" fmla="*/ 5283116 w 81"/>
              <a:gd name="T19" fmla="*/ 3211900 h 31"/>
              <a:gd name="T20" fmla="*/ 8331275 w 81"/>
              <a:gd name="T21" fmla="*/ 3211900 h 31"/>
              <a:gd name="T22" fmla="*/ 11379434 w 81"/>
              <a:gd name="T23" fmla="*/ 3211900 h 31"/>
              <a:gd name="T24" fmla="*/ 13208240 w 81"/>
              <a:gd name="T25" fmla="*/ 3211900 h 31"/>
              <a:gd name="T26" fmla="*/ 14833744 w 81"/>
              <a:gd name="T27" fmla="*/ 3211900 h 31"/>
              <a:gd name="T28" fmla="*/ 16459249 w 81"/>
              <a:gd name="T29" fmla="*/ 3211900 h 31"/>
              <a:gd name="T30" fmla="*/ 14833744 w 81"/>
              <a:gd name="T31" fmla="*/ 19274984 h 31"/>
              <a:gd name="T32" fmla="*/ 13614390 w 81"/>
              <a:gd name="T33" fmla="*/ 32126168 h 31"/>
              <a:gd name="T34" fmla="*/ 13004939 w 81"/>
              <a:gd name="T35" fmla="*/ 44975560 h 31"/>
              <a:gd name="T36" fmla="*/ 12598337 w 81"/>
              <a:gd name="T37" fmla="*/ 57824952 h 31"/>
              <a:gd name="T38" fmla="*/ 11988886 w 81"/>
              <a:gd name="T39" fmla="*/ 67462444 h 31"/>
              <a:gd name="T40" fmla="*/ 10972833 w 81"/>
              <a:gd name="T41" fmla="*/ 73888036 h 31"/>
              <a:gd name="T42" fmla="*/ 9550629 w 81"/>
              <a:gd name="T43" fmla="*/ 80313628 h 31"/>
              <a:gd name="T44" fmla="*/ 6908620 w 81"/>
              <a:gd name="T45" fmla="*/ 80313628 h 31"/>
              <a:gd name="T46" fmla="*/ 0 w 81"/>
              <a:gd name="T47" fmla="*/ 99588612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94" name="Freeform 320">
            <a:extLst>
              <a:ext uri="{FF2B5EF4-FFF2-40B4-BE49-F238E27FC236}">
                <a16:creationId xmlns:a16="http://schemas.microsoft.com/office/drawing/2014/main" id="{98FB088C-A421-4F76-B7F7-AAC01D53927D}"/>
              </a:ext>
            </a:extLst>
          </p:cNvPr>
          <p:cNvSpPr>
            <a:spLocks/>
          </p:cNvSpPr>
          <p:nvPr>
            <p:custDataLst>
              <p:tags r:id="rId223"/>
            </p:custDataLst>
          </p:nvPr>
        </p:nvSpPr>
        <p:spPr bwMode="auto">
          <a:xfrm>
            <a:off x="9483262" y="4589687"/>
            <a:ext cx="54311" cy="73182"/>
          </a:xfrm>
          <a:custGeom>
            <a:avLst/>
            <a:gdLst>
              <a:gd name="T0" fmla="*/ 397772 w 89"/>
              <a:gd name="T1" fmla="*/ 63002772 h 49"/>
              <a:gd name="T2" fmla="*/ 17698172 w 89"/>
              <a:gd name="T3" fmla="*/ 63002772 h 49"/>
              <a:gd name="T4" fmla="*/ 15510873 w 89"/>
              <a:gd name="T5" fmla="*/ 52716999 h 49"/>
              <a:gd name="T6" fmla="*/ 13522014 w 89"/>
              <a:gd name="T7" fmla="*/ 45001818 h 49"/>
              <a:gd name="T8" fmla="*/ 11334714 w 89"/>
              <a:gd name="T9" fmla="*/ 38573635 h 49"/>
              <a:gd name="T10" fmla="*/ 9147415 w 89"/>
              <a:gd name="T11" fmla="*/ 32144318 h 49"/>
              <a:gd name="T12" fmla="*/ 7159002 w 89"/>
              <a:gd name="T13" fmla="*/ 27000864 h 49"/>
              <a:gd name="T14" fmla="*/ 5170142 w 89"/>
              <a:gd name="T15" fmla="*/ 18000954 h 49"/>
              <a:gd name="T16" fmla="*/ 3181729 w 89"/>
              <a:gd name="T17" fmla="*/ 10285774 h 49"/>
              <a:gd name="T18" fmla="*/ 1789527 w 89"/>
              <a:gd name="T19" fmla="*/ 0 h 49"/>
              <a:gd name="T20" fmla="*/ 795544 w 89"/>
              <a:gd name="T21" fmla="*/ 12857500 h 49"/>
              <a:gd name="T22" fmla="*/ 198886 w 89"/>
              <a:gd name="T23" fmla="*/ 29572591 h 49"/>
              <a:gd name="T24" fmla="*/ 0 w 89"/>
              <a:gd name="T25" fmla="*/ 37287772 h 49"/>
              <a:gd name="T26" fmla="*/ 0 w 89"/>
              <a:gd name="T27" fmla="*/ 46287682 h 49"/>
              <a:gd name="T28" fmla="*/ 0 w 89"/>
              <a:gd name="T29" fmla="*/ 55287592 h 49"/>
              <a:gd name="T30" fmla="*/ 397772 w 89"/>
              <a:gd name="T31" fmla="*/ 63002772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95" name="Freeform 321">
            <a:extLst>
              <a:ext uri="{FF2B5EF4-FFF2-40B4-BE49-F238E27FC236}">
                <a16:creationId xmlns:a16="http://schemas.microsoft.com/office/drawing/2014/main" id="{E98EA409-D645-4873-BE06-08B42E3622CA}"/>
              </a:ext>
            </a:extLst>
          </p:cNvPr>
          <p:cNvSpPr>
            <a:spLocks/>
          </p:cNvSpPr>
          <p:nvPr>
            <p:custDataLst>
              <p:tags r:id="rId224"/>
            </p:custDataLst>
          </p:nvPr>
        </p:nvSpPr>
        <p:spPr bwMode="auto">
          <a:xfrm>
            <a:off x="9556373" y="4601884"/>
            <a:ext cx="50134" cy="77247"/>
          </a:xfrm>
          <a:custGeom>
            <a:avLst/>
            <a:gdLst>
              <a:gd name="T0" fmla="*/ 0 w 86"/>
              <a:gd name="T1" fmla="*/ 34239840 h 46"/>
              <a:gd name="T2" fmla="*/ 2523574 w 86"/>
              <a:gd name="T3" fmla="*/ 42391514 h 46"/>
              <a:gd name="T4" fmla="*/ 4506260 w 86"/>
              <a:gd name="T5" fmla="*/ 47283285 h 46"/>
              <a:gd name="T6" fmla="*/ 5407597 w 86"/>
              <a:gd name="T7" fmla="*/ 48913875 h 46"/>
              <a:gd name="T8" fmla="*/ 6488947 w 86"/>
              <a:gd name="T9" fmla="*/ 48913875 h 46"/>
              <a:gd name="T10" fmla="*/ 7390284 w 86"/>
              <a:gd name="T11" fmla="*/ 47283285 h 46"/>
              <a:gd name="T12" fmla="*/ 8291620 w 86"/>
              <a:gd name="T13" fmla="*/ 44022105 h 46"/>
              <a:gd name="T14" fmla="*/ 8291620 w 86"/>
              <a:gd name="T15" fmla="*/ 58696139 h 46"/>
              <a:gd name="T16" fmla="*/ 8291620 w 86"/>
              <a:gd name="T17" fmla="*/ 75000765 h 46"/>
              <a:gd name="T18" fmla="*/ 10093870 w 86"/>
              <a:gd name="T19" fmla="*/ 73370174 h 46"/>
              <a:gd name="T20" fmla="*/ 12076556 w 86"/>
              <a:gd name="T21" fmla="*/ 70108994 h 46"/>
              <a:gd name="T22" fmla="*/ 13879230 w 86"/>
              <a:gd name="T23" fmla="*/ 65218500 h 46"/>
              <a:gd name="T24" fmla="*/ 15501467 w 86"/>
              <a:gd name="T25" fmla="*/ 65218500 h 46"/>
              <a:gd name="T26" fmla="*/ 14960580 w 86"/>
              <a:gd name="T27" fmla="*/ 52175056 h 46"/>
              <a:gd name="T28" fmla="*/ 14420117 w 86"/>
              <a:gd name="T29" fmla="*/ 40760924 h 46"/>
              <a:gd name="T30" fmla="*/ 13338343 w 86"/>
              <a:gd name="T31" fmla="*/ 30978660 h 46"/>
              <a:gd name="T32" fmla="*/ 12617443 w 86"/>
              <a:gd name="T33" fmla="*/ 22825709 h 46"/>
              <a:gd name="T34" fmla="*/ 11536094 w 86"/>
              <a:gd name="T35" fmla="*/ 14674035 h 46"/>
              <a:gd name="T36" fmla="*/ 10454320 w 86"/>
              <a:gd name="T37" fmla="*/ 9782264 h 46"/>
              <a:gd name="T38" fmla="*/ 9192533 w 86"/>
              <a:gd name="T39" fmla="*/ 4891771 h 46"/>
              <a:gd name="T40" fmla="*/ 8291620 w 86"/>
              <a:gd name="T41" fmla="*/ 1630590 h 46"/>
              <a:gd name="T42" fmla="*/ 7029834 w 86"/>
              <a:gd name="T43" fmla="*/ 0 h 46"/>
              <a:gd name="T44" fmla="*/ 5948060 w 86"/>
              <a:gd name="T45" fmla="*/ 0 h 46"/>
              <a:gd name="T46" fmla="*/ 4686697 w 86"/>
              <a:gd name="T47" fmla="*/ 1630590 h 46"/>
              <a:gd name="T48" fmla="*/ 3424911 w 86"/>
              <a:gd name="T49" fmla="*/ 4891771 h 46"/>
              <a:gd name="T50" fmla="*/ 2523574 w 86"/>
              <a:gd name="T51" fmla="*/ 9782264 h 46"/>
              <a:gd name="T52" fmla="*/ 1441799 w 86"/>
              <a:gd name="T53" fmla="*/ 16304625 h 46"/>
              <a:gd name="T54" fmla="*/ 720900 w 86"/>
              <a:gd name="T55" fmla="*/ 24456299 h 46"/>
              <a:gd name="T56" fmla="*/ 0 w 86"/>
              <a:gd name="T57" fmla="*/ 34239840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96" name="Freeform 322">
            <a:extLst>
              <a:ext uri="{FF2B5EF4-FFF2-40B4-BE49-F238E27FC236}">
                <a16:creationId xmlns:a16="http://schemas.microsoft.com/office/drawing/2014/main" id="{2F284EB7-9926-4A35-80E8-B6BDB2996E8F}"/>
              </a:ext>
            </a:extLst>
          </p:cNvPr>
          <p:cNvSpPr>
            <a:spLocks/>
          </p:cNvSpPr>
          <p:nvPr>
            <p:custDataLst>
              <p:tags r:id="rId225"/>
            </p:custDataLst>
          </p:nvPr>
        </p:nvSpPr>
        <p:spPr bwMode="auto">
          <a:xfrm>
            <a:off x="9627396" y="4607983"/>
            <a:ext cx="35513" cy="73182"/>
          </a:xfrm>
          <a:custGeom>
            <a:avLst/>
            <a:gdLst>
              <a:gd name="T0" fmla="*/ 0 w 59"/>
              <a:gd name="T1" fmla="*/ 0 h 18"/>
              <a:gd name="T2" fmla="*/ 0 w 59"/>
              <a:gd name="T3" fmla="*/ 171513721 h 18"/>
              <a:gd name="T4" fmla="*/ 7228237 w 59"/>
              <a:gd name="T5" fmla="*/ 171513721 h 18"/>
              <a:gd name="T6" fmla="*/ 10934915 w 59"/>
              <a:gd name="T7" fmla="*/ 57171240 h 18"/>
              <a:gd name="T8" fmla="*/ 9452244 w 59"/>
              <a:gd name="T9" fmla="*/ 47642186 h 18"/>
              <a:gd name="T10" fmla="*/ 8340241 w 59"/>
              <a:gd name="T11" fmla="*/ 38113131 h 18"/>
              <a:gd name="T12" fmla="*/ 6857569 w 59"/>
              <a:gd name="T13" fmla="*/ 47642186 h 18"/>
              <a:gd name="T14" fmla="*/ 5374898 w 59"/>
              <a:gd name="T15" fmla="*/ 57171240 h 18"/>
              <a:gd name="T16" fmla="*/ 4077346 w 59"/>
              <a:gd name="T17" fmla="*/ 57171240 h 18"/>
              <a:gd name="T18" fmla="*/ 2594675 w 59"/>
              <a:gd name="T19" fmla="*/ 47642186 h 18"/>
              <a:gd name="T20" fmla="*/ 1297553 w 59"/>
              <a:gd name="T21" fmla="*/ 38113131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97" name="Freeform 323">
            <a:extLst>
              <a:ext uri="{FF2B5EF4-FFF2-40B4-BE49-F238E27FC236}">
                <a16:creationId xmlns:a16="http://schemas.microsoft.com/office/drawing/2014/main" id="{9BCB0756-92EA-434D-BBC8-DF8D085CAFA0}"/>
              </a:ext>
            </a:extLst>
          </p:cNvPr>
          <p:cNvSpPr>
            <a:spLocks/>
          </p:cNvSpPr>
          <p:nvPr>
            <p:custDataLst>
              <p:tags r:id="rId226"/>
            </p:custDataLst>
          </p:nvPr>
        </p:nvSpPr>
        <p:spPr bwMode="auto">
          <a:xfrm>
            <a:off x="9729755" y="4597819"/>
            <a:ext cx="2088" cy="73182"/>
          </a:xfrm>
          <a:custGeom>
            <a:avLst/>
            <a:gdLst>
              <a:gd name="T0" fmla="*/ 630436 w 4"/>
              <a:gd name="T1" fmla="*/ 162480834 h 19"/>
              <a:gd name="T2" fmla="*/ 630436 w 4"/>
              <a:gd name="T3" fmla="*/ 0 h 19"/>
              <a:gd name="T4" fmla="*/ 315218 w 4"/>
              <a:gd name="T5" fmla="*/ 8550699 h 19"/>
              <a:gd name="T6" fmla="*/ 157609 w 4"/>
              <a:gd name="T7" fmla="*/ 25655022 h 19"/>
              <a:gd name="T8" fmla="*/ 0 w 4"/>
              <a:gd name="T9" fmla="*/ 51310045 h 19"/>
              <a:gd name="T10" fmla="*/ 0 w 4"/>
              <a:gd name="T11" fmla="*/ 85515767 h 19"/>
              <a:gd name="T12" fmla="*/ 0 w 4"/>
              <a:gd name="T13" fmla="*/ 119721488 h 19"/>
              <a:gd name="T14" fmla="*/ 157609 w 4"/>
              <a:gd name="T15" fmla="*/ 136825811 h 19"/>
              <a:gd name="T16" fmla="*/ 315218 w 4"/>
              <a:gd name="T17" fmla="*/ 162480834 h 19"/>
              <a:gd name="T18" fmla="*/ 630436 w 4"/>
              <a:gd name="T19" fmla="*/ 162480834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98" name="Freeform 324">
            <a:extLst>
              <a:ext uri="{FF2B5EF4-FFF2-40B4-BE49-F238E27FC236}">
                <a16:creationId xmlns:a16="http://schemas.microsoft.com/office/drawing/2014/main" id="{77A368CE-7FA4-42BC-BE0A-5BC2FF3123AC}"/>
              </a:ext>
            </a:extLst>
          </p:cNvPr>
          <p:cNvSpPr>
            <a:spLocks/>
          </p:cNvSpPr>
          <p:nvPr>
            <p:custDataLst>
              <p:tags r:id="rId227"/>
            </p:custDataLst>
          </p:nvPr>
        </p:nvSpPr>
        <p:spPr bwMode="auto">
          <a:xfrm>
            <a:off x="9138588" y="4355913"/>
            <a:ext cx="27156" cy="77247"/>
          </a:xfrm>
          <a:custGeom>
            <a:avLst/>
            <a:gdLst>
              <a:gd name="T0" fmla="*/ 0 w 46"/>
              <a:gd name="T1" fmla="*/ 69003053 h 50"/>
              <a:gd name="T2" fmla="*/ 1409216 w 46"/>
              <a:gd name="T3" fmla="*/ 0 h 50"/>
              <a:gd name="T4" fmla="*/ 4629642 w 46"/>
              <a:gd name="T5" fmla="*/ 11040394 h 50"/>
              <a:gd name="T6" fmla="*/ 6843740 w 46"/>
              <a:gd name="T7" fmla="*/ 19321278 h 50"/>
              <a:gd name="T8" fmla="*/ 7447626 w 46"/>
              <a:gd name="T9" fmla="*/ 24841475 h 50"/>
              <a:gd name="T10" fmla="*/ 8252957 w 46"/>
              <a:gd name="T11" fmla="*/ 30361672 h 50"/>
              <a:gd name="T12" fmla="*/ 8856843 w 46"/>
              <a:gd name="T13" fmla="*/ 41402067 h 50"/>
              <a:gd name="T14" fmla="*/ 9259284 w 46"/>
              <a:gd name="T15" fmla="*/ 52442461 h 50"/>
              <a:gd name="T16" fmla="*/ 6843740 w 46"/>
              <a:gd name="T17" fmla="*/ 57962658 h 50"/>
              <a:gd name="T18" fmla="*/ 4227201 w 46"/>
              <a:gd name="T19" fmla="*/ 63482856 h 50"/>
              <a:gd name="T20" fmla="*/ 1610213 w 46"/>
              <a:gd name="T21" fmla="*/ 67622710 h 50"/>
              <a:gd name="T22" fmla="*/ 0 w 46"/>
              <a:gd name="T23" fmla="*/ 69003053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799" name="Freeform 325">
            <a:extLst>
              <a:ext uri="{FF2B5EF4-FFF2-40B4-BE49-F238E27FC236}">
                <a16:creationId xmlns:a16="http://schemas.microsoft.com/office/drawing/2014/main" id="{F4B96550-C8C8-478D-A133-E0AC7115A79B}"/>
              </a:ext>
            </a:extLst>
          </p:cNvPr>
          <p:cNvSpPr>
            <a:spLocks/>
          </p:cNvSpPr>
          <p:nvPr>
            <p:custDataLst>
              <p:tags r:id="rId228"/>
            </p:custDataLst>
          </p:nvPr>
        </p:nvSpPr>
        <p:spPr bwMode="auto">
          <a:xfrm>
            <a:off x="9063387" y="4321355"/>
            <a:ext cx="41779" cy="77247"/>
          </a:xfrm>
          <a:custGeom>
            <a:avLst/>
            <a:gdLst>
              <a:gd name="T0" fmla="*/ 0 w 66"/>
              <a:gd name="T1" fmla="*/ 0 h 80"/>
              <a:gd name="T2" fmla="*/ 2088559 w 66"/>
              <a:gd name="T3" fmla="*/ 0 h 80"/>
              <a:gd name="T4" fmla="*/ 3759407 w 66"/>
              <a:gd name="T5" fmla="*/ 0 h 80"/>
              <a:gd name="T6" fmla="*/ 5430254 w 66"/>
              <a:gd name="T7" fmla="*/ 0 h 80"/>
              <a:gd name="T8" fmla="*/ 6892703 w 66"/>
              <a:gd name="T9" fmla="*/ 0 h 80"/>
              <a:gd name="T10" fmla="*/ 6892703 w 66"/>
              <a:gd name="T11" fmla="*/ 3773118 h 80"/>
              <a:gd name="T12" fmla="*/ 7101558 w 66"/>
              <a:gd name="T13" fmla="*/ 7546970 h 80"/>
              <a:gd name="T14" fmla="*/ 7519270 w 66"/>
              <a:gd name="T15" fmla="*/ 11320088 h 80"/>
              <a:gd name="T16" fmla="*/ 7936982 w 66"/>
              <a:gd name="T17" fmla="*/ 14555029 h 80"/>
              <a:gd name="T18" fmla="*/ 9190118 w 66"/>
              <a:gd name="T19" fmla="*/ 19406705 h 80"/>
              <a:gd name="T20" fmla="*/ 10234397 w 66"/>
              <a:gd name="T21" fmla="*/ 24258381 h 80"/>
              <a:gd name="T22" fmla="*/ 11696389 w 66"/>
              <a:gd name="T23" fmla="*/ 28031499 h 80"/>
              <a:gd name="T24" fmla="*/ 12740668 w 66"/>
              <a:gd name="T25" fmla="*/ 32344263 h 80"/>
              <a:gd name="T26" fmla="*/ 12949524 w 66"/>
              <a:gd name="T27" fmla="*/ 35039557 h 80"/>
              <a:gd name="T28" fmla="*/ 13576092 w 66"/>
              <a:gd name="T29" fmla="*/ 37195939 h 80"/>
              <a:gd name="T30" fmla="*/ 13784948 w 66"/>
              <a:gd name="T31" fmla="*/ 40430146 h 80"/>
              <a:gd name="T32" fmla="*/ 13784948 w 66"/>
              <a:gd name="T33" fmla="*/ 43125440 h 80"/>
              <a:gd name="T34" fmla="*/ 0 w 66"/>
              <a:gd name="T35" fmla="*/ 9703352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00" name="Freeform 326">
            <a:extLst>
              <a:ext uri="{FF2B5EF4-FFF2-40B4-BE49-F238E27FC236}">
                <a16:creationId xmlns:a16="http://schemas.microsoft.com/office/drawing/2014/main" id="{076F44A0-408F-4957-9E20-12FC26CC91AA}"/>
              </a:ext>
            </a:extLst>
          </p:cNvPr>
          <p:cNvSpPr>
            <a:spLocks/>
          </p:cNvSpPr>
          <p:nvPr>
            <p:custDataLst>
              <p:tags r:id="rId229"/>
            </p:custDataLst>
          </p:nvPr>
        </p:nvSpPr>
        <p:spPr bwMode="auto">
          <a:xfrm>
            <a:off x="8833606" y="4301026"/>
            <a:ext cx="10446" cy="75216"/>
          </a:xfrm>
          <a:custGeom>
            <a:avLst/>
            <a:gdLst>
              <a:gd name="T0" fmla="*/ 3150592 w 20"/>
              <a:gd name="T1" fmla="*/ 68044219 h 48"/>
              <a:gd name="T2" fmla="*/ 3150592 w 20"/>
              <a:gd name="T3" fmla="*/ 55285481 h 48"/>
              <a:gd name="T4" fmla="*/ 2993023 w 20"/>
              <a:gd name="T5" fmla="*/ 45362813 h 48"/>
              <a:gd name="T6" fmla="*/ 2520315 w 20"/>
              <a:gd name="T7" fmla="*/ 35440144 h 48"/>
              <a:gd name="T8" fmla="*/ 2205573 w 20"/>
              <a:gd name="T9" fmla="*/ 26934319 h 48"/>
              <a:gd name="T10" fmla="*/ 1890435 w 20"/>
              <a:gd name="T11" fmla="*/ 19846528 h 48"/>
              <a:gd name="T12" fmla="*/ 1417727 w 20"/>
              <a:gd name="T13" fmla="*/ 12758738 h 48"/>
              <a:gd name="T14" fmla="*/ 630277 w 20"/>
              <a:gd name="T15" fmla="*/ 5670947 h 48"/>
              <a:gd name="T16" fmla="*/ 0 w 20"/>
              <a:gd name="T17" fmla="*/ 0 h 48"/>
              <a:gd name="T18" fmla="*/ 0 w 20"/>
              <a:gd name="T19" fmla="*/ 11340703 h 48"/>
              <a:gd name="T20" fmla="*/ 315139 w 20"/>
              <a:gd name="T21" fmla="*/ 24099441 h 48"/>
              <a:gd name="T22" fmla="*/ 630277 w 20"/>
              <a:gd name="T23" fmla="*/ 34022109 h 48"/>
              <a:gd name="T24" fmla="*/ 1260158 w 20"/>
              <a:gd name="T25" fmla="*/ 43944778 h 48"/>
              <a:gd name="T26" fmla="*/ 2205573 w 20"/>
              <a:gd name="T27" fmla="*/ 58121550 h 48"/>
              <a:gd name="T28" fmla="*/ 3150592 w 20"/>
              <a:gd name="T29" fmla="*/ 68044219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01" name="Line 327" descr="Horizontal dunkel">
            <a:extLst>
              <a:ext uri="{FF2B5EF4-FFF2-40B4-BE49-F238E27FC236}">
                <a16:creationId xmlns:a16="http://schemas.microsoft.com/office/drawing/2014/main" id="{AA9FA093-F327-464F-9E5C-4AD13DE83154}"/>
              </a:ext>
            </a:extLst>
          </p:cNvPr>
          <p:cNvSpPr>
            <a:spLocks noChangeShapeType="1"/>
          </p:cNvSpPr>
          <p:nvPr>
            <p:custDataLst>
              <p:tags r:id="rId230"/>
            </p:custDataLst>
          </p:nvPr>
        </p:nvSpPr>
        <p:spPr bwMode="auto">
          <a:xfrm>
            <a:off x="8869117" y="4347782"/>
            <a:ext cx="6266" cy="8131"/>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02" name="Freeform 328">
            <a:extLst>
              <a:ext uri="{FF2B5EF4-FFF2-40B4-BE49-F238E27FC236}">
                <a16:creationId xmlns:a16="http://schemas.microsoft.com/office/drawing/2014/main" id="{7E8D80C3-2AA8-4263-86DB-8FA5D3A026DD}"/>
              </a:ext>
            </a:extLst>
          </p:cNvPr>
          <p:cNvSpPr>
            <a:spLocks/>
          </p:cNvSpPr>
          <p:nvPr>
            <p:custDataLst>
              <p:tags r:id="rId231"/>
            </p:custDataLst>
          </p:nvPr>
        </p:nvSpPr>
        <p:spPr bwMode="auto">
          <a:xfrm>
            <a:off x="8862850" y="4347782"/>
            <a:ext cx="12534" cy="75213"/>
          </a:xfrm>
          <a:custGeom>
            <a:avLst/>
            <a:gdLst>
              <a:gd name="T0" fmla="*/ 3150592 w 20"/>
              <a:gd name="T1" fmla="*/ 272176875 h 12"/>
              <a:gd name="T2" fmla="*/ 3150592 w 20"/>
              <a:gd name="T3" fmla="*/ 181451250 h 12"/>
              <a:gd name="T4" fmla="*/ 2835454 w 20"/>
              <a:gd name="T5" fmla="*/ 113409413 h 12"/>
              <a:gd name="T6" fmla="*/ 2363143 w 20"/>
              <a:gd name="T7" fmla="*/ 68046600 h 12"/>
              <a:gd name="T8" fmla="*/ 2048004 w 20"/>
              <a:gd name="T9" fmla="*/ 45362813 h 12"/>
              <a:gd name="T10" fmla="*/ 1102588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20" y="8"/>
                </a:lnTo>
                <a:lnTo>
                  <a:pt x="18" y="5"/>
                </a:lnTo>
                <a:lnTo>
                  <a:pt x="15" y="3"/>
                </a:lnTo>
                <a:lnTo>
                  <a:pt x="13" y="2"/>
                </a:lnTo>
                <a:lnTo>
                  <a:pt x="7" y="0"/>
                </a:lnTo>
                <a:lnTo>
                  <a:pt x="0" y="0"/>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03" name="Freeform 329">
            <a:extLst>
              <a:ext uri="{FF2B5EF4-FFF2-40B4-BE49-F238E27FC236}">
                <a16:creationId xmlns:a16="http://schemas.microsoft.com/office/drawing/2014/main" id="{73D0B7C5-C7DB-4FE1-B1CA-9A97D074D08E}"/>
              </a:ext>
            </a:extLst>
          </p:cNvPr>
          <p:cNvSpPr>
            <a:spLocks/>
          </p:cNvSpPr>
          <p:nvPr>
            <p:custDataLst>
              <p:tags r:id="rId232"/>
            </p:custDataLst>
          </p:nvPr>
        </p:nvSpPr>
        <p:spPr bwMode="auto">
          <a:xfrm>
            <a:off x="8727071" y="4146531"/>
            <a:ext cx="31333" cy="73182"/>
          </a:xfrm>
          <a:custGeom>
            <a:avLst/>
            <a:gdLst>
              <a:gd name="T0" fmla="*/ 1230762 w 53"/>
              <a:gd name="T1" fmla="*/ 0 h 30"/>
              <a:gd name="T2" fmla="*/ 1934414 w 53"/>
              <a:gd name="T3" fmla="*/ 14516100 h 30"/>
              <a:gd name="T4" fmla="*/ 4044531 w 53"/>
              <a:gd name="T5" fmla="*/ 47177325 h 30"/>
              <a:gd name="T6" fmla="*/ 6506474 w 53"/>
              <a:gd name="T7" fmla="*/ 83467575 h 30"/>
              <a:gd name="T8" fmla="*/ 8089061 w 53"/>
              <a:gd name="T9" fmla="*/ 108870750 h 30"/>
              <a:gd name="T10" fmla="*/ 8616591 w 53"/>
              <a:gd name="T11" fmla="*/ 65322450 h 30"/>
              <a:gd name="T12" fmla="*/ 9319823 w 53"/>
              <a:gd name="T13" fmla="*/ 21774150 h 30"/>
              <a:gd name="T14" fmla="*/ 6506474 w 53"/>
              <a:gd name="T15" fmla="*/ 18145125 h 30"/>
              <a:gd name="T16" fmla="*/ 4572060 w 53"/>
              <a:gd name="T17" fmla="*/ 10887075 h 30"/>
              <a:gd name="T18" fmla="*/ 3692705 w 53"/>
              <a:gd name="T19" fmla="*/ 10887075 h 30"/>
              <a:gd name="T20" fmla="*/ 2637646 w 53"/>
              <a:gd name="T21" fmla="*/ 10887075 h 30"/>
              <a:gd name="T22" fmla="*/ 1582588 w 53"/>
              <a:gd name="T23" fmla="*/ 14516100 h 30"/>
              <a:gd name="T24" fmla="*/ 0 w 53"/>
              <a:gd name="T25" fmla="*/ 21774150 h 30"/>
              <a:gd name="T26" fmla="*/ 1230762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04" name="Freeform 330">
            <a:extLst>
              <a:ext uri="{FF2B5EF4-FFF2-40B4-BE49-F238E27FC236}">
                <a16:creationId xmlns:a16="http://schemas.microsoft.com/office/drawing/2014/main" id="{CFA2BBE2-249B-464D-868C-FD9803CBEC76}"/>
              </a:ext>
            </a:extLst>
          </p:cNvPr>
          <p:cNvSpPr>
            <a:spLocks/>
          </p:cNvSpPr>
          <p:nvPr>
            <p:custDataLst>
              <p:tags r:id="rId233"/>
            </p:custDataLst>
          </p:nvPr>
        </p:nvSpPr>
        <p:spPr bwMode="auto">
          <a:xfrm>
            <a:off x="9462373" y="4618147"/>
            <a:ext cx="14622" cy="75216"/>
          </a:xfrm>
          <a:custGeom>
            <a:avLst/>
            <a:gdLst>
              <a:gd name="T0" fmla="*/ 0 w 33"/>
              <a:gd name="T1" fmla="*/ 20391489 h 31"/>
              <a:gd name="T2" fmla="*/ 453572 w 33"/>
              <a:gd name="T3" fmla="*/ 71372976 h 31"/>
              <a:gd name="T4" fmla="*/ 793666 w 33"/>
              <a:gd name="T5" fmla="*/ 105358790 h 31"/>
              <a:gd name="T6" fmla="*/ 2494476 w 33"/>
              <a:gd name="T7" fmla="*/ 105358790 h 31"/>
              <a:gd name="T8" fmla="*/ 3741713 w 33"/>
              <a:gd name="T9" fmla="*/ 105358790 h 31"/>
              <a:gd name="T10" fmla="*/ 3741713 w 33"/>
              <a:gd name="T11" fmla="*/ 0 h 31"/>
              <a:gd name="T12" fmla="*/ 3061524 w 33"/>
              <a:gd name="T13" fmla="*/ 0 h 31"/>
              <a:gd name="T14" fmla="*/ 2154381 w 33"/>
              <a:gd name="T15" fmla="*/ 0 h 31"/>
              <a:gd name="T16" fmla="*/ 1133761 w 33"/>
              <a:gd name="T17" fmla="*/ 0 h 31"/>
              <a:gd name="T18" fmla="*/ 0 w 33"/>
              <a:gd name="T19" fmla="*/ 0 h 31"/>
              <a:gd name="T20" fmla="*/ 0 w 33"/>
              <a:gd name="T21" fmla="*/ 20391489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05" name="Freeform 331">
            <a:extLst>
              <a:ext uri="{FF2B5EF4-FFF2-40B4-BE49-F238E27FC236}">
                <a16:creationId xmlns:a16="http://schemas.microsoft.com/office/drawing/2014/main" id="{A0EB1247-C6D5-42E8-881B-CCF0D7B6DC31}"/>
              </a:ext>
            </a:extLst>
          </p:cNvPr>
          <p:cNvSpPr>
            <a:spLocks/>
          </p:cNvSpPr>
          <p:nvPr>
            <p:custDataLst>
              <p:tags r:id="rId234"/>
            </p:custDataLst>
          </p:nvPr>
        </p:nvSpPr>
        <p:spPr bwMode="auto">
          <a:xfrm>
            <a:off x="10180963" y="4563261"/>
            <a:ext cx="39689" cy="71148"/>
          </a:xfrm>
          <a:custGeom>
            <a:avLst/>
            <a:gdLst>
              <a:gd name="T0" fmla="*/ 3672107 w 65"/>
              <a:gd name="T1" fmla="*/ 45400691 h 68"/>
              <a:gd name="T2" fmla="*/ 3092255 w 65"/>
              <a:gd name="T3" fmla="*/ 45400691 h 68"/>
              <a:gd name="T4" fmla="*/ 2705833 w 65"/>
              <a:gd name="T5" fmla="*/ 44065545 h 68"/>
              <a:gd name="T6" fmla="*/ 2125980 w 65"/>
              <a:gd name="T7" fmla="*/ 42730398 h 68"/>
              <a:gd name="T8" fmla="*/ 1352697 w 65"/>
              <a:gd name="T9" fmla="*/ 40726862 h 68"/>
              <a:gd name="T10" fmla="*/ 772844 w 65"/>
              <a:gd name="T11" fmla="*/ 39391716 h 68"/>
              <a:gd name="T12" fmla="*/ 386422 w 65"/>
              <a:gd name="T13" fmla="*/ 36721423 h 68"/>
              <a:gd name="T14" fmla="*/ 0 w 65"/>
              <a:gd name="T15" fmla="*/ 34717887 h 68"/>
              <a:gd name="T16" fmla="*/ 0 w 65"/>
              <a:gd name="T17" fmla="*/ 32715168 h 68"/>
              <a:gd name="T18" fmla="*/ 0 w 65"/>
              <a:gd name="T19" fmla="*/ 25371046 h 68"/>
              <a:gd name="T20" fmla="*/ 386422 w 65"/>
              <a:gd name="T21" fmla="*/ 19362071 h 68"/>
              <a:gd name="T22" fmla="*/ 966275 w 65"/>
              <a:gd name="T23" fmla="*/ 14020669 h 68"/>
              <a:gd name="T24" fmla="*/ 1739558 w 65"/>
              <a:gd name="T25" fmla="*/ 9346841 h 68"/>
              <a:gd name="T26" fmla="*/ 2898824 w 65"/>
              <a:gd name="T27" fmla="*/ 5341402 h 68"/>
              <a:gd name="T28" fmla="*/ 4251960 w 65"/>
              <a:gd name="T29" fmla="*/ 2670292 h 68"/>
              <a:gd name="T30" fmla="*/ 5797648 w 65"/>
              <a:gd name="T31" fmla="*/ 1335146 h 68"/>
              <a:gd name="T32" fmla="*/ 7537206 w 65"/>
              <a:gd name="T33" fmla="*/ 0 h 68"/>
              <a:gd name="T34" fmla="*/ 10049608 w 65"/>
              <a:gd name="T35" fmla="*/ 0 h 68"/>
              <a:gd name="T36" fmla="*/ 12562010 w 65"/>
              <a:gd name="T37" fmla="*/ 0 h 68"/>
              <a:gd name="T38" fmla="*/ 12562010 w 65"/>
              <a:gd name="T39" fmla="*/ 28708912 h 68"/>
              <a:gd name="T40" fmla="*/ 10822452 w 65"/>
              <a:gd name="T41" fmla="*/ 34717887 h 68"/>
              <a:gd name="T42" fmla="*/ 8696911 w 65"/>
              <a:gd name="T43" fmla="*/ 40726862 h 68"/>
              <a:gd name="T44" fmla="*/ 7537206 w 65"/>
              <a:gd name="T45" fmla="*/ 42730398 h 68"/>
              <a:gd name="T46" fmla="*/ 6570931 w 65"/>
              <a:gd name="T47" fmla="*/ 44065545 h 68"/>
              <a:gd name="T48" fmla="*/ 5218235 w 65"/>
              <a:gd name="T49" fmla="*/ 45400691 h 68"/>
              <a:gd name="T50" fmla="*/ 3672107 w 65"/>
              <a:gd name="T51" fmla="*/ 45400691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06" name="Freeform 332">
            <a:extLst>
              <a:ext uri="{FF2B5EF4-FFF2-40B4-BE49-F238E27FC236}">
                <a16:creationId xmlns:a16="http://schemas.microsoft.com/office/drawing/2014/main" id="{64027E1F-1ADB-46ED-84DE-34D9B040B7D6}"/>
              </a:ext>
            </a:extLst>
          </p:cNvPr>
          <p:cNvSpPr>
            <a:spLocks/>
          </p:cNvSpPr>
          <p:nvPr>
            <p:custDataLst>
              <p:tags r:id="rId235"/>
            </p:custDataLst>
          </p:nvPr>
        </p:nvSpPr>
        <p:spPr bwMode="auto">
          <a:xfrm>
            <a:off x="8702004" y="4020496"/>
            <a:ext cx="382273" cy="477715"/>
          </a:xfrm>
          <a:custGeom>
            <a:avLst/>
            <a:gdLst>
              <a:gd name="T0" fmla="*/ 96930602 w 625"/>
              <a:gd name="T1" fmla="*/ 94910485 h 694"/>
              <a:gd name="T2" fmla="*/ 93455236 w 625"/>
              <a:gd name="T3" fmla="*/ 96037144 h 694"/>
              <a:gd name="T4" fmla="*/ 92489832 w 625"/>
              <a:gd name="T5" fmla="*/ 107583933 h 694"/>
              <a:gd name="T6" fmla="*/ 99441004 w 625"/>
              <a:gd name="T7" fmla="*/ 113779757 h 694"/>
              <a:gd name="T8" fmla="*/ 103109715 w 625"/>
              <a:gd name="T9" fmla="*/ 114061555 h 694"/>
              <a:gd name="T10" fmla="*/ 106199272 w 625"/>
              <a:gd name="T11" fmla="*/ 119412519 h 694"/>
              <a:gd name="T12" fmla="*/ 108130080 w 625"/>
              <a:gd name="T13" fmla="*/ 129269585 h 694"/>
              <a:gd name="T14" fmla="*/ 110447137 w 625"/>
              <a:gd name="T15" fmla="*/ 133494421 h 694"/>
              <a:gd name="T16" fmla="*/ 113536254 w 625"/>
              <a:gd name="T17" fmla="*/ 136029005 h 694"/>
              <a:gd name="T18" fmla="*/ 118556618 w 625"/>
              <a:gd name="T19" fmla="*/ 137155663 h 694"/>
              <a:gd name="T20" fmla="*/ 120680771 w 625"/>
              <a:gd name="T21" fmla="*/ 142224830 h 694"/>
              <a:gd name="T22" fmla="*/ 120680771 w 625"/>
              <a:gd name="T23" fmla="*/ 151800630 h 694"/>
              <a:gd name="T24" fmla="*/ 119329117 w 625"/>
              <a:gd name="T25" fmla="*/ 169825040 h 694"/>
              <a:gd name="T26" fmla="*/ 117977464 w 625"/>
              <a:gd name="T27" fmla="*/ 189257907 h 694"/>
              <a:gd name="T28" fmla="*/ 108516329 w 625"/>
              <a:gd name="T29" fmla="*/ 195171935 h 694"/>
              <a:gd name="T30" fmla="*/ 104075119 w 625"/>
              <a:gd name="T31" fmla="*/ 195171935 h 694"/>
              <a:gd name="T32" fmla="*/ 76077086 w 625"/>
              <a:gd name="T33" fmla="*/ 158841316 h 694"/>
              <a:gd name="T34" fmla="*/ 76656240 w 625"/>
              <a:gd name="T35" fmla="*/ 155461871 h 694"/>
              <a:gd name="T36" fmla="*/ 76077086 w 625"/>
              <a:gd name="T37" fmla="*/ 151800630 h 694"/>
              <a:gd name="T38" fmla="*/ 65264297 w 625"/>
              <a:gd name="T39" fmla="*/ 137437460 h 694"/>
              <a:gd name="T40" fmla="*/ 58892279 w 625"/>
              <a:gd name="T41" fmla="*/ 127579863 h 694"/>
              <a:gd name="T42" fmla="*/ 56575222 w 625"/>
              <a:gd name="T43" fmla="*/ 118004594 h 694"/>
              <a:gd name="T44" fmla="*/ 56188973 w 625"/>
              <a:gd name="T45" fmla="*/ 107302666 h 694"/>
              <a:gd name="T46" fmla="*/ 55030224 w 625"/>
              <a:gd name="T47" fmla="*/ 101388108 h 694"/>
              <a:gd name="T48" fmla="*/ 51747763 w 625"/>
              <a:gd name="T49" fmla="*/ 96318941 h 694"/>
              <a:gd name="T50" fmla="*/ 46534493 w 625"/>
              <a:gd name="T51" fmla="*/ 87306205 h 694"/>
              <a:gd name="T52" fmla="*/ 43252032 w 625"/>
              <a:gd name="T53" fmla="*/ 75759416 h 694"/>
              <a:gd name="T54" fmla="*/ 41127879 w 625"/>
              <a:gd name="T55" fmla="*/ 67029008 h 694"/>
              <a:gd name="T56" fmla="*/ 36687109 w 625"/>
              <a:gd name="T57" fmla="*/ 59706525 h 694"/>
              <a:gd name="T58" fmla="*/ 28963438 w 625"/>
              <a:gd name="T59" fmla="*/ 48159205 h 694"/>
              <a:gd name="T60" fmla="*/ 26260131 w 625"/>
              <a:gd name="T61" fmla="*/ 41118519 h 694"/>
              <a:gd name="T62" fmla="*/ 21626016 w 625"/>
              <a:gd name="T63" fmla="*/ 37175480 h 694"/>
              <a:gd name="T64" fmla="*/ 15447343 w 625"/>
              <a:gd name="T65" fmla="*/ 31824516 h 694"/>
              <a:gd name="T66" fmla="*/ 9461574 w 625"/>
              <a:gd name="T67" fmla="*/ 23938969 h 694"/>
              <a:gd name="T68" fmla="*/ 4441210 w 625"/>
              <a:gd name="T69" fmla="*/ 14363169 h 694"/>
              <a:gd name="T70" fmla="*/ 965404 w 625"/>
              <a:gd name="T71" fmla="*/ 5350964 h 694"/>
              <a:gd name="T72" fmla="*/ 1930808 w 625"/>
              <a:gd name="T73" fmla="*/ 1126658 h 694"/>
              <a:gd name="T74" fmla="*/ 7144517 w 625"/>
              <a:gd name="T75" fmla="*/ 3661242 h 694"/>
              <a:gd name="T76" fmla="*/ 16219402 w 625"/>
              <a:gd name="T77" fmla="*/ 4506103 h 694"/>
              <a:gd name="T78" fmla="*/ 22398515 w 625"/>
              <a:gd name="T79" fmla="*/ 5632761 h 694"/>
              <a:gd name="T80" fmla="*/ 26646380 w 625"/>
              <a:gd name="T81" fmla="*/ 7604281 h 694"/>
              <a:gd name="T82" fmla="*/ 30121747 w 625"/>
              <a:gd name="T83" fmla="*/ 11828586 h 694"/>
              <a:gd name="T84" fmla="*/ 39390416 w 625"/>
              <a:gd name="T85" fmla="*/ 30697858 h 694"/>
              <a:gd name="T86" fmla="*/ 49044456 w 625"/>
              <a:gd name="T87" fmla="*/ 45906419 h 694"/>
              <a:gd name="T88" fmla="*/ 57733531 w 625"/>
              <a:gd name="T89" fmla="*/ 56890144 h 694"/>
              <a:gd name="T90" fmla="*/ 63526394 w 625"/>
              <a:gd name="T91" fmla="*/ 61677513 h 694"/>
              <a:gd name="T92" fmla="*/ 70670472 w 625"/>
              <a:gd name="T93" fmla="*/ 63930830 h 694"/>
              <a:gd name="T94" fmla="*/ 74918777 w 625"/>
              <a:gd name="T95" fmla="*/ 64775691 h 694"/>
              <a:gd name="T96" fmla="*/ 77428739 w 625"/>
              <a:gd name="T97" fmla="*/ 67873869 h 694"/>
              <a:gd name="T98" fmla="*/ 80324951 w 625"/>
              <a:gd name="T99" fmla="*/ 73224833 h 694"/>
              <a:gd name="T100" fmla="*/ 82449103 w 625"/>
              <a:gd name="T101" fmla="*/ 74632758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07" name="Freeform 333">
            <a:extLst>
              <a:ext uri="{FF2B5EF4-FFF2-40B4-BE49-F238E27FC236}">
                <a16:creationId xmlns:a16="http://schemas.microsoft.com/office/drawing/2014/main" id="{B9A3FDC1-6DC2-4B63-B124-9B068B557BEB}"/>
              </a:ext>
            </a:extLst>
          </p:cNvPr>
          <p:cNvSpPr>
            <a:spLocks/>
          </p:cNvSpPr>
          <p:nvPr>
            <p:custDataLst>
              <p:tags r:id="rId236"/>
            </p:custDataLst>
          </p:nvPr>
        </p:nvSpPr>
        <p:spPr bwMode="auto">
          <a:xfrm>
            <a:off x="9178278" y="4083514"/>
            <a:ext cx="353028" cy="335416"/>
          </a:xfrm>
          <a:custGeom>
            <a:avLst/>
            <a:gdLst>
              <a:gd name="T0" fmla="*/ 97275921 w 585"/>
              <a:gd name="T1" fmla="*/ 7619266 h 493"/>
              <a:gd name="T2" fmla="*/ 93316995 w 585"/>
              <a:gd name="T3" fmla="*/ 14966750 h 493"/>
              <a:gd name="T4" fmla="*/ 96521737 w 585"/>
              <a:gd name="T5" fmla="*/ 25307481 h 493"/>
              <a:gd name="T6" fmla="*/ 100669101 w 585"/>
              <a:gd name="T7" fmla="*/ 35375908 h 493"/>
              <a:gd name="T8" fmla="*/ 108021641 w 585"/>
              <a:gd name="T9" fmla="*/ 48165800 h 493"/>
              <a:gd name="T10" fmla="*/ 109341138 w 585"/>
              <a:gd name="T11" fmla="*/ 55785066 h 493"/>
              <a:gd name="T12" fmla="*/ 103120092 w 585"/>
              <a:gd name="T13" fmla="*/ 55512763 h 493"/>
              <a:gd name="T14" fmla="*/ 97275921 w 585"/>
              <a:gd name="T15" fmla="*/ 63404331 h 493"/>
              <a:gd name="T16" fmla="*/ 95390677 w 585"/>
              <a:gd name="T17" fmla="*/ 66942183 h 493"/>
              <a:gd name="T18" fmla="*/ 97652797 w 585"/>
              <a:gd name="T19" fmla="*/ 73745062 h 493"/>
              <a:gd name="T20" fmla="*/ 98972728 w 585"/>
              <a:gd name="T21" fmla="*/ 80003856 h 493"/>
              <a:gd name="T22" fmla="*/ 95202239 w 585"/>
              <a:gd name="T23" fmla="*/ 83813489 h 493"/>
              <a:gd name="T24" fmla="*/ 86530202 w 585"/>
              <a:gd name="T25" fmla="*/ 87895425 h 493"/>
              <a:gd name="T26" fmla="*/ 83513897 w 585"/>
              <a:gd name="T27" fmla="*/ 96331078 h 493"/>
              <a:gd name="T28" fmla="*/ 83891207 w 585"/>
              <a:gd name="T29" fmla="*/ 112930603 h 493"/>
              <a:gd name="T30" fmla="*/ 81063340 w 585"/>
              <a:gd name="T31" fmla="*/ 123543636 h 493"/>
              <a:gd name="T32" fmla="*/ 75407607 w 585"/>
              <a:gd name="T33" fmla="*/ 128441437 h 493"/>
              <a:gd name="T34" fmla="*/ 69752308 w 585"/>
              <a:gd name="T35" fmla="*/ 132795676 h 493"/>
              <a:gd name="T36" fmla="*/ 64285012 w 585"/>
              <a:gd name="T37" fmla="*/ 134156147 h 493"/>
              <a:gd name="T38" fmla="*/ 62022892 w 585"/>
              <a:gd name="T39" fmla="*/ 132523373 h 493"/>
              <a:gd name="T40" fmla="*/ 61645583 w 585"/>
              <a:gd name="T41" fmla="*/ 128169656 h 493"/>
              <a:gd name="T42" fmla="*/ 57309781 w 585"/>
              <a:gd name="T43" fmla="*/ 122727249 h 493"/>
              <a:gd name="T44" fmla="*/ 47318246 w 585"/>
              <a:gd name="T45" fmla="*/ 123543636 h 493"/>
              <a:gd name="T46" fmla="*/ 41285638 w 585"/>
              <a:gd name="T47" fmla="*/ 125720494 h 493"/>
              <a:gd name="T48" fmla="*/ 33179347 w 585"/>
              <a:gd name="T49" fmla="*/ 119733481 h 493"/>
              <a:gd name="T50" fmla="*/ 22999374 w 585"/>
              <a:gd name="T51" fmla="*/ 118645313 h 493"/>
              <a:gd name="T52" fmla="*/ 17909388 w 585"/>
              <a:gd name="T53" fmla="*/ 116740235 h 493"/>
              <a:gd name="T54" fmla="*/ 15269959 w 585"/>
              <a:gd name="T55" fmla="*/ 99596627 h 493"/>
              <a:gd name="T56" fmla="*/ 10934157 w 585"/>
              <a:gd name="T57" fmla="*/ 84357573 h 493"/>
              <a:gd name="T58" fmla="*/ 6598356 w 585"/>
              <a:gd name="T59" fmla="*/ 79459772 h 493"/>
              <a:gd name="T60" fmla="*/ 2262120 w 585"/>
              <a:gd name="T61" fmla="*/ 70751816 h 493"/>
              <a:gd name="T62" fmla="*/ 942622 w 585"/>
              <a:gd name="T63" fmla="*/ 55512763 h 493"/>
              <a:gd name="T64" fmla="*/ 5844171 w 585"/>
              <a:gd name="T65" fmla="*/ 41634702 h 493"/>
              <a:gd name="T66" fmla="*/ 10179973 w 585"/>
              <a:gd name="T67" fmla="*/ 38369154 h 493"/>
              <a:gd name="T68" fmla="*/ 14138899 w 585"/>
              <a:gd name="T69" fmla="*/ 41362399 h 493"/>
              <a:gd name="T70" fmla="*/ 18286263 w 585"/>
              <a:gd name="T71" fmla="*/ 50886743 h 493"/>
              <a:gd name="T72" fmla="*/ 24318872 w 585"/>
              <a:gd name="T73" fmla="*/ 58234227 h 493"/>
              <a:gd name="T74" fmla="*/ 32048287 w 585"/>
              <a:gd name="T75" fmla="*/ 57961924 h 493"/>
              <a:gd name="T76" fmla="*/ 41662947 w 585"/>
              <a:gd name="T77" fmla="*/ 51430827 h 493"/>
              <a:gd name="T78" fmla="*/ 43925067 w 585"/>
              <a:gd name="T79" fmla="*/ 46804807 h 493"/>
              <a:gd name="T80" fmla="*/ 54293477 w 585"/>
              <a:gd name="T81" fmla="*/ 48437581 h 493"/>
              <a:gd name="T82" fmla="*/ 61457145 w 585"/>
              <a:gd name="T83" fmla="*/ 49253968 h 493"/>
              <a:gd name="T84" fmla="*/ 63530827 w 585"/>
              <a:gd name="T85" fmla="*/ 46260722 h 493"/>
              <a:gd name="T86" fmla="*/ 68243938 w 585"/>
              <a:gd name="T87" fmla="*/ 42995174 h 493"/>
              <a:gd name="T88" fmla="*/ 72202865 w 585"/>
              <a:gd name="T89" fmla="*/ 37008682 h 493"/>
              <a:gd name="T90" fmla="*/ 78235474 w 585"/>
              <a:gd name="T91" fmla="*/ 21497848 h 493"/>
              <a:gd name="T92" fmla="*/ 80497593 w 585"/>
              <a:gd name="T93" fmla="*/ 6802879 h 493"/>
              <a:gd name="T94" fmla="*/ 84268082 w 585"/>
              <a:gd name="T95" fmla="*/ 1632774 h 493"/>
              <a:gd name="T96" fmla="*/ 90300691 w 585"/>
              <a:gd name="T97" fmla="*/ 544084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08" name="Freeform 334">
            <a:extLst>
              <a:ext uri="{FF2B5EF4-FFF2-40B4-BE49-F238E27FC236}">
                <a16:creationId xmlns:a16="http://schemas.microsoft.com/office/drawing/2014/main" id="{6E7ADC78-BC28-41E6-8608-7227609EB23A}"/>
              </a:ext>
            </a:extLst>
          </p:cNvPr>
          <p:cNvSpPr>
            <a:spLocks/>
          </p:cNvSpPr>
          <p:nvPr>
            <p:custDataLst>
              <p:tags r:id="rId237"/>
            </p:custDataLst>
          </p:nvPr>
        </p:nvSpPr>
        <p:spPr bwMode="auto">
          <a:xfrm>
            <a:off x="9673353" y="4612049"/>
            <a:ext cx="127425" cy="75213"/>
          </a:xfrm>
          <a:custGeom>
            <a:avLst/>
            <a:gdLst>
              <a:gd name="T0" fmla="*/ 0 w 212"/>
              <a:gd name="T1" fmla="*/ 31105929 h 105"/>
              <a:gd name="T2" fmla="*/ 3018062 w 212"/>
              <a:gd name="T3" fmla="*/ 25180834 h 105"/>
              <a:gd name="T4" fmla="*/ 6602038 w 212"/>
              <a:gd name="T5" fmla="*/ 20144559 h 105"/>
              <a:gd name="T6" fmla="*/ 8299779 w 212"/>
              <a:gd name="T7" fmla="*/ 17774739 h 105"/>
              <a:gd name="T8" fmla="*/ 10186014 w 212"/>
              <a:gd name="T9" fmla="*/ 15701010 h 105"/>
              <a:gd name="T10" fmla="*/ 12072249 w 212"/>
              <a:gd name="T11" fmla="*/ 13627281 h 105"/>
              <a:gd name="T12" fmla="*/ 13769990 w 212"/>
              <a:gd name="T13" fmla="*/ 11257461 h 105"/>
              <a:gd name="T14" fmla="*/ 15656225 w 212"/>
              <a:gd name="T15" fmla="*/ 9479824 h 105"/>
              <a:gd name="T16" fmla="*/ 17731387 w 212"/>
              <a:gd name="T17" fmla="*/ 7998823 h 105"/>
              <a:gd name="T18" fmla="*/ 19995042 w 212"/>
              <a:gd name="T19" fmla="*/ 6221186 h 105"/>
              <a:gd name="T20" fmla="*/ 22258263 w 212"/>
              <a:gd name="T21" fmla="*/ 4740184 h 105"/>
              <a:gd name="T22" fmla="*/ 27162994 w 212"/>
              <a:gd name="T23" fmla="*/ 2369820 h 105"/>
              <a:gd name="T24" fmla="*/ 32444277 w 212"/>
              <a:gd name="T25" fmla="*/ 0 h 105"/>
              <a:gd name="T26" fmla="*/ 39989649 w 212"/>
              <a:gd name="T27" fmla="*/ 0 h 105"/>
              <a:gd name="T28" fmla="*/ 38103415 w 212"/>
              <a:gd name="T29" fmla="*/ 2666456 h 105"/>
              <a:gd name="T30" fmla="*/ 35839759 w 212"/>
              <a:gd name="T31" fmla="*/ 5332367 h 105"/>
              <a:gd name="T32" fmla="*/ 33576104 w 212"/>
              <a:gd name="T33" fmla="*/ 7998823 h 105"/>
              <a:gd name="T34" fmla="*/ 31123956 w 212"/>
              <a:gd name="T35" fmla="*/ 10368643 h 105"/>
              <a:gd name="T36" fmla="*/ 25842239 w 212"/>
              <a:gd name="T37" fmla="*/ 15404919 h 105"/>
              <a:gd name="T38" fmla="*/ 20560521 w 212"/>
              <a:gd name="T39" fmla="*/ 19552376 h 105"/>
              <a:gd name="T40" fmla="*/ 14901818 w 212"/>
              <a:gd name="T41" fmla="*/ 23403741 h 105"/>
              <a:gd name="T42" fmla="*/ 9431607 w 212"/>
              <a:gd name="T43" fmla="*/ 26662380 h 105"/>
              <a:gd name="T44" fmla="*/ 4338383 w 212"/>
              <a:gd name="T45" fmla="*/ 29328291 h 105"/>
              <a:gd name="T46" fmla="*/ 0 w 212"/>
              <a:gd name="T47" fmla="*/ 31105929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09" name="Freeform 335">
            <a:extLst>
              <a:ext uri="{FF2B5EF4-FFF2-40B4-BE49-F238E27FC236}">
                <a16:creationId xmlns:a16="http://schemas.microsoft.com/office/drawing/2014/main" id="{29DB8536-FD18-4004-AED6-9CB2B18CE900}"/>
              </a:ext>
            </a:extLst>
          </p:cNvPr>
          <p:cNvSpPr>
            <a:spLocks/>
          </p:cNvSpPr>
          <p:nvPr>
            <p:custDataLst>
              <p:tags r:id="rId238"/>
            </p:custDataLst>
          </p:nvPr>
        </p:nvSpPr>
        <p:spPr bwMode="auto">
          <a:xfrm>
            <a:off x="9834201" y="4179057"/>
            <a:ext cx="58490" cy="115872"/>
          </a:xfrm>
          <a:custGeom>
            <a:avLst/>
            <a:gdLst>
              <a:gd name="T0" fmla="*/ 0 w 92"/>
              <a:gd name="T1" fmla="*/ 23231284 h 166"/>
              <a:gd name="T2" fmla="*/ 0 w 92"/>
              <a:gd name="T3" fmla="*/ 42447072 h 166"/>
              <a:gd name="T4" fmla="*/ 1085061 w 92"/>
              <a:gd name="T5" fmla="*/ 41299941 h 166"/>
              <a:gd name="T6" fmla="*/ 2604798 w 92"/>
              <a:gd name="T7" fmla="*/ 39865759 h 166"/>
              <a:gd name="T8" fmla="*/ 3038543 w 92"/>
              <a:gd name="T9" fmla="*/ 39292193 h 166"/>
              <a:gd name="T10" fmla="*/ 3689859 w 92"/>
              <a:gd name="T11" fmla="*/ 38718628 h 166"/>
              <a:gd name="T12" fmla="*/ 3906964 w 92"/>
              <a:gd name="T13" fmla="*/ 37858547 h 166"/>
              <a:gd name="T14" fmla="*/ 4124070 w 92"/>
              <a:gd name="T15" fmla="*/ 37284446 h 166"/>
              <a:gd name="T16" fmla="*/ 4341175 w 92"/>
              <a:gd name="T17" fmla="*/ 39579244 h 166"/>
              <a:gd name="T18" fmla="*/ 5209131 w 92"/>
              <a:gd name="T19" fmla="*/ 42447072 h 166"/>
              <a:gd name="T20" fmla="*/ 5860447 w 92"/>
              <a:gd name="T21" fmla="*/ 44167769 h 166"/>
              <a:gd name="T22" fmla="*/ 6511763 w 92"/>
              <a:gd name="T23" fmla="*/ 45601951 h 166"/>
              <a:gd name="T24" fmla="*/ 7596824 w 92"/>
              <a:gd name="T25" fmla="*/ 46749083 h 166"/>
              <a:gd name="T26" fmla="*/ 8465245 w 92"/>
              <a:gd name="T27" fmla="*/ 47609699 h 166"/>
              <a:gd name="T28" fmla="*/ 8899456 w 92"/>
              <a:gd name="T29" fmla="*/ 45315436 h 166"/>
              <a:gd name="T30" fmla="*/ 8899456 w 92"/>
              <a:gd name="T31" fmla="*/ 42447072 h 166"/>
              <a:gd name="T32" fmla="*/ 8899456 w 92"/>
              <a:gd name="T33" fmla="*/ 39292193 h 166"/>
              <a:gd name="T34" fmla="*/ 8899456 w 92"/>
              <a:gd name="T35" fmla="*/ 36137314 h 166"/>
              <a:gd name="T36" fmla="*/ 8682350 w 92"/>
              <a:gd name="T37" fmla="*/ 30688173 h 166"/>
              <a:gd name="T38" fmla="*/ 8465245 w 92"/>
              <a:gd name="T39" fmla="*/ 28393910 h 166"/>
              <a:gd name="T40" fmla="*/ 10418727 w 92"/>
              <a:gd name="T41" fmla="*/ 28680425 h 166"/>
              <a:gd name="T42" fmla="*/ 12372209 w 92"/>
              <a:gd name="T43" fmla="*/ 29253991 h 166"/>
              <a:gd name="T44" fmla="*/ 13891481 w 92"/>
              <a:gd name="T45" fmla="*/ 30114607 h 166"/>
              <a:gd name="T46" fmla="*/ 15410753 w 92"/>
              <a:gd name="T47" fmla="*/ 30975223 h 166"/>
              <a:gd name="T48" fmla="*/ 16496279 w 92"/>
              <a:gd name="T49" fmla="*/ 31835304 h 166"/>
              <a:gd name="T50" fmla="*/ 17798446 w 92"/>
              <a:gd name="T51" fmla="*/ 32695920 h 166"/>
              <a:gd name="T52" fmla="*/ 18883972 w 92"/>
              <a:gd name="T53" fmla="*/ 33269486 h 166"/>
              <a:gd name="T54" fmla="*/ 19969033 w 92"/>
              <a:gd name="T55" fmla="*/ 33843052 h 166"/>
              <a:gd name="T56" fmla="*/ 18449762 w 92"/>
              <a:gd name="T57" fmla="*/ 29541042 h 166"/>
              <a:gd name="T58" fmla="*/ 17581340 w 92"/>
              <a:gd name="T59" fmla="*/ 25525546 h 166"/>
              <a:gd name="T60" fmla="*/ 16496279 w 92"/>
              <a:gd name="T61" fmla="*/ 21510587 h 166"/>
              <a:gd name="T62" fmla="*/ 15844963 w 92"/>
              <a:gd name="T63" fmla="*/ 17208577 h 166"/>
              <a:gd name="T64" fmla="*/ 15193647 w 92"/>
              <a:gd name="T65" fmla="*/ 13479596 h 166"/>
              <a:gd name="T66" fmla="*/ 14542797 w 92"/>
              <a:gd name="T67" fmla="*/ 9751152 h 166"/>
              <a:gd name="T68" fmla="*/ 13674376 w 92"/>
              <a:gd name="T69" fmla="*/ 6596273 h 166"/>
              <a:gd name="T70" fmla="*/ 12806420 w 92"/>
              <a:gd name="T71" fmla="*/ 3728445 h 166"/>
              <a:gd name="T72" fmla="*/ 12806420 w 92"/>
              <a:gd name="T73" fmla="*/ 5449142 h 166"/>
              <a:gd name="T74" fmla="*/ 12806420 w 92"/>
              <a:gd name="T75" fmla="*/ 7170374 h 166"/>
              <a:gd name="T76" fmla="*/ 10852938 w 92"/>
              <a:gd name="T77" fmla="*/ 6596273 h 166"/>
              <a:gd name="T78" fmla="*/ 9116095 w 92"/>
              <a:gd name="T79" fmla="*/ 5449142 h 166"/>
              <a:gd name="T80" fmla="*/ 7596824 w 92"/>
              <a:gd name="T81" fmla="*/ 4302010 h 166"/>
              <a:gd name="T82" fmla="*/ 6294657 w 92"/>
              <a:gd name="T83" fmla="*/ 3154879 h 166"/>
              <a:gd name="T84" fmla="*/ 4992491 w 92"/>
              <a:gd name="T85" fmla="*/ 2007748 h 166"/>
              <a:gd name="T86" fmla="*/ 3472754 w 92"/>
              <a:gd name="T87" fmla="*/ 860616 h 166"/>
              <a:gd name="T88" fmla="*/ 1736377 w 92"/>
              <a:gd name="T89" fmla="*/ 287051 h 166"/>
              <a:gd name="T90" fmla="*/ 0 w 92"/>
              <a:gd name="T91" fmla="*/ 0 h 166"/>
              <a:gd name="T92" fmla="*/ 0 w 92"/>
              <a:gd name="T93" fmla="*/ 2867828 h 166"/>
              <a:gd name="T94" fmla="*/ 0 w 92"/>
              <a:gd name="T95" fmla="*/ 5449142 h 166"/>
              <a:gd name="T96" fmla="*/ 0 w 92"/>
              <a:gd name="T97" fmla="*/ 9464637 h 166"/>
              <a:gd name="T98" fmla="*/ 0 w 92"/>
              <a:gd name="T99" fmla="*/ 14913778 h 166"/>
              <a:gd name="T100" fmla="*/ 0 w 92"/>
              <a:gd name="T101" fmla="*/ 20076405 h 166"/>
              <a:gd name="T102" fmla="*/ 0 w 92"/>
              <a:gd name="T103" fmla="*/ 23231284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10" name="Freeform 336">
            <a:extLst>
              <a:ext uri="{FF2B5EF4-FFF2-40B4-BE49-F238E27FC236}">
                <a16:creationId xmlns:a16="http://schemas.microsoft.com/office/drawing/2014/main" id="{EF617FF5-70BC-48D2-A89B-86C362CB3EFD}"/>
              </a:ext>
            </a:extLst>
          </p:cNvPr>
          <p:cNvSpPr>
            <a:spLocks/>
          </p:cNvSpPr>
          <p:nvPr>
            <p:custDataLst>
              <p:tags r:id="rId239"/>
            </p:custDataLst>
          </p:nvPr>
        </p:nvSpPr>
        <p:spPr bwMode="auto">
          <a:xfrm>
            <a:off x="9850912" y="4366076"/>
            <a:ext cx="100269" cy="73182"/>
          </a:xfrm>
          <a:custGeom>
            <a:avLst/>
            <a:gdLst>
              <a:gd name="T0" fmla="*/ 1296194 w 166"/>
              <a:gd name="T1" fmla="*/ 0 h 62"/>
              <a:gd name="T2" fmla="*/ 2592819 w 166"/>
              <a:gd name="T3" fmla="*/ 2408882 h 62"/>
              <a:gd name="T4" fmla="*/ 4074491 w 166"/>
              <a:gd name="T5" fmla="*/ 4818659 h 62"/>
              <a:gd name="T6" fmla="*/ 5555733 w 166"/>
              <a:gd name="T7" fmla="*/ 5621620 h 62"/>
              <a:gd name="T8" fmla="*/ 6666880 w 166"/>
              <a:gd name="T9" fmla="*/ 6424580 h 62"/>
              <a:gd name="T10" fmla="*/ 8889173 w 166"/>
              <a:gd name="T11" fmla="*/ 6424580 h 62"/>
              <a:gd name="T12" fmla="*/ 10741371 w 166"/>
              <a:gd name="T13" fmla="*/ 5621620 h 62"/>
              <a:gd name="T14" fmla="*/ 12778616 w 166"/>
              <a:gd name="T15" fmla="*/ 4015699 h 62"/>
              <a:gd name="T16" fmla="*/ 14815431 w 166"/>
              <a:gd name="T17" fmla="*/ 2408882 h 62"/>
              <a:gd name="T18" fmla="*/ 17038155 w 166"/>
              <a:gd name="T19" fmla="*/ 802961 h 62"/>
              <a:gd name="T20" fmla="*/ 19630543 w 166"/>
              <a:gd name="T21" fmla="*/ 0 h 62"/>
              <a:gd name="T22" fmla="*/ 20556642 w 166"/>
              <a:gd name="T23" fmla="*/ 802961 h 62"/>
              <a:gd name="T24" fmla="*/ 21297263 w 166"/>
              <a:gd name="T25" fmla="*/ 1605921 h 62"/>
              <a:gd name="T26" fmla="*/ 22223362 w 166"/>
              <a:gd name="T27" fmla="*/ 4015699 h 62"/>
              <a:gd name="T28" fmla="*/ 22964413 w 166"/>
              <a:gd name="T29" fmla="*/ 6424580 h 62"/>
              <a:gd name="T30" fmla="*/ 24445655 w 166"/>
              <a:gd name="T31" fmla="*/ 13653017 h 62"/>
              <a:gd name="T32" fmla="*/ 25556802 w 166"/>
              <a:gd name="T33" fmla="*/ 20880558 h 62"/>
              <a:gd name="T34" fmla="*/ 26853427 w 166"/>
              <a:gd name="T35" fmla="*/ 28911956 h 62"/>
              <a:gd name="T36" fmla="*/ 27964573 w 166"/>
              <a:gd name="T37" fmla="*/ 36139496 h 62"/>
              <a:gd name="T38" fmla="*/ 28705194 w 166"/>
              <a:gd name="T39" fmla="*/ 39352235 h 62"/>
              <a:gd name="T40" fmla="*/ 29260767 w 166"/>
              <a:gd name="T41" fmla="*/ 41761116 h 62"/>
              <a:gd name="T42" fmla="*/ 30001819 w 166"/>
              <a:gd name="T43" fmla="*/ 43367933 h 62"/>
              <a:gd name="T44" fmla="*/ 30742440 w 166"/>
              <a:gd name="T45" fmla="*/ 44973854 h 62"/>
              <a:gd name="T46" fmla="*/ 29446245 w 166"/>
              <a:gd name="T47" fmla="*/ 45776815 h 62"/>
              <a:gd name="T48" fmla="*/ 27964573 w 166"/>
              <a:gd name="T49" fmla="*/ 47383632 h 62"/>
              <a:gd name="T50" fmla="*/ 26482901 w 166"/>
              <a:gd name="T51" fmla="*/ 48989553 h 62"/>
              <a:gd name="T52" fmla="*/ 24631133 w 166"/>
              <a:gd name="T53" fmla="*/ 49792514 h 62"/>
              <a:gd name="T54" fmla="*/ 23149461 w 166"/>
              <a:gd name="T55" fmla="*/ 48989553 h 62"/>
              <a:gd name="T56" fmla="*/ 22038315 w 166"/>
              <a:gd name="T57" fmla="*/ 46579775 h 62"/>
              <a:gd name="T58" fmla="*/ 20741690 w 166"/>
              <a:gd name="T59" fmla="*/ 43367933 h 62"/>
              <a:gd name="T60" fmla="*/ 19630543 w 166"/>
              <a:gd name="T61" fmla="*/ 40155195 h 62"/>
              <a:gd name="T62" fmla="*/ 18519397 w 166"/>
              <a:gd name="T63" fmla="*/ 36139496 h 62"/>
              <a:gd name="T64" fmla="*/ 17223202 w 166"/>
              <a:gd name="T65" fmla="*/ 32927654 h 62"/>
              <a:gd name="T66" fmla="*/ 16112056 w 166"/>
              <a:gd name="T67" fmla="*/ 31320837 h 62"/>
              <a:gd name="T68" fmla="*/ 14630384 w 166"/>
              <a:gd name="T69" fmla="*/ 30517877 h 62"/>
              <a:gd name="T70" fmla="*/ 10370845 w 166"/>
              <a:gd name="T71" fmla="*/ 30517877 h 62"/>
              <a:gd name="T72" fmla="*/ 6481832 w 166"/>
              <a:gd name="T73" fmla="*/ 31320837 h 62"/>
              <a:gd name="T74" fmla="*/ 4815112 w 166"/>
              <a:gd name="T75" fmla="*/ 32927654 h 62"/>
              <a:gd name="T76" fmla="*/ 3518918 w 166"/>
              <a:gd name="T77" fmla="*/ 34533575 h 62"/>
              <a:gd name="T78" fmla="*/ 2222293 w 166"/>
              <a:gd name="T79" fmla="*/ 36942457 h 62"/>
              <a:gd name="T80" fmla="*/ 1296194 w 166"/>
              <a:gd name="T81" fmla="*/ 40155195 h 62"/>
              <a:gd name="T82" fmla="*/ 370526 w 166"/>
              <a:gd name="T83" fmla="*/ 36139496 h 62"/>
              <a:gd name="T84" fmla="*/ 185048 w 166"/>
              <a:gd name="T85" fmla="*/ 32123798 h 62"/>
              <a:gd name="T86" fmla="*/ 0 w 166"/>
              <a:gd name="T87" fmla="*/ 27305138 h 62"/>
              <a:gd name="T88" fmla="*/ 185048 w 166"/>
              <a:gd name="T89" fmla="*/ 22487375 h 62"/>
              <a:gd name="T90" fmla="*/ 740621 w 166"/>
              <a:gd name="T91" fmla="*/ 12046200 h 62"/>
              <a:gd name="T92" fmla="*/ 1296194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11" name="Freeform 337">
            <a:extLst>
              <a:ext uri="{FF2B5EF4-FFF2-40B4-BE49-F238E27FC236}">
                <a16:creationId xmlns:a16="http://schemas.microsoft.com/office/drawing/2014/main" id="{3A49C4B6-3C0A-45CD-BC3E-572827094FCC}"/>
              </a:ext>
            </a:extLst>
          </p:cNvPr>
          <p:cNvSpPr>
            <a:spLocks/>
          </p:cNvSpPr>
          <p:nvPr>
            <p:custDataLst>
              <p:tags r:id="rId240"/>
            </p:custDataLst>
          </p:nvPr>
        </p:nvSpPr>
        <p:spPr bwMode="auto">
          <a:xfrm>
            <a:off x="9957447" y="4268500"/>
            <a:ext cx="119070" cy="81313"/>
          </a:xfrm>
          <a:custGeom>
            <a:avLst/>
            <a:gdLst>
              <a:gd name="T0" fmla="*/ 6510658 w 193"/>
              <a:gd name="T1" fmla="*/ 9639405 h 121"/>
              <a:gd name="T2" fmla="*/ 9469725 w 193"/>
              <a:gd name="T3" fmla="*/ 6885289 h 121"/>
              <a:gd name="T4" fmla="*/ 13415740 w 193"/>
              <a:gd name="T5" fmla="*/ 3305149 h 121"/>
              <a:gd name="T6" fmla="*/ 16572019 w 193"/>
              <a:gd name="T7" fmla="*/ 1101541 h 121"/>
              <a:gd name="T8" fmla="*/ 18545027 w 193"/>
              <a:gd name="T9" fmla="*/ 275517 h 121"/>
              <a:gd name="T10" fmla="*/ 20715246 w 193"/>
              <a:gd name="T11" fmla="*/ 275517 h 121"/>
              <a:gd name="T12" fmla="*/ 22885466 w 193"/>
              <a:gd name="T13" fmla="*/ 826025 h 121"/>
              <a:gd name="T14" fmla="*/ 25844533 w 193"/>
              <a:gd name="T15" fmla="*/ 2754116 h 121"/>
              <a:gd name="T16" fmla="*/ 29198468 w 193"/>
              <a:gd name="T17" fmla="*/ 5783748 h 121"/>
              <a:gd name="T18" fmla="*/ 31960767 w 193"/>
              <a:gd name="T19" fmla="*/ 7711314 h 121"/>
              <a:gd name="T20" fmla="*/ 34130987 w 193"/>
              <a:gd name="T21" fmla="*/ 8262347 h 121"/>
              <a:gd name="T22" fmla="*/ 35314702 w 193"/>
              <a:gd name="T23" fmla="*/ 13219545 h 121"/>
              <a:gd name="T24" fmla="*/ 35117046 w 193"/>
              <a:gd name="T25" fmla="*/ 18176744 h 121"/>
              <a:gd name="T26" fmla="*/ 35906338 w 193"/>
              <a:gd name="T27" fmla="*/ 20655868 h 121"/>
              <a:gd name="T28" fmla="*/ 36892842 w 193"/>
              <a:gd name="T29" fmla="*/ 24511525 h 121"/>
              <a:gd name="T30" fmla="*/ 37090054 w 193"/>
              <a:gd name="T31" fmla="*/ 28091665 h 121"/>
              <a:gd name="T32" fmla="*/ 37682134 w 193"/>
              <a:gd name="T33" fmla="*/ 30019231 h 121"/>
              <a:gd name="T34" fmla="*/ 37090054 w 193"/>
              <a:gd name="T35" fmla="*/ 31396289 h 121"/>
              <a:gd name="T36" fmla="*/ 34919834 w 193"/>
              <a:gd name="T37" fmla="*/ 32498355 h 121"/>
              <a:gd name="T38" fmla="*/ 31368687 w 193"/>
              <a:gd name="T39" fmla="*/ 33324380 h 121"/>
              <a:gd name="T40" fmla="*/ 22885466 w 193"/>
              <a:gd name="T41" fmla="*/ 32773347 h 121"/>
              <a:gd name="T42" fmla="*/ 14204588 w 193"/>
              <a:gd name="T43" fmla="*/ 31947322 h 121"/>
              <a:gd name="T44" fmla="*/ 12429237 w 193"/>
              <a:gd name="T45" fmla="*/ 30294748 h 121"/>
              <a:gd name="T46" fmla="*/ 11048309 w 193"/>
              <a:gd name="T47" fmla="*/ 27540632 h 121"/>
              <a:gd name="T48" fmla="*/ 10653441 w 193"/>
              <a:gd name="T49" fmla="*/ 23960492 h 121"/>
              <a:gd name="T50" fmla="*/ 9272513 w 193"/>
              <a:gd name="T51" fmla="*/ 21757409 h 121"/>
              <a:gd name="T52" fmla="*/ 6115790 w 193"/>
              <a:gd name="T53" fmla="*/ 20655868 h 121"/>
              <a:gd name="T54" fmla="*/ 2564643 w 193"/>
              <a:gd name="T55" fmla="*/ 19003293 h 121"/>
              <a:gd name="T56" fmla="*/ 592080 w 193"/>
              <a:gd name="T57" fmla="*/ 17075202 h 121"/>
              <a:gd name="T58" fmla="*/ 0 w 193"/>
              <a:gd name="T59" fmla="*/ 15973661 h 121"/>
              <a:gd name="T60" fmla="*/ 197212 w 193"/>
              <a:gd name="T61" fmla="*/ 14045570 h 121"/>
              <a:gd name="T62" fmla="*/ 1380928 w 193"/>
              <a:gd name="T63" fmla="*/ 12393521 h 121"/>
              <a:gd name="T64" fmla="*/ 3945571 w 193"/>
              <a:gd name="T65" fmla="*/ 10465430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12" name="Freeform 338">
            <a:extLst>
              <a:ext uri="{FF2B5EF4-FFF2-40B4-BE49-F238E27FC236}">
                <a16:creationId xmlns:a16="http://schemas.microsoft.com/office/drawing/2014/main" id="{5FD877E6-7418-4695-B9C4-C2CAC424B342}"/>
              </a:ext>
            </a:extLst>
          </p:cNvPr>
          <p:cNvSpPr>
            <a:spLocks/>
          </p:cNvSpPr>
          <p:nvPr>
            <p:custDataLst>
              <p:tags r:id="rId241"/>
            </p:custDataLst>
          </p:nvPr>
        </p:nvSpPr>
        <p:spPr bwMode="auto">
          <a:xfrm>
            <a:off x="9525041" y="4187188"/>
            <a:ext cx="231870" cy="298827"/>
          </a:xfrm>
          <a:custGeom>
            <a:avLst/>
            <a:gdLst>
              <a:gd name="T0" fmla="*/ 7156986 w 379"/>
              <a:gd name="T1" fmla="*/ 116256528 h 437"/>
              <a:gd name="T2" fmla="*/ 8897743 w 379"/>
              <a:gd name="T3" fmla="*/ 112926967 h 437"/>
              <a:gd name="T4" fmla="*/ 4642167 w 379"/>
              <a:gd name="T5" fmla="*/ 86290475 h 437"/>
              <a:gd name="T6" fmla="*/ 387031 w 379"/>
              <a:gd name="T7" fmla="*/ 81573465 h 437"/>
              <a:gd name="T8" fmla="*/ 2901409 w 379"/>
              <a:gd name="T9" fmla="*/ 74914342 h 437"/>
              <a:gd name="T10" fmla="*/ 5996334 w 379"/>
              <a:gd name="T11" fmla="*/ 61319028 h 437"/>
              <a:gd name="T12" fmla="*/ 7543576 w 379"/>
              <a:gd name="T13" fmla="*/ 47723187 h 437"/>
              <a:gd name="T14" fmla="*/ 11025531 w 379"/>
              <a:gd name="T15" fmla="*/ 44116557 h 437"/>
              <a:gd name="T16" fmla="*/ 12572774 w 379"/>
              <a:gd name="T17" fmla="*/ 36069986 h 437"/>
              <a:gd name="T18" fmla="*/ 14700562 w 379"/>
              <a:gd name="T19" fmla="*/ 21641886 h 437"/>
              <a:gd name="T20" fmla="*/ 17408896 w 379"/>
              <a:gd name="T21" fmla="*/ 14150504 h 437"/>
              <a:gd name="T22" fmla="*/ 22244578 w 379"/>
              <a:gd name="T23" fmla="*/ 8601235 h 437"/>
              <a:gd name="T24" fmla="*/ 29595079 w 379"/>
              <a:gd name="T25" fmla="*/ 6936718 h 437"/>
              <a:gd name="T26" fmla="*/ 41974337 w 379"/>
              <a:gd name="T27" fmla="*/ 10543348 h 437"/>
              <a:gd name="T28" fmla="*/ 50679005 w 379"/>
              <a:gd name="T29" fmla="*/ 13318246 h 437"/>
              <a:gd name="T30" fmla="*/ 58609612 w 379"/>
              <a:gd name="T31" fmla="*/ 12485987 h 437"/>
              <a:gd name="T32" fmla="*/ 63638810 w 379"/>
              <a:gd name="T33" fmla="*/ 8601235 h 437"/>
              <a:gd name="T34" fmla="*/ 68861083 w 379"/>
              <a:gd name="T35" fmla="*/ 1942112 h 437"/>
              <a:gd name="T36" fmla="*/ 72343038 w 379"/>
              <a:gd name="T37" fmla="*/ 2497303 h 437"/>
              <a:gd name="T38" fmla="*/ 71956007 w 379"/>
              <a:gd name="T39" fmla="*/ 9711089 h 437"/>
              <a:gd name="T40" fmla="*/ 63638810 w 379"/>
              <a:gd name="T41" fmla="*/ 22197076 h 437"/>
              <a:gd name="T42" fmla="*/ 56481824 w 379"/>
              <a:gd name="T43" fmla="*/ 26913560 h 437"/>
              <a:gd name="T44" fmla="*/ 52419763 w 379"/>
              <a:gd name="T45" fmla="*/ 26081301 h 437"/>
              <a:gd name="T46" fmla="*/ 46036399 w 379"/>
              <a:gd name="T47" fmla="*/ 19144583 h 437"/>
              <a:gd name="T48" fmla="*/ 41007201 w 379"/>
              <a:gd name="T49" fmla="*/ 15537953 h 437"/>
              <a:gd name="T50" fmla="*/ 34237246 w 379"/>
              <a:gd name="T51" fmla="*/ 15537953 h 437"/>
              <a:gd name="T52" fmla="*/ 26693230 w 379"/>
              <a:gd name="T53" fmla="*/ 16925402 h 437"/>
              <a:gd name="T54" fmla="*/ 22051063 w 379"/>
              <a:gd name="T55" fmla="*/ 21919481 h 437"/>
              <a:gd name="T56" fmla="*/ 15281108 w 379"/>
              <a:gd name="T57" fmla="*/ 44671221 h 437"/>
              <a:gd name="T58" fmla="*/ 23018199 w 379"/>
              <a:gd name="T59" fmla="*/ 46890929 h 437"/>
              <a:gd name="T60" fmla="*/ 25726093 w 379"/>
              <a:gd name="T61" fmla="*/ 52994861 h 437"/>
              <a:gd name="T62" fmla="*/ 29981670 w 379"/>
              <a:gd name="T63" fmla="*/ 46613333 h 437"/>
              <a:gd name="T64" fmla="*/ 33270109 w 379"/>
              <a:gd name="T65" fmla="*/ 42451513 h 437"/>
              <a:gd name="T66" fmla="*/ 42747959 w 379"/>
              <a:gd name="T67" fmla="*/ 41619255 h 437"/>
              <a:gd name="T68" fmla="*/ 48357702 w 379"/>
              <a:gd name="T69" fmla="*/ 40786996 h 437"/>
              <a:gd name="T70" fmla="*/ 52806354 w 379"/>
              <a:gd name="T71" fmla="*/ 48000782 h 437"/>
              <a:gd name="T72" fmla="*/ 53967005 w 379"/>
              <a:gd name="T73" fmla="*/ 56324423 h 437"/>
              <a:gd name="T74" fmla="*/ 47584081 w 379"/>
              <a:gd name="T75" fmla="*/ 53272456 h 437"/>
              <a:gd name="T76" fmla="*/ 42167853 w 379"/>
              <a:gd name="T77" fmla="*/ 51330344 h 437"/>
              <a:gd name="T78" fmla="*/ 37138655 w 379"/>
              <a:gd name="T79" fmla="*/ 54104715 h 437"/>
              <a:gd name="T80" fmla="*/ 35978004 w 379"/>
              <a:gd name="T81" fmla="*/ 57989467 h 437"/>
              <a:gd name="T82" fmla="*/ 37138655 w 379"/>
              <a:gd name="T83" fmla="*/ 64648590 h 437"/>
              <a:gd name="T84" fmla="*/ 42554883 w 379"/>
              <a:gd name="T85" fmla="*/ 75469532 h 437"/>
              <a:gd name="T86" fmla="*/ 43522020 w 379"/>
              <a:gd name="T87" fmla="*/ 82128655 h 437"/>
              <a:gd name="T88" fmla="*/ 41587747 w 379"/>
              <a:gd name="T89" fmla="*/ 89342442 h 437"/>
              <a:gd name="T90" fmla="*/ 39653474 w 379"/>
              <a:gd name="T91" fmla="*/ 95723970 h 437"/>
              <a:gd name="T92" fmla="*/ 40620610 w 379"/>
              <a:gd name="T93" fmla="*/ 98776463 h 437"/>
              <a:gd name="T94" fmla="*/ 45649808 w 379"/>
              <a:gd name="T95" fmla="*/ 102106024 h 437"/>
              <a:gd name="T96" fmla="*/ 48744293 w 379"/>
              <a:gd name="T97" fmla="*/ 110984328 h 437"/>
              <a:gd name="T98" fmla="*/ 46229914 w 379"/>
              <a:gd name="T99" fmla="*/ 119030900 h 437"/>
              <a:gd name="T100" fmla="*/ 42747959 w 379"/>
              <a:gd name="T101" fmla="*/ 116811192 h 437"/>
              <a:gd name="T102" fmla="*/ 39072928 w 379"/>
              <a:gd name="T103" fmla="*/ 115701338 h 437"/>
              <a:gd name="T104" fmla="*/ 34237246 w 379"/>
              <a:gd name="T105" fmla="*/ 110984328 h 437"/>
              <a:gd name="T106" fmla="*/ 29595079 w 379"/>
              <a:gd name="T107" fmla="*/ 98776463 h 437"/>
              <a:gd name="T108" fmla="*/ 26500154 w 379"/>
              <a:gd name="T109" fmla="*/ 84348363 h 437"/>
              <a:gd name="T110" fmla="*/ 22051063 w 379"/>
              <a:gd name="T111" fmla="*/ 72972230 h 437"/>
              <a:gd name="T112" fmla="*/ 18762623 w 379"/>
              <a:gd name="T113" fmla="*/ 71862376 h 437"/>
              <a:gd name="T114" fmla="*/ 20310305 w 379"/>
              <a:gd name="T115" fmla="*/ 105712654 h 437"/>
              <a:gd name="T116" fmla="*/ 17989002 w 379"/>
              <a:gd name="T117" fmla="*/ 112094182 h 437"/>
              <a:gd name="T118" fmla="*/ 11025531 w 379"/>
              <a:gd name="T119" fmla="*/ 118198641 h 437"/>
              <a:gd name="T120" fmla="*/ 11412562 w 379"/>
              <a:gd name="T121" fmla="*/ 121250607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13" name="Freeform 339">
            <a:extLst>
              <a:ext uri="{FF2B5EF4-FFF2-40B4-BE49-F238E27FC236}">
                <a16:creationId xmlns:a16="http://schemas.microsoft.com/office/drawing/2014/main" id="{08C336B9-B376-45F9-84F3-360599AA12ED}"/>
              </a:ext>
            </a:extLst>
          </p:cNvPr>
          <p:cNvSpPr>
            <a:spLocks/>
          </p:cNvSpPr>
          <p:nvPr>
            <p:custDataLst>
              <p:tags r:id="rId242"/>
            </p:custDataLst>
          </p:nvPr>
        </p:nvSpPr>
        <p:spPr bwMode="auto">
          <a:xfrm>
            <a:off x="9059209" y="4500243"/>
            <a:ext cx="348851" cy="124003"/>
          </a:xfrm>
          <a:custGeom>
            <a:avLst/>
            <a:gdLst>
              <a:gd name="T0" fmla="*/ 2071259 w 578"/>
              <a:gd name="T1" fmla="*/ 13398673 h 184"/>
              <a:gd name="T2" fmla="*/ 4519623 w 578"/>
              <a:gd name="T3" fmla="*/ 8575088 h 184"/>
              <a:gd name="T4" fmla="*/ 7720897 w 578"/>
              <a:gd name="T5" fmla="*/ 1876011 h 184"/>
              <a:gd name="T6" fmla="*/ 10168827 w 578"/>
              <a:gd name="T7" fmla="*/ 0 h 184"/>
              <a:gd name="T8" fmla="*/ 14876787 w 578"/>
              <a:gd name="T9" fmla="*/ 535781 h 184"/>
              <a:gd name="T10" fmla="*/ 17890158 w 578"/>
              <a:gd name="T11" fmla="*/ 535781 h 184"/>
              <a:gd name="T12" fmla="*/ 19019739 w 578"/>
              <a:gd name="T13" fmla="*/ 1339712 h 184"/>
              <a:gd name="T14" fmla="*/ 21656439 w 578"/>
              <a:gd name="T15" fmla="*/ 4019654 h 184"/>
              <a:gd name="T16" fmla="*/ 27682314 w 578"/>
              <a:gd name="T17" fmla="*/ 7235376 h 184"/>
              <a:gd name="T18" fmla="*/ 31636930 w 578"/>
              <a:gd name="T19" fmla="*/ 9915318 h 184"/>
              <a:gd name="T20" fmla="*/ 33520288 w 578"/>
              <a:gd name="T21" fmla="*/ 14202603 h 184"/>
              <a:gd name="T22" fmla="*/ 36156554 w 578"/>
              <a:gd name="T23" fmla="*/ 16346246 h 184"/>
              <a:gd name="T24" fmla="*/ 43500779 w 578"/>
              <a:gd name="T25" fmla="*/ 16078614 h 184"/>
              <a:gd name="T26" fmla="*/ 52163355 w 578"/>
              <a:gd name="T27" fmla="*/ 13666822 h 184"/>
              <a:gd name="T28" fmla="*/ 56306307 w 578"/>
              <a:gd name="T29" fmla="*/ 10451099 h 184"/>
              <a:gd name="T30" fmla="*/ 59130909 w 578"/>
              <a:gd name="T31" fmla="*/ 9111387 h 184"/>
              <a:gd name="T32" fmla="*/ 61579273 w 578"/>
              <a:gd name="T33" fmla="*/ 9379019 h 184"/>
              <a:gd name="T34" fmla="*/ 63838868 w 578"/>
              <a:gd name="T35" fmla="*/ 8307457 h 184"/>
              <a:gd name="T36" fmla="*/ 68923499 w 578"/>
              <a:gd name="T37" fmla="*/ 9111387 h 184"/>
              <a:gd name="T38" fmla="*/ 75137710 w 578"/>
              <a:gd name="T39" fmla="*/ 15810465 h 184"/>
              <a:gd name="T40" fmla="*/ 80599012 w 578"/>
              <a:gd name="T41" fmla="*/ 23849772 h 184"/>
              <a:gd name="T42" fmla="*/ 85871978 w 578"/>
              <a:gd name="T43" fmla="*/ 28137575 h 184"/>
              <a:gd name="T44" fmla="*/ 90203266 w 578"/>
              <a:gd name="T45" fmla="*/ 28673356 h 184"/>
              <a:gd name="T46" fmla="*/ 92839532 w 578"/>
              <a:gd name="T47" fmla="*/ 28941505 h 184"/>
              <a:gd name="T48" fmla="*/ 95099127 w 578"/>
              <a:gd name="T49" fmla="*/ 33496940 h 184"/>
              <a:gd name="T50" fmla="*/ 98300834 w 578"/>
              <a:gd name="T51" fmla="*/ 37516594 h 184"/>
              <a:gd name="T52" fmla="*/ 100560429 w 578"/>
              <a:gd name="T53" fmla="*/ 37248444 h 184"/>
              <a:gd name="T54" fmla="*/ 102820024 w 578"/>
              <a:gd name="T55" fmla="*/ 34300871 h 184"/>
              <a:gd name="T56" fmla="*/ 105080053 w 578"/>
              <a:gd name="T57" fmla="*/ 35908732 h 184"/>
              <a:gd name="T58" fmla="*/ 107527983 w 578"/>
              <a:gd name="T59" fmla="*/ 38856306 h 184"/>
              <a:gd name="T60" fmla="*/ 108846333 w 578"/>
              <a:gd name="T61" fmla="*/ 42875959 h 184"/>
              <a:gd name="T62" fmla="*/ 108281326 w 578"/>
              <a:gd name="T63" fmla="*/ 46359832 h 184"/>
              <a:gd name="T64" fmla="*/ 106775074 w 578"/>
              <a:gd name="T65" fmla="*/ 48771624 h 184"/>
              <a:gd name="T66" fmla="*/ 103761703 w 578"/>
              <a:gd name="T67" fmla="*/ 47699543 h 184"/>
              <a:gd name="T68" fmla="*/ 99053743 w 578"/>
              <a:gd name="T69" fmla="*/ 45555901 h 184"/>
              <a:gd name="T70" fmla="*/ 92462861 w 578"/>
              <a:gd name="T71" fmla="*/ 46091682 h 184"/>
              <a:gd name="T72" fmla="*/ 87001559 w 578"/>
              <a:gd name="T73" fmla="*/ 45555901 h 184"/>
              <a:gd name="T74" fmla="*/ 84930300 w 578"/>
              <a:gd name="T75" fmla="*/ 42875959 h 184"/>
              <a:gd name="T76" fmla="*/ 82482369 w 578"/>
              <a:gd name="T77" fmla="*/ 41268098 h 184"/>
              <a:gd name="T78" fmla="*/ 80222340 w 578"/>
              <a:gd name="T79" fmla="*/ 42875959 h 184"/>
              <a:gd name="T80" fmla="*/ 78339417 w 578"/>
              <a:gd name="T81" fmla="*/ 45555901 h 184"/>
              <a:gd name="T82" fmla="*/ 74949374 w 578"/>
              <a:gd name="T83" fmla="*/ 45823533 h 184"/>
              <a:gd name="T84" fmla="*/ 61767609 w 578"/>
              <a:gd name="T85" fmla="*/ 40999948 h 184"/>
              <a:gd name="T86" fmla="*/ 52163355 w 578"/>
              <a:gd name="T87" fmla="*/ 35372951 h 184"/>
              <a:gd name="T88" fmla="*/ 50092096 w 578"/>
              <a:gd name="T89" fmla="*/ 32961159 h 184"/>
              <a:gd name="T90" fmla="*/ 43312444 w 578"/>
              <a:gd name="T91" fmla="*/ 31889079 h 184"/>
              <a:gd name="T92" fmla="*/ 37851575 w 578"/>
              <a:gd name="T93" fmla="*/ 30281217 h 184"/>
              <a:gd name="T94" fmla="*/ 31636930 w 578"/>
              <a:gd name="T95" fmla="*/ 29745436 h 184"/>
              <a:gd name="T96" fmla="*/ 27493978 w 578"/>
              <a:gd name="T97" fmla="*/ 29745436 h 184"/>
              <a:gd name="T98" fmla="*/ 23351026 w 578"/>
              <a:gd name="T99" fmla="*/ 28137575 h 184"/>
              <a:gd name="T100" fmla="*/ 22597683 w 578"/>
              <a:gd name="T101" fmla="*/ 26529713 h 184"/>
              <a:gd name="T102" fmla="*/ 12993863 w 578"/>
              <a:gd name="T103" fmla="*/ 25993414 h 184"/>
              <a:gd name="T104" fmla="*/ 8662576 w 578"/>
              <a:gd name="T105" fmla="*/ 23581622 h 184"/>
              <a:gd name="T106" fmla="*/ 0 w 578"/>
              <a:gd name="T107" fmla="*/ 14738385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14" name="Freeform 340">
            <a:extLst>
              <a:ext uri="{FF2B5EF4-FFF2-40B4-BE49-F238E27FC236}">
                <a16:creationId xmlns:a16="http://schemas.microsoft.com/office/drawing/2014/main" id="{4AF81786-FF3F-4416-BFA0-B76A44D0AC95}"/>
              </a:ext>
            </a:extLst>
          </p:cNvPr>
          <p:cNvSpPr>
            <a:spLocks/>
          </p:cNvSpPr>
          <p:nvPr>
            <p:custDataLst>
              <p:tags r:id="rId243"/>
            </p:custDataLst>
          </p:nvPr>
        </p:nvSpPr>
        <p:spPr bwMode="auto">
          <a:xfrm>
            <a:off x="10005493" y="4315256"/>
            <a:ext cx="298716" cy="329318"/>
          </a:xfrm>
          <a:custGeom>
            <a:avLst/>
            <a:gdLst>
              <a:gd name="T0" fmla="*/ 91828545 w 491"/>
              <a:gd name="T1" fmla="*/ 131907046 h 481"/>
              <a:gd name="T2" fmla="*/ 87065669 w 491"/>
              <a:gd name="T3" fmla="*/ 128052106 h 481"/>
              <a:gd name="T4" fmla="*/ 80397554 w 491"/>
              <a:gd name="T5" fmla="*/ 119515194 h 481"/>
              <a:gd name="T6" fmla="*/ 78492316 w 491"/>
              <a:gd name="T7" fmla="*/ 114833746 h 481"/>
              <a:gd name="T8" fmla="*/ 71633895 w 491"/>
              <a:gd name="T9" fmla="*/ 112906277 h 481"/>
              <a:gd name="T10" fmla="*/ 68585514 w 491"/>
              <a:gd name="T11" fmla="*/ 111804266 h 481"/>
              <a:gd name="T12" fmla="*/ 66680276 w 491"/>
              <a:gd name="T13" fmla="*/ 109050812 h 481"/>
              <a:gd name="T14" fmla="*/ 65918181 w 491"/>
              <a:gd name="T15" fmla="*/ 102992376 h 481"/>
              <a:gd name="T16" fmla="*/ 65156086 w 491"/>
              <a:gd name="T17" fmla="*/ 91426507 h 481"/>
              <a:gd name="T18" fmla="*/ 62298447 w 491"/>
              <a:gd name="T19" fmla="*/ 83440076 h 481"/>
              <a:gd name="T20" fmla="*/ 60774257 w 491"/>
              <a:gd name="T21" fmla="*/ 76280678 h 481"/>
              <a:gd name="T22" fmla="*/ 59821856 w 491"/>
              <a:gd name="T23" fmla="*/ 67192760 h 481"/>
              <a:gd name="T24" fmla="*/ 55630332 w 491"/>
              <a:gd name="T25" fmla="*/ 61409826 h 481"/>
              <a:gd name="T26" fmla="*/ 49534007 w 491"/>
              <a:gd name="T27" fmla="*/ 56452876 h 481"/>
              <a:gd name="T28" fmla="*/ 42103797 w 491"/>
              <a:gd name="T29" fmla="*/ 52322434 h 481"/>
              <a:gd name="T30" fmla="*/ 33911928 w 491"/>
              <a:gd name="T31" fmla="*/ 49843958 h 481"/>
              <a:gd name="T32" fmla="*/ 25338575 w 491"/>
              <a:gd name="T33" fmla="*/ 49017975 h 481"/>
              <a:gd name="T34" fmla="*/ 25338575 w 491"/>
              <a:gd name="T35" fmla="*/ 42959538 h 481"/>
              <a:gd name="T36" fmla="*/ 20956746 w 491"/>
              <a:gd name="T37" fmla="*/ 39930057 h 481"/>
              <a:gd name="T38" fmla="*/ 16193869 w 491"/>
              <a:gd name="T39" fmla="*/ 35799615 h 481"/>
              <a:gd name="T40" fmla="*/ 12574135 w 491"/>
              <a:gd name="T41" fmla="*/ 30567162 h 481"/>
              <a:gd name="T42" fmla="*/ 13907583 w 491"/>
              <a:gd name="T43" fmla="*/ 36625599 h 481"/>
              <a:gd name="T44" fmla="*/ 10287849 w 491"/>
              <a:gd name="T45" fmla="*/ 40481063 h 481"/>
              <a:gd name="T46" fmla="*/ 7620516 w 491"/>
              <a:gd name="T47" fmla="*/ 49017975 h 481"/>
              <a:gd name="T48" fmla="*/ 4572571 w 491"/>
              <a:gd name="T49" fmla="*/ 60583843 h 481"/>
              <a:gd name="T50" fmla="*/ 2476591 w 491"/>
              <a:gd name="T51" fmla="*/ 72975694 h 481"/>
              <a:gd name="T52" fmla="*/ 2667333 w 491"/>
              <a:gd name="T53" fmla="*/ 65265291 h 481"/>
              <a:gd name="T54" fmla="*/ 4381829 w 491"/>
              <a:gd name="T55" fmla="*/ 57554362 h 481"/>
              <a:gd name="T56" fmla="*/ 6096325 w 491"/>
              <a:gd name="T57" fmla="*/ 49843958 h 481"/>
              <a:gd name="T58" fmla="*/ 5715278 w 491"/>
              <a:gd name="T59" fmla="*/ 39379577 h 481"/>
              <a:gd name="T60" fmla="*/ 3238686 w 491"/>
              <a:gd name="T61" fmla="*/ 30567162 h 481"/>
              <a:gd name="T62" fmla="*/ 0 w 491"/>
              <a:gd name="T63" fmla="*/ 20102780 h 481"/>
              <a:gd name="T64" fmla="*/ 6477373 w 491"/>
              <a:gd name="T65" fmla="*/ 16247316 h 481"/>
              <a:gd name="T66" fmla="*/ 11240250 w 491"/>
              <a:gd name="T67" fmla="*/ 15145830 h 481"/>
              <a:gd name="T68" fmla="*/ 16003127 w 491"/>
              <a:gd name="T69" fmla="*/ 15971813 h 481"/>
              <a:gd name="T70" fmla="*/ 19432555 w 491"/>
              <a:gd name="T71" fmla="*/ 18175310 h 481"/>
              <a:gd name="T72" fmla="*/ 23052289 w 491"/>
              <a:gd name="T73" fmla="*/ 22581255 h 481"/>
              <a:gd name="T74" fmla="*/ 26672023 w 491"/>
              <a:gd name="T75" fmla="*/ 30567162 h 481"/>
              <a:gd name="T76" fmla="*/ 34864329 w 491"/>
              <a:gd name="T77" fmla="*/ 28364189 h 481"/>
              <a:gd name="T78" fmla="*/ 37340920 w 491"/>
              <a:gd name="T79" fmla="*/ 26436720 h 481"/>
              <a:gd name="T80" fmla="*/ 38103015 w 491"/>
              <a:gd name="T81" fmla="*/ 24784228 h 481"/>
              <a:gd name="T82" fmla="*/ 39436463 w 491"/>
              <a:gd name="T83" fmla="*/ 20102780 h 481"/>
              <a:gd name="T84" fmla="*/ 44199777 w 491"/>
              <a:gd name="T85" fmla="*/ 14870327 h 481"/>
              <a:gd name="T86" fmla="*/ 48390864 w 491"/>
              <a:gd name="T87" fmla="*/ 13493863 h 481"/>
              <a:gd name="T88" fmla="*/ 50105360 w 491"/>
              <a:gd name="T89" fmla="*/ 8261409 h 481"/>
              <a:gd name="T90" fmla="*/ 53344483 w 491"/>
              <a:gd name="T91" fmla="*/ 2478475 h 481"/>
              <a:gd name="T92" fmla="*/ 57154522 w 491"/>
              <a:gd name="T93" fmla="*/ 275503 h 481"/>
              <a:gd name="T94" fmla="*/ 61536352 w 491"/>
              <a:gd name="T95" fmla="*/ 0 h 481"/>
              <a:gd name="T96" fmla="*/ 66871018 w 491"/>
              <a:gd name="T97" fmla="*/ 2202973 h 481"/>
              <a:gd name="T98" fmla="*/ 76015724 w 491"/>
              <a:gd name="T99" fmla="*/ 10464382 h 481"/>
              <a:gd name="T100" fmla="*/ 81540696 w 491"/>
              <a:gd name="T101" fmla="*/ 14595349 h 481"/>
              <a:gd name="T102" fmla="*/ 87446716 w 491"/>
              <a:gd name="T103" fmla="*/ 16522819 h 481"/>
              <a:gd name="T104" fmla="*/ 93543041 w 491"/>
              <a:gd name="T105" fmla="*/ 18450288 h 481"/>
              <a:gd name="T106" fmla="*/ 93543041 w 491"/>
              <a:gd name="T107" fmla="*/ 89774016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chemeClr val="accent6">
              <a:lumMod val="40000"/>
              <a:lumOff val="60000"/>
            </a:schemeClr>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15" name="Freeform 341">
            <a:extLst>
              <a:ext uri="{FF2B5EF4-FFF2-40B4-BE49-F238E27FC236}">
                <a16:creationId xmlns:a16="http://schemas.microsoft.com/office/drawing/2014/main" id="{8F47156B-8FC2-4F24-9715-DAC02D490C67}"/>
              </a:ext>
            </a:extLst>
          </p:cNvPr>
          <p:cNvSpPr>
            <a:spLocks/>
          </p:cNvSpPr>
          <p:nvPr>
            <p:custDataLst>
              <p:tags r:id="rId244"/>
            </p:custDataLst>
          </p:nvPr>
        </p:nvSpPr>
        <p:spPr bwMode="auto">
          <a:xfrm>
            <a:off x="7962525" y="2796734"/>
            <a:ext cx="75202" cy="77247"/>
          </a:xfrm>
          <a:custGeom>
            <a:avLst/>
            <a:gdLst>
              <a:gd name="T0" fmla="*/ 0 w 133"/>
              <a:gd name="T1" fmla="*/ 5050801 h 117"/>
              <a:gd name="T2" fmla="*/ 11858267 w 133"/>
              <a:gd name="T3" fmla="*/ 0 h 117"/>
              <a:gd name="T4" fmla="*/ 13340347 w 133"/>
              <a:gd name="T5" fmla="*/ 1595261 h 117"/>
              <a:gd name="T6" fmla="*/ 14987194 w 133"/>
              <a:gd name="T7" fmla="*/ 3721588 h 117"/>
              <a:gd name="T8" fmla="*/ 16634446 w 133"/>
              <a:gd name="T9" fmla="*/ 6646062 h 117"/>
              <a:gd name="T10" fmla="*/ 17951760 w 133"/>
              <a:gd name="T11" fmla="*/ 9836069 h 117"/>
              <a:gd name="T12" fmla="*/ 19434247 w 133"/>
              <a:gd name="T13" fmla="*/ 13026075 h 117"/>
              <a:gd name="T14" fmla="*/ 20751561 w 133"/>
              <a:gd name="T15" fmla="*/ 16482131 h 117"/>
              <a:gd name="T16" fmla="*/ 21081093 w 133"/>
              <a:gd name="T17" fmla="*/ 18077392 h 117"/>
              <a:gd name="T18" fmla="*/ 21410624 w 133"/>
              <a:gd name="T19" fmla="*/ 19672137 h 117"/>
              <a:gd name="T20" fmla="*/ 21574984 w 133"/>
              <a:gd name="T21" fmla="*/ 21267398 h 117"/>
              <a:gd name="T22" fmla="*/ 21904516 w 133"/>
              <a:gd name="T23" fmla="*/ 22862144 h 117"/>
              <a:gd name="T24" fmla="*/ 21574984 w 133"/>
              <a:gd name="T25" fmla="*/ 24457405 h 117"/>
              <a:gd name="T26" fmla="*/ 21081093 w 133"/>
              <a:gd name="T27" fmla="*/ 25786617 h 117"/>
              <a:gd name="T28" fmla="*/ 20422436 w 133"/>
              <a:gd name="T29" fmla="*/ 27115830 h 117"/>
              <a:gd name="T30" fmla="*/ 19434247 w 133"/>
              <a:gd name="T31" fmla="*/ 28445042 h 117"/>
              <a:gd name="T32" fmla="*/ 18610418 w 133"/>
              <a:gd name="T33" fmla="*/ 29508206 h 117"/>
              <a:gd name="T34" fmla="*/ 17622229 w 133"/>
              <a:gd name="T35" fmla="*/ 30305836 h 117"/>
              <a:gd name="T36" fmla="*/ 16963571 w 133"/>
              <a:gd name="T37" fmla="*/ 31103467 h 117"/>
              <a:gd name="T38" fmla="*/ 16469680 w 133"/>
              <a:gd name="T39" fmla="*/ 31103467 h 117"/>
              <a:gd name="T40" fmla="*/ 11858267 w 133"/>
              <a:gd name="T41" fmla="*/ 25255035 h 117"/>
              <a:gd name="T42" fmla="*/ 7411214 w 133"/>
              <a:gd name="T43" fmla="*/ 18608974 h 117"/>
              <a:gd name="T44" fmla="*/ 5270070 w 133"/>
              <a:gd name="T45" fmla="*/ 15418967 h 117"/>
              <a:gd name="T46" fmla="*/ 2964567 w 133"/>
              <a:gd name="T47" fmla="*/ 12228960 h 117"/>
              <a:gd name="T48" fmla="*/ 1317720 w 133"/>
              <a:gd name="T49" fmla="*/ 8772905 h 117"/>
              <a:gd name="T50" fmla="*/ 0 w 133"/>
              <a:gd name="T51" fmla="*/ 5050801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16" name="Freeform 342">
            <a:extLst>
              <a:ext uri="{FF2B5EF4-FFF2-40B4-BE49-F238E27FC236}">
                <a16:creationId xmlns:a16="http://schemas.microsoft.com/office/drawing/2014/main" id="{9F876580-133C-4B51-A19D-E0D439FE54A4}"/>
              </a:ext>
            </a:extLst>
          </p:cNvPr>
          <p:cNvSpPr>
            <a:spLocks/>
          </p:cNvSpPr>
          <p:nvPr>
            <p:custDataLst>
              <p:tags r:id="rId245"/>
            </p:custDataLst>
          </p:nvPr>
        </p:nvSpPr>
        <p:spPr bwMode="auto">
          <a:xfrm>
            <a:off x="5815110" y="2022228"/>
            <a:ext cx="307071" cy="231742"/>
          </a:xfrm>
          <a:custGeom>
            <a:avLst/>
            <a:gdLst>
              <a:gd name="T0" fmla="*/ 51933146 w 505"/>
              <a:gd name="T1" fmla="*/ 9902778 h 339"/>
              <a:gd name="T2" fmla="*/ 92410606 w 505"/>
              <a:gd name="T3" fmla="*/ 23657365 h 339"/>
              <a:gd name="T4" fmla="*/ 91264906 w 505"/>
              <a:gd name="T5" fmla="*/ 29984213 h 339"/>
              <a:gd name="T6" fmla="*/ 89928256 w 505"/>
              <a:gd name="T7" fmla="*/ 35485523 h 339"/>
              <a:gd name="T8" fmla="*/ 88019194 w 505"/>
              <a:gd name="T9" fmla="*/ 39886991 h 339"/>
              <a:gd name="T10" fmla="*/ 86109694 w 505"/>
              <a:gd name="T11" fmla="*/ 42087725 h 339"/>
              <a:gd name="T12" fmla="*/ 88019194 w 505"/>
              <a:gd name="T13" fmla="*/ 50615307 h 339"/>
              <a:gd name="T14" fmla="*/ 91073956 w 505"/>
              <a:gd name="T15" fmla="*/ 59142888 h 339"/>
              <a:gd name="T16" fmla="*/ 96420118 w 505"/>
              <a:gd name="T17" fmla="*/ 70971571 h 339"/>
              <a:gd name="T18" fmla="*/ 94129155 w 505"/>
              <a:gd name="T19" fmla="*/ 74547501 h 339"/>
              <a:gd name="T20" fmla="*/ 91455856 w 505"/>
              <a:gd name="T21" fmla="*/ 80324166 h 339"/>
              <a:gd name="T22" fmla="*/ 89355843 w 505"/>
              <a:gd name="T23" fmla="*/ 86376184 h 339"/>
              <a:gd name="T24" fmla="*/ 88592043 w 505"/>
              <a:gd name="T25" fmla="*/ 93253215 h 339"/>
              <a:gd name="T26" fmla="*/ 84582531 w 505"/>
              <a:gd name="T27" fmla="*/ 92978386 h 339"/>
              <a:gd name="T28" fmla="*/ 79045419 w 505"/>
              <a:gd name="T29" fmla="*/ 92152848 h 339"/>
              <a:gd name="T30" fmla="*/ 73508307 w 505"/>
              <a:gd name="T31" fmla="*/ 91052481 h 339"/>
              <a:gd name="T32" fmla="*/ 68353095 w 505"/>
              <a:gd name="T33" fmla="*/ 89677285 h 339"/>
              <a:gd name="T34" fmla="*/ 58043108 w 505"/>
              <a:gd name="T35" fmla="*/ 89401931 h 339"/>
              <a:gd name="T36" fmla="*/ 50405547 w 505"/>
              <a:gd name="T37" fmla="*/ 88301564 h 339"/>
              <a:gd name="T38" fmla="*/ 47350784 w 505"/>
              <a:gd name="T39" fmla="*/ 87201197 h 339"/>
              <a:gd name="T40" fmla="*/ 44296022 w 505"/>
              <a:gd name="T41" fmla="*/ 85275817 h 339"/>
              <a:gd name="T42" fmla="*/ 40668409 w 505"/>
              <a:gd name="T43" fmla="*/ 82524900 h 339"/>
              <a:gd name="T44" fmla="*/ 34367498 w 505"/>
              <a:gd name="T45" fmla="*/ 79499153 h 339"/>
              <a:gd name="T46" fmla="*/ 27876073 w 505"/>
              <a:gd name="T47" fmla="*/ 75097685 h 339"/>
              <a:gd name="T48" fmla="*/ 18711348 w 505"/>
              <a:gd name="T49" fmla="*/ 68495483 h 339"/>
              <a:gd name="T50" fmla="*/ 11837587 w 505"/>
              <a:gd name="T51" fmla="*/ 56667325 h 339"/>
              <a:gd name="T52" fmla="*/ 9928524 w 505"/>
              <a:gd name="T53" fmla="*/ 46489193 h 339"/>
              <a:gd name="T54" fmla="*/ 6873325 w 505"/>
              <a:gd name="T55" fmla="*/ 34110327 h 339"/>
              <a:gd name="T56" fmla="*/ 2863812 w 505"/>
              <a:gd name="T57" fmla="*/ 22831828 h 339"/>
              <a:gd name="T58" fmla="*/ 381900 w 505"/>
              <a:gd name="T59" fmla="*/ 17605347 h 339"/>
              <a:gd name="T60" fmla="*/ 954750 w 505"/>
              <a:gd name="T61" fmla="*/ 16780334 h 339"/>
              <a:gd name="T62" fmla="*/ 2100450 w 505"/>
              <a:gd name="T63" fmla="*/ 15404613 h 339"/>
              <a:gd name="T64" fmla="*/ 2100450 w 505"/>
              <a:gd name="T65" fmla="*/ 13203879 h 339"/>
              <a:gd name="T66" fmla="*/ 2100450 w 505"/>
              <a:gd name="T67" fmla="*/ 11828683 h 339"/>
              <a:gd name="T68" fmla="*/ 6491862 w 505"/>
              <a:gd name="T69" fmla="*/ 9352595 h 339"/>
              <a:gd name="T70" fmla="*/ 13938036 w 505"/>
              <a:gd name="T71" fmla="*/ 6052018 h 339"/>
              <a:gd name="T72" fmla="*/ 24438973 w 505"/>
              <a:gd name="T73" fmla="*/ 2200734 h 339"/>
              <a:gd name="T74" fmla="*/ 33030848 w 505"/>
              <a:gd name="T75" fmla="*/ 3025747 h 339"/>
              <a:gd name="T76" fmla="*/ 35895097 w 505"/>
              <a:gd name="T77" fmla="*/ 7702569 h 339"/>
              <a:gd name="T78" fmla="*/ 38377010 w 505"/>
              <a:gd name="T79" fmla="*/ 9627949 h 339"/>
              <a:gd name="T80" fmla="*/ 41813672 w 505"/>
              <a:gd name="T81" fmla="*/ 9902778 h 339"/>
              <a:gd name="T82" fmla="*/ 45632671 w 505"/>
              <a:gd name="T83" fmla="*/ 9902778 h 339"/>
              <a:gd name="T84" fmla="*/ 49451234 w 505"/>
              <a:gd name="T85" fmla="*/ 6602202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17" name="Freeform 343">
            <a:extLst>
              <a:ext uri="{FF2B5EF4-FFF2-40B4-BE49-F238E27FC236}">
                <a16:creationId xmlns:a16="http://schemas.microsoft.com/office/drawing/2014/main" id="{1BDC7296-767A-4A12-B225-3BB1B5ECF72D}"/>
              </a:ext>
            </a:extLst>
          </p:cNvPr>
          <p:cNvSpPr>
            <a:spLocks/>
          </p:cNvSpPr>
          <p:nvPr>
            <p:custDataLst>
              <p:tags r:id="rId246"/>
            </p:custDataLst>
          </p:nvPr>
        </p:nvSpPr>
        <p:spPr bwMode="auto">
          <a:xfrm>
            <a:off x="5902844" y="2288528"/>
            <a:ext cx="202626" cy="93510"/>
          </a:xfrm>
          <a:custGeom>
            <a:avLst/>
            <a:gdLst>
              <a:gd name="T0" fmla="*/ 58253641 w 338"/>
              <a:gd name="T1" fmla="*/ 0 h 141"/>
              <a:gd name="T2" fmla="*/ 34728357 w 338"/>
              <a:gd name="T3" fmla="*/ 0 h 141"/>
              <a:gd name="T4" fmla="*/ 31367478 w 338"/>
              <a:gd name="T5" fmla="*/ 2053463 h 141"/>
              <a:gd name="T6" fmla="*/ 26886163 w 338"/>
              <a:gd name="T7" fmla="*/ 5390782 h 141"/>
              <a:gd name="T8" fmla="*/ 24645721 w 338"/>
              <a:gd name="T9" fmla="*/ 6931006 h 141"/>
              <a:gd name="T10" fmla="*/ 22218612 w 338"/>
              <a:gd name="T11" fmla="*/ 8214357 h 141"/>
              <a:gd name="T12" fmla="*/ 20911508 w 338"/>
              <a:gd name="T13" fmla="*/ 8727596 h 141"/>
              <a:gd name="T14" fmla="*/ 19604836 w 338"/>
              <a:gd name="T15" fmla="*/ 8984468 h 141"/>
              <a:gd name="T16" fmla="*/ 18484399 w 338"/>
              <a:gd name="T17" fmla="*/ 9240835 h 141"/>
              <a:gd name="T18" fmla="*/ 17363962 w 338"/>
              <a:gd name="T19" fmla="*/ 9497707 h 141"/>
              <a:gd name="T20" fmla="*/ 16430625 w 338"/>
              <a:gd name="T21" fmla="*/ 9240835 h 141"/>
              <a:gd name="T22" fmla="*/ 15683523 w 338"/>
              <a:gd name="T23" fmla="*/ 8984468 h 141"/>
              <a:gd name="T24" fmla="*/ 14563518 w 338"/>
              <a:gd name="T25" fmla="*/ 8214357 h 141"/>
              <a:gd name="T26" fmla="*/ 13816416 w 338"/>
              <a:gd name="T27" fmla="*/ 7701118 h 141"/>
              <a:gd name="T28" fmla="*/ 12323077 w 338"/>
              <a:gd name="T29" fmla="*/ 6160894 h 141"/>
              <a:gd name="T30" fmla="*/ 11015972 w 338"/>
              <a:gd name="T31" fmla="*/ 4620671 h 141"/>
              <a:gd name="T32" fmla="*/ 9148866 w 338"/>
              <a:gd name="T33" fmla="*/ 8727596 h 141"/>
              <a:gd name="T34" fmla="*/ 6908424 w 338"/>
              <a:gd name="T35" fmla="*/ 13091393 h 141"/>
              <a:gd name="T36" fmla="*/ 5601320 w 338"/>
              <a:gd name="T37" fmla="*/ 15401729 h 141"/>
              <a:gd name="T38" fmla="*/ 3920881 w 338"/>
              <a:gd name="T39" fmla="*/ 17455191 h 141"/>
              <a:gd name="T40" fmla="*/ 2053774 w 338"/>
              <a:gd name="T41" fmla="*/ 19252288 h 141"/>
              <a:gd name="T42" fmla="*/ 0 w 338"/>
              <a:gd name="T43" fmla="*/ 20535638 h 141"/>
              <a:gd name="T44" fmla="*/ 2240442 w 338"/>
              <a:gd name="T45" fmla="*/ 23102847 h 141"/>
              <a:gd name="T46" fmla="*/ 4294216 w 338"/>
              <a:gd name="T47" fmla="*/ 25669548 h 141"/>
              <a:gd name="T48" fmla="*/ 6161322 w 338"/>
              <a:gd name="T49" fmla="*/ 27723011 h 141"/>
              <a:gd name="T50" fmla="*/ 8215096 w 338"/>
              <a:gd name="T51" fmla="*/ 29776980 h 141"/>
              <a:gd name="T52" fmla="*/ 10269303 w 338"/>
              <a:gd name="T53" fmla="*/ 31317203 h 141"/>
              <a:gd name="T54" fmla="*/ 12323077 w 338"/>
              <a:gd name="T55" fmla="*/ 33113793 h 141"/>
              <a:gd name="T56" fmla="*/ 14750186 w 338"/>
              <a:gd name="T57" fmla="*/ 34654016 h 141"/>
              <a:gd name="T58" fmla="*/ 17363962 w 338"/>
              <a:gd name="T59" fmla="*/ 36194240 h 141"/>
              <a:gd name="T60" fmla="*/ 48358106 w 338"/>
              <a:gd name="T61" fmla="*/ 36194240 h 141"/>
              <a:gd name="T62" fmla="*/ 50225212 w 338"/>
              <a:gd name="T63" fmla="*/ 31830442 h 141"/>
              <a:gd name="T64" fmla="*/ 52465654 w 338"/>
              <a:gd name="T65" fmla="*/ 27466644 h 141"/>
              <a:gd name="T66" fmla="*/ 54519428 w 338"/>
              <a:gd name="T67" fmla="*/ 23616086 h 141"/>
              <a:gd name="T68" fmla="*/ 56760302 w 338"/>
              <a:gd name="T69" fmla="*/ 20022399 h 141"/>
              <a:gd name="T70" fmla="*/ 58814076 w 338"/>
              <a:gd name="T71" fmla="*/ 16428713 h 141"/>
              <a:gd name="T72" fmla="*/ 60494515 w 338"/>
              <a:gd name="T73" fmla="*/ 12321282 h 141"/>
              <a:gd name="T74" fmla="*/ 62174522 w 338"/>
              <a:gd name="T75" fmla="*/ 8727596 h 141"/>
              <a:gd name="T76" fmla="*/ 63108291 w 338"/>
              <a:gd name="T77" fmla="*/ 4620671 h 141"/>
              <a:gd name="T78" fmla="*/ 58253641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18" name="Freeform 344">
            <a:extLst>
              <a:ext uri="{FF2B5EF4-FFF2-40B4-BE49-F238E27FC236}">
                <a16:creationId xmlns:a16="http://schemas.microsoft.com/office/drawing/2014/main" id="{E1C1F0A8-CFFE-42C3-A6B7-B45A052461EA}"/>
              </a:ext>
            </a:extLst>
          </p:cNvPr>
          <p:cNvSpPr>
            <a:spLocks/>
          </p:cNvSpPr>
          <p:nvPr>
            <p:custDataLst>
              <p:tags r:id="rId247"/>
            </p:custDataLst>
          </p:nvPr>
        </p:nvSpPr>
        <p:spPr bwMode="auto">
          <a:xfrm>
            <a:off x="6042802" y="1841306"/>
            <a:ext cx="154580" cy="83346"/>
          </a:xfrm>
          <a:custGeom>
            <a:avLst/>
            <a:gdLst>
              <a:gd name="T0" fmla="*/ 47678632 w 259"/>
              <a:gd name="T1" fmla="*/ 32839671 h 129"/>
              <a:gd name="T2" fmla="*/ 46942375 w 259"/>
              <a:gd name="T3" fmla="*/ 25966181 h 129"/>
              <a:gd name="T4" fmla="*/ 46390182 w 259"/>
              <a:gd name="T5" fmla="*/ 20365672 h 129"/>
              <a:gd name="T6" fmla="*/ 46390182 w 259"/>
              <a:gd name="T7" fmla="*/ 16038143 h 129"/>
              <a:gd name="T8" fmla="*/ 46574247 w 259"/>
              <a:gd name="T9" fmla="*/ 12728797 h 129"/>
              <a:gd name="T10" fmla="*/ 47310503 w 259"/>
              <a:gd name="T11" fmla="*/ 7382581 h 129"/>
              <a:gd name="T12" fmla="*/ 47678632 w 259"/>
              <a:gd name="T13" fmla="*/ 3055053 h 129"/>
              <a:gd name="T14" fmla="*/ 47494568 w 259"/>
              <a:gd name="T15" fmla="*/ 3564144 h 129"/>
              <a:gd name="T16" fmla="*/ 47126439 w 259"/>
              <a:gd name="T17" fmla="*/ 4073235 h 129"/>
              <a:gd name="T18" fmla="*/ 46574247 w 259"/>
              <a:gd name="T19" fmla="*/ 4327529 h 129"/>
              <a:gd name="T20" fmla="*/ 45837561 w 259"/>
              <a:gd name="T21" fmla="*/ 4582327 h 129"/>
              <a:gd name="T22" fmla="*/ 43996919 w 259"/>
              <a:gd name="T23" fmla="*/ 4836620 h 129"/>
              <a:gd name="T24" fmla="*/ 41971784 w 259"/>
              <a:gd name="T25" fmla="*/ 4836620 h 129"/>
              <a:gd name="T26" fmla="*/ 37737878 w 259"/>
              <a:gd name="T27" fmla="*/ 4836620 h 129"/>
              <a:gd name="T28" fmla="*/ 35344615 w 259"/>
              <a:gd name="T29" fmla="*/ 4582327 h 129"/>
              <a:gd name="T30" fmla="*/ 33319909 w 259"/>
              <a:gd name="T31" fmla="*/ 4327529 h 129"/>
              <a:gd name="T32" fmla="*/ 31662902 w 259"/>
              <a:gd name="T33" fmla="*/ 3818437 h 129"/>
              <a:gd name="T34" fmla="*/ 30006324 w 259"/>
              <a:gd name="T35" fmla="*/ 3055053 h 129"/>
              <a:gd name="T36" fmla="*/ 28717446 w 259"/>
              <a:gd name="T37" fmla="*/ 2291163 h 129"/>
              <a:gd name="T38" fmla="*/ 26876804 w 259"/>
              <a:gd name="T39" fmla="*/ 1527274 h 129"/>
              <a:gd name="T40" fmla="*/ 24667605 w 259"/>
              <a:gd name="T41" fmla="*/ 763889 h 129"/>
              <a:gd name="T42" fmla="*/ 21722149 w 259"/>
              <a:gd name="T43" fmla="*/ 254798 h 129"/>
              <a:gd name="T44" fmla="*/ 18224500 w 259"/>
              <a:gd name="T45" fmla="*/ 0 h 129"/>
              <a:gd name="T46" fmla="*/ 15279044 w 259"/>
              <a:gd name="T47" fmla="*/ 0 h 129"/>
              <a:gd name="T48" fmla="*/ 12334017 w 259"/>
              <a:gd name="T49" fmla="*/ 0 h 129"/>
              <a:gd name="T50" fmla="*/ 9204497 w 259"/>
              <a:gd name="T51" fmla="*/ 0 h 129"/>
              <a:gd name="T52" fmla="*/ 6259041 w 259"/>
              <a:gd name="T53" fmla="*/ 509091 h 129"/>
              <a:gd name="T54" fmla="*/ 4970162 w 259"/>
              <a:gd name="T55" fmla="*/ 1018183 h 129"/>
              <a:gd name="T56" fmla="*/ 3865777 w 259"/>
              <a:gd name="T57" fmla="*/ 1527274 h 129"/>
              <a:gd name="T58" fmla="*/ 2577328 w 259"/>
              <a:gd name="T59" fmla="*/ 2291163 h 129"/>
              <a:gd name="T60" fmla="*/ 1841071 w 259"/>
              <a:gd name="T61" fmla="*/ 3309346 h 129"/>
              <a:gd name="T62" fmla="*/ 920321 w 259"/>
              <a:gd name="T63" fmla="*/ 4327529 h 129"/>
              <a:gd name="T64" fmla="*/ 368128 w 259"/>
              <a:gd name="T65" fmla="*/ 5600509 h 129"/>
              <a:gd name="T66" fmla="*/ 0 w 259"/>
              <a:gd name="T67" fmla="*/ 7382581 h 129"/>
              <a:gd name="T68" fmla="*/ 0 w 259"/>
              <a:gd name="T69" fmla="*/ 9164653 h 129"/>
              <a:gd name="T70" fmla="*/ 0 w 259"/>
              <a:gd name="T71" fmla="*/ 12219201 h 129"/>
              <a:gd name="T72" fmla="*/ 552193 w 259"/>
              <a:gd name="T73" fmla="*/ 14765163 h 129"/>
              <a:gd name="T74" fmla="*/ 1104385 w 259"/>
              <a:gd name="T75" fmla="*/ 16547235 h 129"/>
              <a:gd name="T76" fmla="*/ 2209199 w 259"/>
              <a:gd name="T77" fmla="*/ 18074509 h 129"/>
              <a:gd name="T78" fmla="*/ 3129520 w 259"/>
              <a:gd name="T79" fmla="*/ 19347489 h 129"/>
              <a:gd name="T80" fmla="*/ 4417970 w 259"/>
              <a:gd name="T81" fmla="*/ 20365672 h 129"/>
              <a:gd name="T82" fmla="*/ 5706848 w 259"/>
              <a:gd name="T83" fmla="*/ 21129561 h 129"/>
              <a:gd name="T84" fmla="*/ 6811233 w 259"/>
              <a:gd name="T85" fmla="*/ 21638652 h 129"/>
              <a:gd name="T86" fmla="*/ 9204497 w 259"/>
              <a:gd name="T87" fmla="*/ 22402037 h 129"/>
              <a:gd name="T88" fmla="*/ 11229203 w 259"/>
              <a:gd name="T89" fmla="*/ 23420724 h 129"/>
              <a:gd name="T90" fmla="*/ 11965889 w 259"/>
              <a:gd name="T91" fmla="*/ 24184109 h 129"/>
              <a:gd name="T92" fmla="*/ 12334017 w 259"/>
              <a:gd name="T93" fmla="*/ 25202292 h 129"/>
              <a:gd name="T94" fmla="*/ 12334017 w 259"/>
              <a:gd name="T95" fmla="*/ 26730070 h 129"/>
              <a:gd name="T96" fmla="*/ 12149953 w 259"/>
              <a:gd name="T97" fmla="*/ 28257344 h 129"/>
              <a:gd name="T98" fmla="*/ 14910916 w 259"/>
              <a:gd name="T99" fmla="*/ 28003051 h 129"/>
              <a:gd name="T100" fmla="*/ 16751986 w 259"/>
              <a:gd name="T101" fmla="*/ 27493455 h 129"/>
              <a:gd name="T102" fmla="*/ 18040436 w 259"/>
              <a:gd name="T103" fmla="*/ 26984364 h 129"/>
              <a:gd name="T104" fmla="*/ 19329314 w 259"/>
              <a:gd name="T105" fmla="*/ 26730070 h 129"/>
              <a:gd name="T106" fmla="*/ 22090277 w 259"/>
              <a:gd name="T107" fmla="*/ 26984364 h 129"/>
              <a:gd name="T108" fmla="*/ 25772419 w 259"/>
              <a:gd name="T109" fmla="*/ 27493455 h 129"/>
              <a:gd name="T110" fmla="*/ 30558517 w 259"/>
              <a:gd name="T111" fmla="*/ 28512142 h 129"/>
              <a:gd name="T112" fmla="*/ 35344615 w 259"/>
              <a:gd name="T113" fmla="*/ 29784618 h 129"/>
              <a:gd name="T114" fmla="*/ 43812855 w 259"/>
              <a:gd name="T115" fmla="*/ 31821488 h 129"/>
              <a:gd name="T116" fmla="*/ 47678632 w 259"/>
              <a:gd name="T117" fmla="*/ 32839671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19" name="Freeform 345">
            <a:extLst>
              <a:ext uri="{FF2B5EF4-FFF2-40B4-BE49-F238E27FC236}">
                <a16:creationId xmlns:a16="http://schemas.microsoft.com/office/drawing/2014/main" id="{CFDCA9B9-F7E8-4917-956A-4870F26A7194}"/>
              </a:ext>
            </a:extLst>
          </p:cNvPr>
          <p:cNvSpPr>
            <a:spLocks/>
          </p:cNvSpPr>
          <p:nvPr>
            <p:custDataLst>
              <p:tags r:id="rId248"/>
            </p:custDataLst>
          </p:nvPr>
        </p:nvSpPr>
        <p:spPr bwMode="auto">
          <a:xfrm>
            <a:off x="6059514" y="2292594"/>
            <a:ext cx="250671" cy="184988"/>
          </a:xfrm>
          <a:custGeom>
            <a:avLst/>
            <a:gdLst>
              <a:gd name="T0" fmla="*/ 74469664 w 425"/>
              <a:gd name="T1" fmla="*/ 46905547 h 272"/>
              <a:gd name="T2" fmla="*/ 70906827 w 425"/>
              <a:gd name="T3" fmla="*/ 51872029 h 272"/>
              <a:gd name="T4" fmla="*/ 68234172 w 425"/>
              <a:gd name="T5" fmla="*/ 56838511 h 272"/>
              <a:gd name="T6" fmla="*/ 68412293 w 425"/>
              <a:gd name="T7" fmla="*/ 60977159 h 272"/>
              <a:gd name="T8" fmla="*/ 69303318 w 425"/>
              <a:gd name="T9" fmla="*/ 65391576 h 272"/>
              <a:gd name="T10" fmla="*/ 66809206 w 425"/>
              <a:gd name="T11" fmla="*/ 67323015 h 272"/>
              <a:gd name="T12" fmla="*/ 61820559 w 425"/>
              <a:gd name="T13" fmla="*/ 65667871 h 272"/>
              <a:gd name="T14" fmla="*/ 57722938 w 425"/>
              <a:gd name="T15" fmla="*/ 64840037 h 272"/>
              <a:gd name="T16" fmla="*/ 52556592 w 425"/>
              <a:gd name="T17" fmla="*/ 64840037 h 272"/>
              <a:gd name="T18" fmla="*/ 46855462 w 425"/>
              <a:gd name="T19" fmla="*/ 67047245 h 272"/>
              <a:gd name="T20" fmla="*/ 41332453 w 425"/>
              <a:gd name="T21" fmla="*/ 70082289 h 272"/>
              <a:gd name="T22" fmla="*/ 35096961 w 425"/>
              <a:gd name="T23" fmla="*/ 73669397 h 272"/>
              <a:gd name="T24" fmla="*/ 17815873 w 425"/>
              <a:gd name="T25" fmla="*/ 66219411 h 272"/>
              <a:gd name="T26" fmla="*/ 15143217 w 425"/>
              <a:gd name="T27" fmla="*/ 62356533 h 272"/>
              <a:gd name="T28" fmla="*/ 12470984 w 425"/>
              <a:gd name="T29" fmla="*/ 59045720 h 272"/>
              <a:gd name="T30" fmla="*/ 6591734 w 425"/>
              <a:gd name="T31" fmla="*/ 52975634 h 272"/>
              <a:gd name="T32" fmla="*/ 3919500 w 425"/>
              <a:gd name="T33" fmla="*/ 49664821 h 272"/>
              <a:gd name="T34" fmla="*/ 1959750 w 425"/>
              <a:gd name="T35" fmla="*/ 46077713 h 272"/>
              <a:gd name="T36" fmla="*/ 356241 w 425"/>
              <a:gd name="T37" fmla="*/ 41387000 h 272"/>
              <a:gd name="T38" fmla="*/ 0 w 425"/>
              <a:gd name="T39" fmla="*/ 35593209 h 272"/>
              <a:gd name="T40" fmla="*/ 8907725 w 425"/>
              <a:gd name="T41" fmla="*/ 18210259 h 272"/>
              <a:gd name="T42" fmla="*/ 12649105 w 425"/>
              <a:gd name="T43" fmla="*/ 9932964 h 272"/>
              <a:gd name="T44" fmla="*/ 14252614 w 425"/>
              <a:gd name="T45" fmla="*/ 6070086 h 272"/>
              <a:gd name="T46" fmla="*/ 15143217 w 425"/>
              <a:gd name="T47" fmla="*/ 1655669 h 272"/>
              <a:gd name="T48" fmla="*/ 21913494 w 425"/>
              <a:gd name="T49" fmla="*/ 2759273 h 272"/>
              <a:gd name="T50" fmla="*/ 27257960 w 425"/>
              <a:gd name="T51" fmla="*/ 4966482 h 272"/>
              <a:gd name="T52" fmla="*/ 32068486 w 425"/>
              <a:gd name="T53" fmla="*/ 7449460 h 272"/>
              <a:gd name="T54" fmla="*/ 36522349 w 425"/>
              <a:gd name="T55" fmla="*/ 8553590 h 272"/>
              <a:gd name="T56" fmla="*/ 38125858 w 425"/>
              <a:gd name="T57" fmla="*/ 8001525 h 272"/>
              <a:gd name="T58" fmla="*/ 39372703 w 425"/>
              <a:gd name="T59" fmla="*/ 7173691 h 272"/>
              <a:gd name="T60" fmla="*/ 41332453 w 425"/>
              <a:gd name="T61" fmla="*/ 4138648 h 272"/>
              <a:gd name="T62" fmla="*/ 43114083 w 425"/>
              <a:gd name="T63" fmla="*/ 1379374 h 272"/>
              <a:gd name="T64" fmla="*/ 44539471 w 425"/>
              <a:gd name="T65" fmla="*/ 552065 h 272"/>
              <a:gd name="T66" fmla="*/ 46142979 w 425"/>
              <a:gd name="T67" fmla="*/ 0 h 272"/>
              <a:gd name="T68" fmla="*/ 48993333 w 425"/>
              <a:gd name="T69" fmla="*/ 552065 h 272"/>
              <a:gd name="T70" fmla="*/ 51487446 w 425"/>
              <a:gd name="T71" fmla="*/ 1931439 h 272"/>
              <a:gd name="T72" fmla="*/ 53803437 w 425"/>
              <a:gd name="T73" fmla="*/ 4138648 h 272"/>
              <a:gd name="T74" fmla="*/ 55228825 w 425"/>
              <a:gd name="T75" fmla="*/ 7173691 h 272"/>
              <a:gd name="T76" fmla="*/ 57901059 w 425"/>
              <a:gd name="T77" fmla="*/ 14623676 h 272"/>
              <a:gd name="T78" fmla="*/ 60038930 w 425"/>
              <a:gd name="T79" fmla="*/ 22625202 h 272"/>
              <a:gd name="T80" fmla="*/ 62176800 w 425"/>
              <a:gd name="T81" fmla="*/ 31178267 h 272"/>
              <a:gd name="T82" fmla="*/ 63424068 w 425"/>
              <a:gd name="T83" fmla="*/ 34765375 h 272"/>
              <a:gd name="T84" fmla="*/ 65027576 w 425"/>
              <a:gd name="T85" fmla="*/ 38076188 h 272"/>
              <a:gd name="T86" fmla="*/ 66987327 w 425"/>
              <a:gd name="T87" fmla="*/ 40559691 h 272"/>
              <a:gd name="T88" fmla="*/ 69303318 w 425"/>
              <a:gd name="T89" fmla="*/ 43042670 h 272"/>
              <a:gd name="T90" fmla="*/ 72153672 w 425"/>
              <a:gd name="T91" fmla="*/ 44146274 h 272"/>
              <a:gd name="T92" fmla="*/ 75716931 w 425"/>
              <a:gd name="T93" fmla="*/ 44422044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20" name="Freeform 346">
            <a:extLst>
              <a:ext uri="{FF2B5EF4-FFF2-40B4-BE49-F238E27FC236}">
                <a16:creationId xmlns:a16="http://schemas.microsoft.com/office/drawing/2014/main" id="{3FF79CE6-4239-419C-8CD1-E0EF100A0B01}"/>
              </a:ext>
            </a:extLst>
          </p:cNvPr>
          <p:cNvSpPr>
            <a:spLocks/>
          </p:cNvSpPr>
          <p:nvPr>
            <p:custDataLst>
              <p:tags r:id="rId249"/>
            </p:custDataLst>
          </p:nvPr>
        </p:nvSpPr>
        <p:spPr bwMode="auto">
          <a:xfrm>
            <a:off x="3277066" y="3642390"/>
            <a:ext cx="18801" cy="73182"/>
          </a:xfrm>
          <a:custGeom>
            <a:avLst/>
            <a:gdLst>
              <a:gd name="T0" fmla="*/ 2436583 w 33"/>
              <a:gd name="T1" fmla="*/ 19274984 h 31"/>
              <a:gd name="T2" fmla="*/ 0 w 33"/>
              <a:gd name="T3" fmla="*/ 61038644 h 31"/>
              <a:gd name="T4" fmla="*/ 937314 w 33"/>
              <a:gd name="T5" fmla="*/ 67462444 h 31"/>
              <a:gd name="T6" fmla="*/ 2624046 w 33"/>
              <a:gd name="T7" fmla="*/ 80313628 h 31"/>
              <a:gd name="T8" fmla="*/ 3561359 w 33"/>
              <a:gd name="T9" fmla="*/ 86739220 h 31"/>
              <a:gd name="T10" fmla="*/ 4311210 w 33"/>
              <a:gd name="T11" fmla="*/ 93163020 h 31"/>
              <a:gd name="T12" fmla="*/ 5060629 w 33"/>
              <a:gd name="T13" fmla="*/ 96376712 h 31"/>
              <a:gd name="T14" fmla="*/ 6185405 w 33"/>
              <a:gd name="T15" fmla="*/ 99588612 h 31"/>
              <a:gd name="T16" fmla="*/ 6185405 w 33"/>
              <a:gd name="T17" fmla="*/ 0 h 31"/>
              <a:gd name="T18" fmla="*/ 3748822 w 33"/>
              <a:gd name="T19" fmla="*/ 0 h 31"/>
              <a:gd name="T20" fmla="*/ 2436583 w 33"/>
              <a:gd name="T21" fmla="*/ 19274984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0872A6"/>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21" name="Freeform 347">
            <a:extLst>
              <a:ext uri="{FF2B5EF4-FFF2-40B4-BE49-F238E27FC236}">
                <a16:creationId xmlns:a16="http://schemas.microsoft.com/office/drawing/2014/main" id="{DBB9E4BB-7A3E-4B49-A526-31DD0A7C4AB5}"/>
              </a:ext>
            </a:extLst>
          </p:cNvPr>
          <p:cNvSpPr>
            <a:spLocks/>
          </p:cNvSpPr>
          <p:nvPr>
            <p:custDataLst>
              <p:tags r:id="rId250"/>
            </p:custDataLst>
          </p:nvPr>
        </p:nvSpPr>
        <p:spPr bwMode="auto">
          <a:xfrm>
            <a:off x="6205739" y="2282431"/>
            <a:ext cx="119070" cy="103673"/>
          </a:xfrm>
          <a:custGeom>
            <a:avLst/>
            <a:gdLst>
              <a:gd name="T0" fmla="*/ 1196132 w 192"/>
              <a:gd name="T1" fmla="*/ 5047528 h 154"/>
              <a:gd name="T2" fmla="*/ 10366028 w 192"/>
              <a:gd name="T3" fmla="*/ 0 h 154"/>
              <a:gd name="T4" fmla="*/ 18340239 w 192"/>
              <a:gd name="T5" fmla="*/ 5047528 h 154"/>
              <a:gd name="T6" fmla="*/ 23722608 w 192"/>
              <a:gd name="T7" fmla="*/ 8235414 h 154"/>
              <a:gd name="T8" fmla="*/ 29104977 w 192"/>
              <a:gd name="T9" fmla="*/ 16736786 h 154"/>
              <a:gd name="T10" fmla="*/ 33091636 w 192"/>
              <a:gd name="T11" fmla="*/ 24706242 h 154"/>
              <a:gd name="T12" fmla="*/ 38274873 w 192"/>
              <a:gd name="T13" fmla="*/ 31347971 h 154"/>
              <a:gd name="T14" fmla="*/ 30301109 w 192"/>
              <a:gd name="T15" fmla="*/ 32941656 h 154"/>
              <a:gd name="T16" fmla="*/ 25117871 w 192"/>
              <a:gd name="T17" fmla="*/ 34535856 h 154"/>
              <a:gd name="T18" fmla="*/ 25117871 w 192"/>
              <a:gd name="T19" fmla="*/ 40911627 h 154"/>
              <a:gd name="T20" fmla="*/ 21130766 w 192"/>
              <a:gd name="T21" fmla="*/ 40911627 h 154"/>
              <a:gd name="T22" fmla="*/ 19735502 w 192"/>
              <a:gd name="T23" fmla="*/ 38786542 h 154"/>
              <a:gd name="T24" fmla="*/ 18539371 w 192"/>
              <a:gd name="T25" fmla="*/ 36395499 h 154"/>
              <a:gd name="T26" fmla="*/ 17542818 w 192"/>
              <a:gd name="T27" fmla="*/ 33473056 h 154"/>
              <a:gd name="T28" fmla="*/ 16346686 w 192"/>
              <a:gd name="T29" fmla="*/ 30551128 h 154"/>
              <a:gd name="T30" fmla="*/ 14751844 w 192"/>
              <a:gd name="T31" fmla="*/ 24706242 h 154"/>
              <a:gd name="T32" fmla="*/ 12957423 w 192"/>
              <a:gd name="T33" fmla="*/ 18861871 h 154"/>
              <a:gd name="T34" fmla="*/ 11960870 w 192"/>
              <a:gd name="T35" fmla="*/ 16205386 h 154"/>
              <a:gd name="T36" fmla="*/ 10964317 w 192"/>
              <a:gd name="T37" fmla="*/ 13282942 h 154"/>
              <a:gd name="T38" fmla="*/ 9568607 w 192"/>
              <a:gd name="T39" fmla="*/ 11157857 h 154"/>
              <a:gd name="T40" fmla="*/ 8173343 w 192"/>
              <a:gd name="T41" fmla="*/ 9032256 h 154"/>
              <a:gd name="T42" fmla="*/ 6578501 w 192"/>
              <a:gd name="T43" fmla="*/ 7438571 h 154"/>
              <a:gd name="T44" fmla="*/ 4784527 w 192"/>
              <a:gd name="T45" fmla="*/ 6110329 h 154"/>
              <a:gd name="T46" fmla="*/ 3588395 w 192"/>
              <a:gd name="T47" fmla="*/ 5844371 h 154"/>
              <a:gd name="T48" fmla="*/ 2392263 w 192"/>
              <a:gd name="T49" fmla="*/ 5312971 h 154"/>
              <a:gd name="T50" fmla="*/ 1196132 w 192"/>
              <a:gd name="T51" fmla="*/ 5312971 h 154"/>
              <a:gd name="T52" fmla="*/ 0 w 192"/>
              <a:gd name="T53" fmla="*/ 5047528 h 154"/>
              <a:gd name="T54" fmla="*/ 1196132 w 192"/>
              <a:gd name="T55" fmla="*/ 5047528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0872A6"/>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22" name="Freeform 348">
            <a:extLst>
              <a:ext uri="{FF2B5EF4-FFF2-40B4-BE49-F238E27FC236}">
                <a16:creationId xmlns:a16="http://schemas.microsoft.com/office/drawing/2014/main" id="{5E02202C-8BA8-424F-9A23-C04D16D7F5B9}"/>
              </a:ext>
            </a:extLst>
          </p:cNvPr>
          <p:cNvSpPr>
            <a:spLocks/>
          </p:cNvSpPr>
          <p:nvPr>
            <p:custDataLst>
              <p:tags r:id="rId251"/>
            </p:custDataLst>
          </p:nvPr>
        </p:nvSpPr>
        <p:spPr bwMode="auto">
          <a:xfrm>
            <a:off x="6090848" y="2129967"/>
            <a:ext cx="530587" cy="321187"/>
          </a:xfrm>
          <a:custGeom>
            <a:avLst/>
            <a:gdLst>
              <a:gd name="T0" fmla="*/ 73983944 w 877"/>
              <a:gd name="T1" fmla="*/ 94800314 h 469"/>
              <a:gd name="T2" fmla="*/ 60206254 w 877"/>
              <a:gd name="T3" fmla="*/ 70542759 h 469"/>
              <a:gd name="T4" fmla="*/ 38879377 w 877"/>
              <a:gd name="T5" fmla="*/ 67196580 h 469"/>
              <a:gd name="T6" fmla="*/ 36048161 w 877"/>
              <a:gd name="T7" fmla="*/ 67754189 h 469"/>
              <a:gd name="T8" fmla="*/ 33594903 w 877"/>
              <a:gd name="T9" fmla="*/ 69985151 h 469"/>
              <a:gd name="T10" fmla="*/ 30575141 w 877"/>
              <a:gd name="T11" fmla="*/ 74446019 h 469"/>
              <a:gd name="T12" fmla="*/ 28498974 w 877"/>
              <a:gd name="T13" fmla="*/ 75561236 h 469"/>
              <a:gd name="T14" fmla="*/ 22836975 w 877"/>
              <a:gd name="T15" fmla="*/ 74724823 h 469"/>
              <a:gd name="T16" fmla="*/ 14909829 w 877"/>
              <a:gd name="T17" fmla="*/ 71100368 h 469"/>
              <a:gd name="T18" fmla="*/ 4906950 w 877"/>
              <a:gd name="T19" fmla="*/ 68869406 h 469"/>
              <a:gd name="T20" fmla="*/ 1509664 w 877"/>
              <a:gd name="T21" fmla="*/ 59110728 h 469"/>
              <a:gd name="T22" fmla="*/ 2453692 w 877"/>
              <a:gd name="T23" fmla="*/ 52140094 h 469"/>
              <a:gd name="T24" fmla="*/ 2453692 w 877"/>
              <a:gd name="T25" fmla="*/ 50188464 h 469"/>
              <a:gd name="T26" fmla="*/ 4340880 w 877"/>
              <a:gd name="T27" fmla="*/ 40150982 h 469"/>
              <a:gd name="T28" fmla="*/ 8304236 w 877"/>
              <a:gd name="T29" fmla="*/ 31228190 h 469"/>
              <a:gd name="T30" fmla="*/ 10191859 w 877"/>
              <a:gd name="T31" fmla="*/ 25652104 h 469"/>
              <a:gd name="T32" fmla="*/ 4906950 w 877"/>
              <a:gd name="T33" fmla="*/ 13941269 h 469"/>
              <a:gd name="T34" fmla="*/ 32650875 w 877"/>
              <a:gd name="T35" fmla="*/ 7249439 h 469"/>
              <a:gd name="T36" fmla="*/ 63981065 w 877"/>
              <a:gd name="T37" fmla="*/ 13941269 h 469"/>
              <a:gd name="T38" fmla="*/ 73983944 w 877"/>
              <a:gd name="T39" fmla="*/ 3624455 h 469"/>
              <a:gd name="T40" fmla="*/ 91536010 w 877"/>
              <a:gd name="T41" fmla="*/ 0 h 469"/>
              <a:gd name="T42" fmla="*/ 109277056 w 877"/>
              <a:gd name="T43" fmla="*/ 10595090 h 469"/>
              <a:gd name="T44" fmla="*/ 120412509 w 877"/>
              <a:gd name="T45" fmla="*/ 30949386 h 469"/>
              <a:gd name="T46" fmla="*/ 136832436 w 877"/>
              <a:gd name="T47" fmla="*/ 30949386 h 469"/>
              <a:gd name="T48" fmla="*/ 158159312 w 877"/>
              <a:gd name="T49" fmla="*/ 43217829 h 469"/>
              <a:gd name="T50" fmla="*/ 163066262 w 877"/>
              <a:gd name="T51" fmla="*/ 65523754 h 469"/>
              <a:gd name="T52" fmla="*/ 151742265 w 877"/>
              <a:gd name="T53" fmla="*/ 75840040 h 469"/>
              <a:gd name="T54" fmla="*/ 142305455 w 877"/>
              <a:gd name="T55" fmla="*/ 87272071 h 469"/>
              <a:gd name="T56" fmla="*/ 129849318 w 877"/>
              <a:gd name="T57" fmla="*/ 92012272 h 469"/>
              <a:gd name="T58" fmla="*/ 125130913 w 877"/>
              <a:gd name="T59" fmla="*/ 95636727 h 469"/>
              <a:gd name="T60" fmla="*/ 122299697 w 877"/>
              <a:gd name="T61" fmla="*/ 99819319 h 469"/>
              <a:gd name="T62" fmla="*/ 121922172 w 877"/>
              <a:gd name="T63" fmla="*/ 104558992 h 469"/>
              <a:gd name="T64" fmla="*/ 123243291 w 877"/>
              <a:gd name="T65" fmla="*/ 108741584 h 469"/>
              <a:gd name="T66" fmla="*/ 125696983 w 877"/>
              <a:gd name="T67" fmla="*/ 111808431 h 469"/>
              <a:gd name="T68" fmla="*/ 134190198 w 877"/>
              <a:gd name="T69" fmla="*/ 110414409 h 469"/>
              <a:gd name="T70" fmla="*/ 139852197 w 877"/>
              <a:gd name="T71" fmla="*/ 109856801 h 469"/>
              <a:gd name="T72" fmla="*/ 138531079 w 877"/>
              <a:gd name="T73" fmla="*/ 112366039 h 469"/>
              <a:gd name="T74" fmla="*/ 135133792 w 877"/>
              <a:gd name="T75" fmla="*/ 117385044 h 469"/>
              <a:gd name="T76" fmla="*/ 131736506 w 877"/>
              <a:gd name="T77" fmla="*/ 122125244 h 469"/>
              <a:gd name="T78" fmla="*/ 130037863 w 877"/>
              <a:gd name="T79" fmla="*/ 116827435 h 469"/>
              <a:gd name="T80" fmla="*/ 126640577 w 877"/>
              <a:gd name="T81" fmla="*/ 113760588 h 469"/>
              <a:gd name="T82" fmla="*/ 125696983 w 877"/>
              <a:gd name="T83" fmla="*/ 117942652 h 469"/>
              <a:gd name="T84" fmla="*/ 121356103 w 877"/>
              <a:gd name="T85" fmla="*/ 123240462 h 469"/>
              <a:gd name="T86" fmla="*/ 116826677 w 877"/>
              <a:gd name="T87" fmla="*/ 128259466 h 469"/>
              <a:gd name="T88" fmla="*/ 115316579 w 877"/>
              <a:gd name="T89" fmla="*/ 130768705 h 469"/>
              <a:gd name="T90" fmla="*/ 112296818 w 877"/>
              <a:gd name="T91" fmla="*/ 129374683 h 469"/>
              <a:gd name="T92" fmla="*/ 110220650 w 877"/>
              <a:gd name="T93" fmla="*/ 126864917 h 469"/>
              <a:gd name="T94" fmla="*/ 108522007 w 877"/>
              <a:gd name="T95" fmla="*/ 122404049 h 469"/>
              <a:gd name="T96" fmla="*/ 107955937 w 877"/>
              <a:gd name="T97" fmla="*/ 113760588 h 469"/>
              <a:gd name="T98" fmla="*/ 103426512 w 877"/>
              <a:gd name="T99" fmla="*/ 112645371 h 469"/>
              <a:gd name="T100" fmla="*/ 97764513 w 877"/>
              <a:gd name="T101" fmla="*/ 108462779 h 469"/>
              <a:gd name="T102" fmla="*/ 105502245 w 877"/>
              <a:gd name="T103" fmla="*/ 105674737 h 469"/>
              <a:gd name="T104" fmla="*/ 117958816 w 877"/>
              <a:gd name="T105" fmla="*/ 103164970 h 469"/>
              <a:gd name="T106" fmla="*/ 93046108 w 877"/>
              <a:gd name="T107" fmla="*/ 98704102 h 469"/>
              <a:gd name="T108" fmla="*/ 83986823 w 877"/>
              <a:gd name="T109" fmla="*/ 92848685 h 469"/>
              <a:gd name="T110" fmla="*/ 75116083 w 877"/>
              <a:gd name="T111" fmla="*/ 102886166 h 469"/>
              <a:gd name="T112" fmla="*/ 71719231 w 877"/>
              <a:gd name="T113" fmla="*/ 110135605 h 469"/>
              <a:gd name="T114" fmla="*/ 66623302 w 877"/>
              <a:gd name="T115" fmla="*/ 111529626 h 469"/>
              <a:gd name="T116" fmla="*/ 61904897 w 877"/>
              <a:gd name="T117" fmla="*/ 109299192 h 469"/>
              <a:gd name="T118" fmla="*/ 57752562 w 877"/>
              <a:gd name="T119" fmla="*/ 104837796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23" name="Freeform 349">
            <a:extLst>
              <a:ext uri="{FF2B5EF4-FFF2-40B4-BE49-F238E27FC236}">
                <a16:creationId xmlns:a16="http://schemas.microsoft.com/office/drawing/2014/main" id="{B2D4AE70-5C1D-4410-BEA2-39B31817CCF4}"/>
              </a:ext>
            </a:extLst>
          </p:cNvPr>
          <p:cNvSpPr>
            <a:spLocks/>
          </p:cNvSpPr>
          <p:nvPr>
            <p:custDataLst>
              <p:tags r:id="rId252"/>
            </p:custDataLst>
          </p:nvPr>
        </p:nvSpPr>
        <p:spPr bwMode="auto">
          <a:xfrm>
            <a:off x="6803171" y="2575157"/>
            <a:ext cx="64757" cy="83345"/>
          </a:xfrm>
          <a:custGeom>
            <a:avLst/>
            <a:gdLst>
              <a:gd name="T0" fmla="*/ 9508977 w 107"/>
              <a:gd name="T1" fmla="*/ 0 h 123"/>
              <a:gd name="T2" fmla="*/ 16046954 w 107"/>
              <a:gd name="T3" fmla="*/ 8262228 h 123"/>
              <a:gd name="T4" fmla="*/ 18622265 w 107"/>
              <a:gd name="T5" fmla="*/ 17856923 h 123"/>
              <a:gd name="T6" fmla="*/ 21197576 w 107"/>
              <a:gd name="T7" fmla="*/ 22920919 h 123"/>
              <a:gd name="T8" fmla="*/ 21197576 w 107"/>
              <a:gd name="T9" fmla="*/ 31183146 h 123"/>
              <a:gd name="T10" fmla="*/ 21197576 w 107"/>
              <a:gd name="T11" fmla="*/ 32782520 h 123"/>
              <a:gd name="T12" fmla="*/ 17433421 w 107"/>
              <a:gd name="T13" fmla="*/ 30383976 h 123"/>
              <a:gd name="T14" fmla="*/ 14461977 w 107"/>
              <a:gd name="T15" fmla="*/ 27984915 h 123"/>
              <a:gd name="T16" fmla="*/ 12084732 w 107"/>
              <a:gd name="T17" fmla="*/ 26119150 h 123"/>
              <a:gd name="T18" fmla="*/ 10697821 w 107"/>
              <a:gd name="T19" fmla="*/ 24520293 h 123"/>
              <a:gd name="T20" fmla="*/ 10103621 w 107"/>
              <a:gd name="T21" fmla="*/ 22121748 h 123"/>
              <a:gd name="T22" fmla="*/ 9508977 w 107"/>
              <a:gd name="T23" fmla="*/ 19456297 h 123"/>
              <a:gd name="T24" fmla="*/ 7726377 w 107"/>
              <a:gd name="T25" fmla="*/ 19722687 h 123"/>
              <a:gd name="T26" fmla="*/ 6339466 w 107"/>
              <a:gd name="T27" fmla="*/ 19456297 h 123"/>
              <a:gd name="T28" fmla="*/ 5150621 w 107"/>
              <a:gd name="T29" fmla="*/ 19189907 h 123"/>
              <a:gd name="T30" fmla="*/ 4160289 w 107"/>
              <a:gd name="T31" fmla="*/ 18656610 h 123"/>
              <a:gd name="T32" fmla="*/ 3368022 w 107"/>
              <a:gd name="T33" fmla="*/ 17856923 h 123"/>
              <a:gd name="T34" fmla="*/ 2773377 w 107"/>
              <a:gd name="T35" fmla="*/ 16790846 h 123"/>
              <a:gd name="T36" fmla="*/ 2179178 w 107"/>
              <a:gd name="T37" fmla="*/ 15724768 h 123"/>
              <a:gd name="T38" fmla="*/ 1783044 w 107"/>
              <a:gd name="T39" fmla="*/ 14392301 h 123"/>
              <a:gd name="T40" fmla="*/ 792266 w 107"/>
              <a:gd name="T41" fmla="*/ 8262228 h 123"/>
              <a:gd name="T42" fmla="*/ 0 w 107"/>
              <a:gd name="T43" fmla="*/ 1599374 h 123"/>
              <a:gd name="T44" fmla="*/ 6735599 w 107"/>
              <a:gd name="T45" fmla="*/ 0 h 123"/>
              <a:gd name="T46" fmla="*/ 9508977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24" name="Freeform 350">
            <a:extLst>
              <a:ext uri="{FF2B5EF4-FFF2-40B4-BE49-F238E27FC236}">
                <a16:creationId xmlns:a16="http://schemas.microsoft.com/office/drawing/2014/main" id="{676C0949-561E-4D35-8A91-00C14F06F7AA}"/>
              </a:ext>
            </a:extLst>
          </p:cNvPr>
          <p:cNvSpPr>
            <a:spLocks/>
          </p:cNvSpPr>
          <p:nvPr>
            <p:custDataLst>
              <p:tags r:id="rId253"/>
            </p:custDataLst>
          </p:nvPr>
        </p:nvSpPr>
        <p:spPr bwMode="auto">
          <a:xfrm>
            <a:off x="7557274" y="2593452"/>
            <a:ext cx="290360" cy="158561"/>
          </a:xfrm>
          <a:custGeom>
            <a:avLst/>
            <a:gdLst>
              <a:gd name="T0" fmla="*/ 20664623 w 471"/>
              <a:gd name="T1" fmla="*/ 18283462 h 234"/>
              <a:gd name="T2" fmla="*/ 32361713 w 471"/>
              <a:gd name="T3" fmla="*/ 23468129 h 234"/>
              <a:gd name="T4" fmla="*/ 53026778 w 471"/>
              <a:gd name="T5" fmla="*/ 28652796 h 234"/>
              <a:gd name="T6" fmla="*/ 72521780 w 471"/>
              <a:gd name="T7" fmla="*/ 23468129 h 234"/>
              <a:gd name="T8" fmla="*/ 74666306 w 471"/>
              <a:gd name="T9" fmla="*/ 25924381 h 234"/>
              <a:gd name="T10" fmla="*/ 76225800 w 471"/>
              <a:gd name="T11" fmla="*/ 31109049 h 234"/>
              <a:gd name="T12" fmla="*/ 79150072 w 471"/>
              <a:gd name="T13" fmla="*/ 33837986 h 234"/>
              <a:gd name="T14" fmla="*/ 82659376 w 471"/>
              <a:gd name="T15" fmla="*/ 35202454 h 234"/>
              <a:gd name="T16" fmla="*/ 84414028 w 471"/>
              <a:gd name="T17" fmla="*/ 36566923 h 234"/>
              <a:gd name="T18" fmla="*/ 85973522 w 471"/>
              <a:gd name="T19" fmla="*/ 38476761 h 234"/>
              <a:gd name="T20" fmla="*/ 87338300 w 471"/>
              <a:gd name="T21" fmla="*/ 41205698 h 234"/>
              <a:gd name="T22" fmla="*/ 88702637 w 471"/>
              <a:gd name="T23" fmla="*/ 46390366 h 234"/>
              <a:gd name="T24" fmla="*/ 91822067 w 471"/>
              <a:gd name="T25" fmla="*/ 51848240 h 234"/>
              <a:gd name="T26" fmla="*/ 68233171 w 471"/>
              <a:gd name="T27" fmla="*/ 55123069 h 234"/>
              <a:gd name="T28" fmla="*/ 64333994 w 471"/>
              <a:gd name="T29" fmla="*/ 61126313 h 234"/>
              <a:gd name="T30" fmla="*/ 61799595 w 471"/>
              <a:gd name="T31" fmla="*/ 63582566 h 234"/>
              <a:gd name="T32" fmla="*/ 59655070 w 471"/>
              <a:gd name="T33" fmla="*/ 63582566 h 234"/>
              <a:gd name="T34" fmla="*/ 58095576 w 471"/>
              <a:gd name="T35" fmla="*/ 62763467 h 234"/>
              <a:gd name="T36" fmla="*/ 56925955 w 471"/>
              <a:gd name="T37" fmla="*/ 61126313 h 234"/>
              <a:gd name="T38" fmla="*/ 56340924 w 471"/>
              <a:gd name="T39" fmla="*/ 58943268 h 234"/>
              <a:gd name="T40" fmla="*/ 55366019 w 471"/>
              <a:gd name="T41" fmla="*/ 54304493 h 234"/>
              <a:gd name="T42" fmla="*/ 54196398 w 471"/>
              <a:gd name="T43" fmla="*/ 47482150 h 234"/>
              <a:gd name="T44" fmla="*/ 52441747 w 471"/>
              <a:gd name="T45" fmla="*/ 42297482 h 234"/>
              <a:gd name="T46" fmla="*/ 50297221 w 471"/>
              <a:gd name="T47" fmla="*/ 40387122 h 234"/>
              <a:gd name="T48" fmla="*/ 47957980 w 471"/>
              <a:gd name="T49" fmla="*/ 38476761 h 234"/>
              <a:gd name="T50" fmla="*/ 46008612 w 471"/>
              <a:gd name="T51" fmla="*/ 36293716 h 234"/>
              <a:gd name="T52" fmla="*/ 43668929 w 471"/>
              <a:gd name="T53" fmla="*/ 38204076 h 234"/>
              <a:gd name="T54" fmla="*/ 40354783 w 471"/>
              <a:gd name="T55" fmla="*/ 44207320 h 234"/>
              <a:gd name="T56" fmla="*/ 38990447 w 471"/>
              <a:gd name="T57" fmla="*/ 48300726 h 234"/>
              <a:gd name="T58" fmla="*/ 36650764 w 471"/>
              <a:gd name="T59" fmla="*/ 51848240 h 234"/>
              <a:gd name="T60" fmla="*/ 32556871 w 471"/>
              <a:gd name="T61" fmla="*/ 54849862 h 234"/>
              <a:gd name="T62" fmla="*/ 28657693 w 471"/>
              <a:gd name="T63" fmla="*/ 58124691 h 234"/>
              <a:gd name="T64" fmla="*/ 25343547 w 471"/>
              <a:gd name="T65" fmla="*/ 59761845 h 234"/>
              <a:gd name="T66" fmla="*/ 22224559 w 471"/>
              <a:gd name="T67" fmla="*/ 60580421 h 234"/>
              <a:gd name="T68" fmla="*/ 18910413 w 471"/>
              <a:gd name="T69" fmla="*/ 60307737 h 234"/>
              <a:gd name="T70" fmla="*/ 15986140 w 471"/>
              <a:gd name="T71" fmla="*/ 59215953 h 234"/>
              <a:gd name="T72" fmla="*/ 12282121 w 471"/>
              <a:gd name="T73" fmla="*/ 55941646 h 234"/>
              <a:gd name="T74" fmla="*/ 11501932 w 471"/>
              <a:gd name="T75" fmla="*/ 53758601 h 234"/>
              <a:gd name="T76" fmla="*/ 11501932 w 471"/>
              <a:gd name="T77" fmla="*/ 36839608 h 234"/>
              <a:gd name="T78" fmla="*/ 0 w 471"/>
              <a:gd name="T79" fmla="*/ 26742958 h 234"/>
              <a:gd name="T80" fmla="*/ 10332312 w 471"/>
              <a:gd name="T81" fmla="*/ 21830975 h 234"/>
              <a:gd name="T82" fmla="*/ 16765888 w 471"/>
              <a:gd name="T83" fmla="*/ 8186812 h 234"/>
              <a:gd name="T84" fmla="*/ 25928579 w 471"/>
              <a:gd name="T85" fmla="*/ 0 h 234"/>
              <a:gd name="T86" fmla="*/ 32361713 w 471"/>
              <a:gd name="T87" fmla="*/ 11461118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25" name="Freeform 351">
            <a:extLst>
              <a:ext uri="{FF2B5EF4-FFF2-40B4-BE49-F238E27FC236}">
                <a16:creationId xmlns:a16="http://schemas.microsoft.com/office/drawing/2014/main" id="{F1591D24-0392-49EA-B375-8B5FC9DAC1A9}"/>
              </a:ext>
            </a:extLst>
          </p:cNvPr>
          <p:cNvSpPr>
            <a:spLocks/>
          </p:cNvSpPr>
          <p:nvPr>
            <p:custDataLst>
              <p:tags r:id="rId254"/>
            </p:custDataLst>
          </p:nvPr>
        </p:nvSpPr>
        <p:spPr bwMode="auto">
          <a:xfrm>
            <a:off x="7626207" y="2501976"/>
            <a:ext cx="313339" cy="162626"/>
          </a:xfrm>
          <a:custGeom>
            <a:avLst/>
            <a:gdLst>
              <a:gd name="T0" fmla="*/ 19542845 w 525"/>
              <a:gd name="T1" fmla="*/ 50097671 h 241"/>
              <a:gd name="T2" fmla="*/ 31895705 w 525"/>
              <a:gd name="T3" fmla="*/ 40077720 h 241"/>
              <a:gd name="T4" fmla="*/ 17146040 w 525"/>
              <a:gd name="T5" fmla="*/ 28433658 h 241"/>
              <a:gd name="T6" fmla="*/ 8665337 w 525"/>
              <a:gd name="T7" fmla="*/ 31683442 h 241"/>
              <a:gd name="T8" fmla="*/ 12168227 w 525"/>
              <a:gd name="T9" fmla="*/ 16518478 h 241"/>
              <a:gd name="T10" fmla="*/ 7374618 w 525"/>
              <a:gd name="T11" fmla="*/ 11644062 h 241"/>
              <a:gd name="T12" fmla="*/ 20649359 w 525"/>
              <a:gd name="T13" fmla="*/ 6770166 h 241"/>
              <a:gd name="T14" fmla="*/ 34292510 w 525"/>
              <a:gd name="T15" fmla="*/ 0 h 241"/>
              <a:gd name="T16" fmla="*/ 57522878 w 525"/>
              <a:gd name="T17" fmla="*/ 5145014 h 241"/>
              <a:gd name="T18" fmla="*/ 80937451 w 525"/>
              <a:gd name="T19" fmla="*/ 6770166 h 241"/>
              <a:gd name="T20" fmla="*/ 96793201 w 525"/>
              <a:gd name="T21" fmla="*/ 14893846 h 241"/>
              <a:gd name="T22" fmla="*/ 95687116 w 525"/>
              <a:gd name="T23" fmla="*/ 18684827 h 241"/>
              <a:gd name="T24" fmla="*/ 94027558 w 525"/>
              <a:gd name="T25" fmla="*/ 22205209 h 241"/>
              <a:gd name="T26" fmla="*/ 91999592 w 525"/>
              <a:gd name="T27" fmla="*/ 24913276 h 241"/>
              <a:gd name="T28" fmla="*/ 89418583 w 525"/>
              <a:gd name="T29" fmla="*/ 26809027 h 241"/>
              <a:gd name="T30" fmla="*/ 81490493 w 525"/>
              <a:gd name="T31" fmla="*/ 27891941 h 241"/>
              <a:gd name="T32" fmla="*/ 77065723 w 525"/>
              <a:gd name="T33" fmla="*/ 28975376 h 241"/>
              <a:gd name="T34" fmla="*/ 75037756 w 525"/>
              <a:gd name="T35" fmla="*/ 30058290 h 241"/>
              <a:gd name="T36" fmla="*/ 73562833 w 525"/>
              <a:gd name="T37" fmla="*/ 31683442 h 241"/>
              <a:gd name="T38" fmla="*/ 71350233 w 525"/>
              <a:gd name="T39" fmla="*/ 36828457 h 241"/>
              <a:gd name="T40" fmla="*/ 69691105 w 525"/>
              <a:gd name="T41" fmla="*/ 39807122 h 241"/>
              <a:gd name="T42" fmla="*/ 67294300 w 525"/>
              <a:gd name="T43" fmla="*/ 41702872 h 241"/>
              <a:gd name="T44" fmla="*/ 56232159 w 525"/>
              <a:gd name="T45" fmla="*/ 44952136 h 241"/>
              <a:gd name="T46" fmla="*/ 50332465 w 525"/>
              <a:gd name="T47" fmla="*/ 46847887 h 241"/>
              <a:gd name="T48" fmla="*/ 47935660 w 525"/>
              <a:gd name="T49" fmla="*/ 48201920 h 241"/>
              <a:gd name="T50" fmla="*/ 48119865 w 525"/>
              <a:gd name="T51" fmla="*/ 51992901 h 241"/>
              <a:gd name="T52" fmla="*/ 48488703 w 525"/>
              <a:gd name="T53" fmla="*/ 54971566 h 241"/>
              <a:gd name="T54" fmla="*/ 50332465 w 525"/>
              <a:gd name="T55" fmla="*/ 60117101 h 241"/>
              <a:gd name="T56" fmla="*/ 40376408 w 525"/>
              <a:gd name="T57" fmla="*/ 61741733 h 241"/>
              <a:gd name="T58" fmla="*/ 20649359 w 525"/>
              <a:gd name="T59" fmla="*/ 63366364 h 241"/>
              <a:gd name="T60" fmla="*/ 3687524 w 525"/>
              <a:gd name="T61" fmla="*/ 60117101 h 241"/>
              <a:gd name="T62" fmla="*/ 9771422 w 525"/>
              <a:gd name="T63" fmla="*/ 44952136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chemeClr val="accent6">
              <a:lumMod val="40000"/>
              <a:lumOff val="60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26" name="Freeform 352">
            <a:extLst>
              <a:ext uri="{FF2B5EF4-FFF2-40B4-BE49-F238E27FC236}">
                <a16:creationId xmlns:a16="http://schemas.microsoft.com/office/drawing/2014/main" id="{EB58EAE3-14CA-44E6-A825-AAA6FF0C3ECC}"/>
              </a:ext>
            </a:extLst>
          </p:cNvPr>
          <p:cNvSpPr>
            <a:spLocks/>
          </p:cNvSpPr>
          <p:nvPr>
            <p:custDataLst>
              <p:tags r:id="rId255"/>
            </p:custDataLst>
          </p:nvPr>
        </p:nvSpPr>
        <p:spPr bwMode="auto">
          <a:xfrm>
            <a:off x="7078909" y="2522303"/>
            <a:ext cx="476274" cy="294759"/>
          </a:xfrm>
          <a:custGeom>
            <a:avLst/>
            <a:gdLst>
              <a:gd name="T0" fmla="*/ 146914280 w 784"/>
              <a:gd name="T1" fmla="*/ 81384858 h 430"/>
              <a:gd name="T2" fmla="*/ 143662416 w 784"/>
              <a:gd name="T3" fmla="*/ 81663607 h 430"/>
              <a:gd name="T4" fmla="*/ 139836282 w 784"/>
              <a:gd name="T5" fmla="*/ 84171826 h 430"/>
              <a:gd name="T6" fmla="*/ 138305916 w 784"/>
              <a:gd name="T7" fmla="*/ 85844324 h 430"/>
              <a:gd name="T8" fmla="*/ 137158251 w 784"/>
              <a:gd name="T9" fmla="*/ 92533259 h 430"/>
              <a:gd name="T10" fmla="*/ 136393286 w 784"/>
              <a:gd name="T11" fmla="*/ 100337720 h 430"/>
              <a:gd name="T12" fmla="*/ 134671351 w 784"/>
              <a:gd name="T13" fmla="*/ 104797186 h 430"/>
              <a:gd name="T14" fmla="*/ 128358754 w 784"/>
              <a:gd name="T15" fmla="*/ 112043620 h 430"/>
              <a:gd name="T16" fmla="*/ 121089624 w 784"/>
              <a:gd name="T17" fmla="*/ 117060586 h 430"/>
              <a:gd name="T18" fmla="*/ 117072358 w 784"/>
              <a:gd name="T19" fmla="*/ 118175056 h 430"/>
              <a:gd name="T20" fmla="*/ 112290128 w 784"/>
              <a:gd name="T21" fmla="*/ 119568804 h 430"/>
              <a:gd name="T22" fmla="*/ 108463994 w 784"/>
              <a:gd name="T23" fmla="*/ 119290055 h 430"/>
              <a:gd name="T24" fmla="*/ 104255596 w 784"/>
              <a:gd name="T25" fmla="*/ 108141654 h 430"/>
              <a:gd name="T26" fmla="*/ 98516832 w 784"/>
              <a:gd name="T27" fmla="*/ 95878254 h 430"/>
              <a:gd name="T28" fmla="*/ 91438834 w 784"/>
              <a:gd name="T29" fmla="*/ 93090758 h 430"/>
              <a:gd name="T30" fmla="*/ 85700070 w 784"/>
              <a:gd name="T31" fmla="*/ 87795043 h 430"/>
              <a:gd name="T32" fmla="*/ 79769737 w 784"/>
              <a:gd name="T33" fmla="*/ 81942357 h 430"/>
              <a:gd name="T34" fmla="*/ 71352941 w 784"/>
              <a:gd name="T35" fmla="*/ 76367893 h 430"/>
              <a:gd name="T36" fmla="*/ 58536179 w 784"/>
              <a:gd name="T37" fmla="*/ 71908427 h 430"/>
              <a:gd name="T38" fmla="*/ 34815722 w 784"/>
              <a:gd name="T39" fmla="*/ 78876639 h 430"/>
              <a:gd name="T40" fmla="*/ 28885389 w 784"/>
              <a:gd name="T41" fmla="*/ 85286825 h 430"/>
              <a:gd name="T42" fmla="*/ 24294290 w 784"/>
              <a:gd name="T43" fmla="*/ 85844324 h 430"/>
              <a:gd name="T44" fmla="*/ 12625630 w 784"/>
              <a:gd name="T45" fmla="*/ 70236457 h 430"/>
              <a:gd name="T46" fmla="*/ 12625630 w 784"/>
              <a:gd name="T47" fmla="*/ 56858059 h 430"/>
              <a:gd name="T48" fmla="*/ 7651831 w 784"/>
              <a:gd name="T49" fmla="*/ 49889847 h 430"/>
              <a:gd name="T50" fmla="*/ 8034532 w 784"/>
              <a:gd name="T51" fmla="*/ 55464311 h 430"/>
              <a:gd name="T52" fmla="*/ 6886429 w 784"/>
              <a:gd name="T53" fmla="*/ 60760026 h 430"/>
              <a:gd name="T54" fmla="*/ 5738764 w 784"/>
              <a:gd name="T55" fmla="*/ 61596275 h 430"/>
              <a:gd name="T56" fmla="*/ 5930333 w 784"/>
              <a:gd name="T57" fmla="*/ 56579309 h 430"/>
              <a:gd name="T58" fmla="*/ 5164931 w 784"/>
              <a:gd name="T59" fmla="*/ 48496626 h 430"/>
              <a:gd name="T60" fmla="*/ 6312597 w 784"/>
              <a:gd name="T61" fmla="*/ 45430381 h 430"/>
              <a:gd name="T62" fmla="*/ 7651831 w 784"/>
              <a:gd name="T63" fmla="*/ 42364663 h 430"/>
              <a:gd name="T64" fmla="*/ 5164931 w 784"/>
              <a:gd name="T65" fmla="*/ 35954477 h 430"/>
              <a:gd name="T66" fmla="*/ 1339234 w 784"/>
              <a:gd name="T67" fmla="*/ 35118228 h 430"/>
              <a:gd name="T68" fmla="*/ 0 w 784"/>
              <a:gd name="T69" fmla="*/ 32609482 h 430"/>
              <a:gd name="T70" fmla="*/ 573833 w 784"/>
              <a:gd name="T71" fmla="*/ 28986265 h 430"/>
              <a:gd name="T72" fmla="*/ 2104199 w 784"/>
              <a:gd name="T73" fmla="*/ 26199297 h 430"/>
              <a:gd name="T74" fmla="*/ 5164931 w 784"/>
              <a:gd name="T75" fmla="*/ 25641797 h 430"/>
              <a:gd name="T76" fmla="*/ 7842963 w 784"/>
              <a:gd name="T77" fmla="*/ 27593045 h 430"/>
              <a:gd name="T78" fmla="*/ 10903695 w 784"/>
              <a:gd name="T79" fmla="*/ 28986265 h 430"/>
              <a:gd name="T80" fmla="*/ 13581727 w 784"/>
              <a:gd name="T81" fmla="*/ 25641797 h 430"/>
              <a:gd name="T82" fmla="*/ 15877495 w 784"/>
              <a:gd name="T83" fmla="*/ 21461081 h 430"/>
              <a:gd name="T84" fmla="*/ 16642459 w 784"/>
              <a:gd name="T85" fmla="*/ 17837864 h 430"/>
              <a:gd name="T86" fmla="*/ 14920961 w 784"/>
              <a:gd name="T87" fmla="*/ 15329117 h 430"/>
              <a:gd name="T88" fmla="*/ 10520994 w 784"/>
              <a:gd name="T89" fmla="*/ 13657148 h 430"/>
              <a:gd name="T90" fmla="*/ 8991065 w 784"/>
              <a:gd name="T91" fmla="*/ 11148401 h 430"/>
              <a:gd name="T92" fmla="*/ 7842963 w 784"/>
              <a:gd name="T93" fmla="*/ 7803933 h 430"/>
              <a:gd name="T94" fmla="*/ 20468593 w 784"/>
              <a:gd name="T95" fmla="*/ 11984650 h 430"/>
              <a:gd name="T96" fmla="*/ 41893720 w 784"/>
              <a:gd name="T97" fmla="*/ 20624832 h 430"/>
              <a:gd name="T98" fmla="*/ 52223583 w 784"/>
              <a:gd name="T99" fmla="*/ 0 h 430"/>
              <a:gd name="T100" fmla="*/ 71352941 w 784"/>
              <a:gd name="T101" fmla="*/ 11984650 h 430"/>
              <a:gd name="T102" fmla="*/ 88951934 w 784"/>
              <a:gd name="T103" fmla="*/ 25641797 h 430"/>
              <a:gd name="T104" fmla="*/ 113055092 w 784"/>
              <a:gd name="T105" fmla="*/ 58530029 h 430"/>
              <a:gd name="T106" fmla="*/ 138497485 w 784"/>
              <a:gd name="T107" fmla="*/ 73859674 h 430"/>
              <a:gd name="T108" fmla="*/ 148827347 w 784"/>
              <a:gd name="T109" fmla="*/ 82221107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27" name="Freeform 353">
            <a:extLst>
              <a:ext uri="{FF2B5EF4-FFF2-40B4-BE49-F238E27FC236}">
                <a16:creationId xmlns:a16="http://schemas.microsoft.com/office/drawing/2014/main" id="{FE17CDEC-1751-4B48-8528-E57737944FD0}"/>
              </a:ext>
            </a:extLst>
          </p:cNvPr>
          <p:cNvSpPr>
            <a:spLocks/>
          </p:cNvSpPr>
          <p:nvPr>
            <p:custDataLst>
              <p:tags r:id="rId256"/>
            </p:custDataLst>
          </p:nvPr>
        </p:nvSpPr>
        <p:spPr bwMode="auto">
          <a:xfrm>
            <a:off x="5978046" y="2375940"/>
            <a:ext cx="150402" cy="193118"/>
          </a:xfrm>
          <a:custGeom>
            <a:avLst/>
            <a:gdLst>
              <a:gd name="T0" fmla="*/ 5777080 w 246"/>
              <a:gd name="T1" fmla="*/ 7454419 h 284"/>
              <a:gd name="T2" fmla="*/ 5391795 w 246"/>
              <a:gd name="T3" fmla="*/ 6626326 h 284"/>
              <a:gd name="T4" fmla="*/ 4621664 w 246"/>
              <a:gd name="T5" fmla="*/ 4693231 h 284"/>
              <a:gd name="T6" fmla="*/ 6739854 w 246"/>
              <a:gd name="T7" fmla="*/ 1380331 h 284"/>
              <a:gd name="T8" fmla="*/ 12901780 w 246"/>
              <a:gd name="T9" fmla="*/ 275856 h 284"/>
              <a:gd name="T10" fmla="*/ 24262860 w 246"/>
              <a:gd name="T11" fmla="*/ 3312900 h 284"/>
              <a:gd name="T12" fmla="*/ 25226072 w 246"/>
              <a:gd name="T13" fmla="*/ 8282513 h 284"/>
              <a:gd name="T14" fmla="*/ 26766334 w 246"/>
              <a:gd name="T15" fmla="*/ 12699888 h 284"/>
              <a:gd name="T16" fmla="*/ 29077166 w 246"/>
              <a:gd name="T17" fmla="*/ 15736932 h 284"/>
              <a:gd name="T18" fmla="*/ 31772845 w 246"/>
              <a:gd name="T19" fmla="*/ 18497595 h 284"/>
              <a:gd name="T20" fmla="*/ 36779794 w 246"/>
              <a:gd name="T21" fmla="*/ 24019445 h 284"/>
              <a:gd name="T22" fmla="*/ 39090626 w 246"/>
              <a:gd name="T23" fmla="*/ 27884583 h 284"/>
              <a:gd name="T24" fmla="*/ 40823530 w 246"/>
              <a:gd name="T25" fmla="*/ 32301958 h 284"/>
              <a:gd name="T26" fmla="*/ 43519648 w 246"/>
              <a:gd name="T27" fmla="*/ 32301958 h 284"/>
              <a:gd name="T28" fmla="*/ 42556435 w 246"/>
              <a:gd name="T29" fmla="*/ 34235052 h 284"/>
              <a:gd name="T30" fmla="*/ 42556435 w 246"/>
              <a:gd name="T31" fmla="*/ 35615384 h 284"/>
              <a:gd name="T32" fmla="*/ 43904494 w 246"/>
              <a:gd name="T33" fmla="*/ 38652428 h 284"/>
              <a:gd name="T34" fmla="*/ 46022683 w 246"/>
              <a:gd name="T35" fmla="*/ 42517565 h 284"/>
              <a:gd name="T36" fmla="*/ 46985457 w 246"/>
              <a:gd name="T37" fmla="*/ 44725990 h 284"/>
              <a:gd name="T38" fmla="*/ 47370742 w 246"/>
              <a:gd name="T39" fmla="*/ 47763034 h 284"/>
              <a:gd name="T40" fmla="*/ 46407968 w 246"/>
              <a:gd name="T41" fmla="*/ 50800078 h 284"/>
              <a:gd name="T42" fmla="*/ 44867267 w 246"/>
              <a:gd name="T43" fmla="*/ 53009029 h 284"/>
              <a:gd name="T44" fmla="*/ 42941720 w 246"/>
              <a:gd name="T45" fmla="*/ 54665216 h 284"/>
              <a:gd name="T46" fmla="*/ 42364232 w 246"/>
              <a:gd name="T47" fmla="*/ 56321929 h 284"/>
              <a:gd name="T48" fmla="*/ 36394509 w 246"/>
              <a:gd name="T49" fmla="*/ 59358973 h 284"/>
              <a:gd name="T50" fmla="*/ 31580641 w 246"/>
              <a:gd name="T51" fmla="*/ 63499966 h 284"/>
              <a:gd name="T52" fmla="*/ 21759824 w 246"/>
              <a:gd name="T53" fmla="*/ 73163336 h 284"/>
              <a:gd name="T54" fmla="*/ 16945517 w 246"/>
              <a:gd name="T55" fmla="*/ 63776348 h 284"/>
              <a:gd name="T56" fmla="*/ 15212612 w 246"/>
              <a:gd name="T57" fmla="*/ 60739304 h 284"/>
              <a:gd name="T58" fmla="*/ 13864554 w 246"/>
              <a:gd name="T59" fmla="*/ 59634829 h 284"/>
              <a:gd name="T60" fmla="*/ 11553722 w 246"/>
              <a:gd name="T61" fmla="*/ 59911210 h 284"/>
              <a:gd name="T62" fmla="*/ 10398306 w 246"/>
              <a:gd name="T63" fmla="*/ 61015160 h 284"/>
              <a:gd name="T64" fmla="*/ 9435532 w 246"/>
              <a:gd name="T65" fmla="*/ 62947729 h 284"/>
              <a:gd name="T66" fmla="*/ 9242890 w 246"/>
              <a:gd name="T67" fmla="*/ 65156679 h 284"/>
              <a:gd name="T68" fmla="*/ 8665401 w 246"/>
              <a:gd name="T69" fmla="*/ 70954386 h 284"/>
              <a:gd name="T70" fmla="*/ 7895270 w 246"/>
              <a:gd name="T71" fmla="*/ 74543667 h 284"/>
              <a:gd name="T72" fmla="*/ 6354569 w 246"/>
              <a:gd name="T73" fmla="*/ 78408805 h 284"/>
              <a:gd name="T74" fmla="*/ 5006510 w 246"/>
              <a:gd name="T75" fmla="*/ 67089248 h 284"/>
              <a:gd name="T76" fmla="*/ 3273606 w 246"/>
              <a:gd name="T77" fmla="*/ 62671873 h 284"/>
              <a:gd name="T78" fmla="*/ 2118190 w 246"/>
              <a:gd name="T79" fmla="*/ 61015160 h 284"/>
              <a:gd name="T80" fmla="*/ 0 w 246"/>
              <a:gd name="T81" fmla="*/ 59634829 h 284"/>
              <a:gd name="T82" fmla="*/ 192642 w 246"/>
              <a:gd name="T83" fmla="*/ 56321929 h 284"/>
              <a:gd name="T84" fmla="*/ 770131 w 246"/>
              <a:gd name="T85" fmla="*/ 53284885 h 284"/>
              <a:gd name="T86" fmla="*/ 2888321 w 246"/>
              <a:gd name="T87" fmla="*/ 48591128 h 284"/>
              <a:gd name="T88" fmla="*/ 5969284 w 246"/>
              <a:gd name="T89" fmla="*/ 44450134 h 284"/>
              <a:gd name="T90" fmla="*/ 8858043 w 246"/>
              <a:gd name="T91" fmla="*/ 38928284 h 284"/>
              <a:gd name="T92" fmla="*/ 6354569 w 246"/>
              <a:gd name="T93" fmla="*/ 12147651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28" name="Freeform 354">
            <a:extLst>
              <a:ext uri="{FF2B5EF4-FFF2-40B4-BE49-F238E27FC236}">
                <a16:creationId xmlns:a16="http://schemas.microsoft.com/office/drawing/2014/main" id="{591C63C1-21B7-40E2-815E-50D3FF71F998}"/>
              </a:ext>
            </a:extLst>
          </p:cNvPr>
          <p:cNvSpPr>
            <a:spLocks/>
          </p:cNvSpPr>
          <p:nvPr>
            <p:custDataLst>
              <p:tags r:id="rId257"/>
            </p:custDataLst>
          </p:nvPr>
        </p:nvSpPr>
        <p:spPr bwMode="auto">
          <a:xfrm>
            <a:off x="6044892" y="2516205"/>
            <a:ext cx="94001" cy="77247"/>
          </a:xfrm>
          <a:custGeom>
            <a:avLst/>
            <a:gdLst>
              <a:gd name="T0" fmla="*/ 20750672 w 160"/>
              <a:gd name="T1" fmla="*/ 0 h 117"/>
              <a:gd name="T2" fmla="*/ 20750672 w 160"/>
              <a:gd name="T3" fmla="*/ 2392376 h 117"/>
              <a:gd name="T4" fmla="*/ 20750672 w 160"/>
              <a:gd name="T5" fmla="*/ 4785268 h 117"/>
              <a:gd name="T6" fmla="*/ 20932849 w 160"/>
              <a:gd name="T7" fmla="*/ 6646062 h 117"/>
              <a:gd name="T8" fmla="*/ 21296776 w 160"/>
              <a:gd name="T9" fmla="*/ 8506856 h 117"/>
              <a:gd name="T10" fmla="*/ 21661130 w 160"/>
              <a:gd name="T11" fmla="*/ 9038438 h 117"/>
              <a:gd name="T12" fmla="*/ 22025057 w 160"/>
              <a:gd name="T13" fmla="*/ 9836069 h 117"/>
              <a:gd name="T14" fmla="*/ 22388984 w 160"/>
              <a:gd name="T15" fmla="*/ 10102117 h 117"/>
              <a:gd name="T16" fmla="*/ 23117265 w 160"/>
              <a:gd name="T17" fmla="*/ 10367650 h 117"/>
              <a:gd name="T18" fmla="*/ 23845119 w 160"/>
              <a:gd name="T19" fmla="*/ 10633699 h 117"/>
              <a:gd name="T20" fmla="*/ 24573400 w 160"/>
              <a:gd name="T21" fmla="*/ 10367650 h 117"/>
              <a:gd name="T22" fmla="*/ 25483431 w 160"/>
              <a:gd name="T23" fmla="*/ 10102117 h 117"/>
              <a:gd name="T24" fmla="*/ 26575639 w 160"/>
              <a:gd name="T25" fmla="*/ 9570535 h 117"/>
              <a:gd name="T26" fmla="*/ 27121743 w 160"/>
              <a:gd name="T27" fmla="*/ 11431330 h 117"/>
              <a:gd name="T28" fmla="*/ 27849597 w 160"/>
              <a:gd name="T29" fmla="*/ 13823706 h 117"/>
              <a:gd name="T30" fmla="*/ 28577878 w 160"/>
              <a:gd name="T31" fmla="*/ 17013712 h 117"/>
              <a:gd name="T32" fmla="*/ 29123982 w 160"/>
              <a:gd name="T33" fmla="*/ 19672137 h 117"/>
              <a:gd name="T34" fmla="*/ 24209473 w 160"/>
              <a:gd name="T35" fmla="*/ 23394241 h 117"/>
              <a:gd name="T36" fmla="*/ 19294537 w 160"/>
              <a:gd name="T37" fmla="*/ 27115830 h 117"/>
              <a:gd name="T38" fmla="*/ 16746194 w 160"/>
              <a:gd name="T39" fmla="*/ 28445042 h 117"/>
              <a:gd name="T40" fmla="*/ 13833924 w 160"/>
              <a:gd name="T41" fmla="*/ 30040303 h 117"/>
              <a:gd name="T42" fmla="*/ 11285580 w 160"/>
              <a:gd name="T43" fmla="*/ 30837418 h 117"/>
              <a:gd name="T44" fmla="*/ 8555060 w 160"/>
              <a:gd name="T45" fmla="*/ 31103467 h 117"/>
              <a:gd name="T46" fmla="*/ 5824967 w 160"/>
              <a:gd name="T47" fmla="*/ 26318199 h 117"/>
              <a:gd name="T48" fmla="*/ 3822728 w 160"/>
              <a:gd name="T49" fmla="*/ 22065029 h 117"/>
              <a:gd name="T50" fmla="*/ 1820062 w 160"/>
              <a:gd name="T51" fmla="*/ 18342925 h 117"/>
              <a:gd name="T52" fmla="*/ 0 w 160"/>
              <a:gd name="T53" fmla="*/ 14621336 h 117"/>
              <a:gd name="T54" fmla="*/ 2366166 w 160"/>
              <a:gd name="T55" fmla="*/ 12760542 h 117"/>
              <a:gd name="T56" fmla="*/ 7462852 w 160"/>
              <a:gd name="T57" fmla="*/ 8506856 h 117"/>
              <a:gd name="T58" fmla="*/ 10921653 w 160"/>
              <a:gd name="T59" fmla="*/ 6114480 h 117"/>
              <a:gd name="T60" fmla="*/ 14197851 w 160"/>
              <a:gd name="T61" fmla="*/ 3721588 h 117"/>
              <a:gd name="T62" fmla="*/ 17656225 w 160"/>
              <a:gd name="T63" fmla="*/ 1595261 h 117"/>
              <a:gd name="T64" fmla="*/ 20750672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29" name="Freeform 355">
            <a:extLst>
              <a:ext uri="{FF2B5EF4-FFF2-40B4-BE49-F238E27FC236}">
                <a16:creationId xmlns:a16="http://schemas.microsoft.com/office/drawing/2014/main" id="{CFA413AF-8FB6-4DE5-BA06-A7A382875E6C}"/>
              </a:ext>
            </a:extLst>
          </p:cNvPr>
          <p:cNvSpPr>
            <a:spLocks/>
          </p:cNvSpPr>
          <p:nvPr>
            <p:custDataLst>
              <p:tags r:id="rId258"/>
            </p:custDataLst>
          </p:nvPr>
        </p:nvSpPr>
        <p:spPr bwMode="auto">
          <a:xfrm>
            <a:off x="6161872" y="3327303"/>
            <a:ext cx="572365" cy="794835"/>
          </a:xfrm>
          <a:custGeom>
            <a:avLst/>
            <a:gdLst>
              <a:gd name="T0" fmla="*/ 141060831 w 943"/>
              <a:gd name="T1" fmla="*/ 1359526 h 1172"/>
              <a:gd name="T2" fmla="*/ 145433188 w 943"/>
              <a:gd name="T3" fmla="*/ 6254758 h 1172"/>
              <a:gd name="T4" fmla="*/ 152657518 w 943"/>
              <a:gd name="T5" fmla="*/ 8158721 h 1172"/>
              <a:gd name="T6" fmla="*/ 154748645 w 943"/>
              <a:gd name="T7" fmla="*/ 14957394 h 1172"/>
              <a:gd name="T8" fmla="*/ 158740797 w 943"/>
              <a:gd name="T9" fmla="*/ 29642569 h 1172"/>
              <a:gd name="T10" fmla="*/ 159121002 w 943"/>
              <a:gd name="T11" fmla="*/ 50855243 h 1172"/>
              <a:gd name="T12" fmla="*/ 162923488 w 943"/>
              <a:gd name="T13" fmla="*/ 66084334 h 1172"/>
              <a:gd name="T14" fmla="*/ 175280584 w 943"/>
              <a:gd name="T15" fmla="*/ 79409983 h 1172"/>
              <a:gd name="T16" fmla="*/ 167105742 w 943"/>
              <a:gd name="T17" fmla="*/ 98174780 h 1172"/>
              <a:gd name="T18" fmla="*/ 161782873 w 943"/>
              <a:gd name="T19" fmla="*/ 111500430 h 1172"/>
              <a:gd name="T20" fmla="*/ 153798133 w 943"/>
              <a:gd name="T21" fmla="*/ 172690052 h 1172"/>
              <a:gd name="T22" fmla="*/ 146383700 w 943"/>
              <a:gd name="T23" fmla="*/ 184111740 h 1172"/>
              <a:gd name="T24" fmla="*/ 145052983 w 943"/>
              <a:gd name="T25" fmla="*/ 196077864 h 1172"/>
              <a:gd name="T26" fmla="*/ 141631139 w 943"/>
              <a:gd name="T27" fmla="*/ 199885267 h 1172"/>
              <a:gd name="T28" fmla="*/ 137448884 w 943"/>
              <a:gd name="T29" fmla="*/ 217018319 h 1172"/>
              <a:gd name="T30" fmla="*/ 131555271 w 943"/>
              <a:gd name="T31" fmla="*/ 238502168 h 1172"/>
              <a:gd name="T32" fmla="*/ 125852197 w 943"/>
              <a:gd name="T33" fmla="*/ 245573059 h 1172"/>
              <a:gd name="T34" fmla="*/ 126232402 w 943"/>
              <a:gd name="T35" fmla="*/ 254003477 h 1172"/>
              <a:gd name="T36" fmla="*/ 130414657 w 943"/>
              <a:gd name="T37" fmla="*/ 255363524 h 1172"/>
              <a:gd name="T38" fmla="*/ 134787449 w 943"/>
              <a:gd name="T39" fmla="*/ 258354794 h 1172"/>
              <a:gd name="T40" fmla="*/ 141060831 w 943"/>
              <a:gd name="T41" fmla="*/ 264065638 h 1172"/>
              <a:gd name="T42" fmla="*/ 143722266 w 943"/>
              <a:gd name="T43" fmla="*/ 273856103 h 1172"/>
              <a:gd name="T44" fmla="*/ 147334649 w 943"/>
              <a:gd name="T45" fmla="*/ 283646567 h 1172"/>
              <a:gd name="T46" fmla="*/ 152657518 w 943"/>
              <a:gd name="T47" fmla="*/ 286366141 h 1172"/>
              <a:gd name="T48" fmla="*/ 153798133 w 943"/>
              <a:gd name="T49" fmla="*/ 297516132 h 1172"/>
              <a:gd name="T50" fmla="*/ 136498372 w 943"/>
              <a:gd name="T51" fmla="*/ 303226976 h 1172"/>
              <a:gd name="T52" fmla="*/ 130604759 w 943"/>
              <a:gd name="T53" fmla="*/ 314649185 h 1172"/>
              <a:gd name="T54" fmla="*/ 113685203 w 943"/>
              <a:gd name="T55" fmla="*/ 318184369 h 1172"/>
              <a:gd name="T56" fmla="*/ 97906262 w 943"/>
              <a:gd name="T57" fmla="*/ 314920881 h 1172"/>
              <a:gd name="T58" fmla="*/ 88210600 w 943"/>
              <a:gd name="T59" fmla="*/ 305402634 h 1172"/>
              <a:gd name="T60" fmla="*/ 74142581 w 943"/>
              <a:gd name="T61" fmla="*/ 305946549 h 1172"/>
              <a:gd name="T62" fmla="*/ 60644869 w 943"/>
              <a:gd name="T63" fmla="*/ 304586502 h 1172"/>
              <a:gd name="T64" fmla="*/ 56462179 w 943"/>
              <a:gd name="T65" fmla="*/ 300235705 h 1172"/>
              <a:gd name="T66" fmla="*/ 55891871 w 943"/>
              <a:gd name="T67" fmla="*/ 292348681 h 1172"/>
              <a:gd name="T68" fmla="*/ 52089822 w 943"/>
              <a:gd name="T69" fmla="*/ 279839165 h 1172"/>
              <a:gd name="T70" fmla="*/ 41063442 w 943"/>
              <a:gd name="T71" fmla="*/ 264881771 h 1172"/>
              <a:gd name="T72" fmla="*/ 36691085 w 943"/>
              <a:gd name="T73" fmla="*/ 251556121 h 1172"/>
              <a:gd name="T74" fmla="*/ 28896448 w 943"/>
              <a:gd name="T75" fmla="*/ 245573059 h 1172"/>
              <a:gd name="T76" fmla="*/ 22813169 w 943"/>
              <a:gd name="T77" fmla="*/ 230071751 h 1172"/>
              <a:gd name="T78" fmla="*/ 18440376 w 943"/>
              <a:gd name="T79" fmla="*/ 214298746 h 1172"/>
              <a:gd name="T80" fmla="*/ 12357097 w 943"/>
              <a:gd name="T81" fmla="*/ 206140025 h 1172"/>
              <a:gd name="T82" fmla="*/ 6273382 w 943"/>
              <a:gd name="T83" fmla="*/ 183840043 h 1172"/>
              <a:gd name="T84" fmla="*/ 760410 w 943"/>
              <a:gd name="T85" fmla="*/ 166163076 h 1172"/>
              <a:gd name="T86" fmla="*/ 3421845 w 943"/>
              <a:gd name="T87" fmla="*/ 156916526 h 1172"/>
              <a:gd name="T88" fmla="*/ 5512972 w 943"/>
              <a:gd name="T89" fmla="*/ 141687435 h 1172"/>
              <a:gd name="T90" fmla="*/ 12166994 w 943"/>
              <a:gd name="T91" fmla="*/ 128905700 h 1172"/>
              <a:gd name="T92" fmla="*/ 21482451 w 943"/>
              <a:gd name="T93" fmla="*/ 60373490 h 1172"/>
              <a:gd name="T94" fmla="*/ 23383476 w 943"/>
              <a:gd name="T95" fmla="*/ 48679584 h 1172"/>
              <a:gd name="T96" fmla="*/ 29086550 w 943"/>
              <a:gd name="T97" fmla="*/ 46503926 h 1172"/>
              <a:gd name="T98" fmla="*/ 30417268 w 943"/>
              <a:gd name="T99" fmla="*/ 33178276 h 1172"/>
              <a:gd name="T100" fmla="*/ 30227165 w 943"/>
              <a:gd name="T101" fmla="*/ 18220882 h 1172"/>
              <a:gd name="T102" fmla="*/ 129083939 w 943"/>
              <a:gd name="T103" fmla="*/ 1876479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30" name="Freeform 356">
            <a:extLst>
              <a:ext uri="{FF2B5EF4-FFF2-40B4-BE49-F238E27FC236}">
                <a16:creationId xmlns:a16="http://schemas.microsoft.com/office/drawing/2014/main" id="{73BA6CAA-EAB5-448C-AD87-27B940B03D2D}"/>
              </a:ext>
            </a:extLst>
          </p:cNvPr>
          <p:cNvSpPr>
            <a:spLocks/>
          </p:cNvSpPr>
          <p:nvPr>
            <p:custDataLst>
              <p:tags r:id="rId259"/>
            </p:custDataLst>
          </p:nvPr>
        </p:nvSpPr>
        <p:spPr bwMode="auto">
          <a:xfrm>
            <a:off x="6834505" y="3768425"/>
            <a:ext cx="340494" cy="561060"/>
          </a:xfrm>
          <a:custGeom>
            <a:avLst/>
            <a:gdLst>
              <a:gd name="T0" fmla="*/ 18947252 w 556"/>
              <a:gd name="T1" fmla="*/ 17234040 h 819"/>
              <a:gd name="T2" fmla="*/ 21654065 w 556"/>
              <a:gd name="T3" fmla="*/ 15566416 h 819"/>
              <a:gd name="T4" fmla="*/ 24940847 w 556"/>
              <a:gd name="T5" fmla="*/ 19180039 h 819"/>
              <a:gd name="T6" fmla="*/ 28807597 w 556"/>
              <a:gd name="T7" fmla="*/ 23627210 h 819"/>
              <a:gd name="T8" fmla="*/ 33060847 w 556"/>
              <a:gd name="T9" fmla="*/ 25573210 h 819"/>
              <a:gd name="T10" fmla="*/ 41567785 w 556"/>
              <a:gd name="T11" fmla="*/ 24461285 h 819"/>
              <a:gd name="T12" fmla="*/ 49688225 w 556"/>
              <a:gd name="T13" fmla="*/ 22793662 h 819"/>
              <a:gd name="T14" fmla="*/ 56261788 w 556"/>
              <a:gd name="T15" fmla="*/ 21959587 h 819"/>
              <a:gd name="T16" fmla="*/ 58195163 w 556"/>
              <a:gd name="T17" fmla="*/ 20569813 h 819"/>
              <a:gd name="T18" fmla="*/ 58195163 w 556"/>
              <a:gd name="T19" fmla="*/ 18902190 h 819"/>
              <a:gd name="T20" fmla="*/ 68635477 w 556"/>
              <a:gd name="T21" fmla="*/ 17511889 h 819"/>
              <a:gd name="T22" fmla="*/ 83909008 w 556"/>
              <a:gd name="T23" fmla="*/ 12508492 h 819"/>
              <a:gd name="T24" fmla="*/ 92609416 w 556"/>
              <a:gd name="T25" fmla="*/ 7782945 h 819"/>
              <a:gd name="T26" fmla="*/ 99376010 w 556"/>
              <a:gd name="T27" fmla="*/ 2223849 h 819"/>
              <a:gd name="T28" fmla="*/ 105756543 w 556"/>
              <a:gd name="T29" fmla="*/ 8617020 h 819"/>
              <a:gd name="T30" fmla="*/ 107302980 w 556"/>
              <a:gd name="T31" fmla="*/ 15844266 h 819"/>
              <a:gd name="T32" fmla="*/ 106723011 w 556"/>
              <a:gd name="T33" fmla="*/ 31410682 h 819"/>
              <a:gd name="T34" fmla="*/ 102856261 w 556"/>
              <a:gd name="T35" fmla="*/ 48366872 h 819"/>
              <a:gd name="T36" fmla="*/ 97056135 w 556"/>
              <a:gd name="T37" fmla="*/ 64211138 h 819"/>
              <a:gd name="T38" fmla="*/ 86422352 w 556"/>
              <a:gd name="T39" fmla="*/ 89228122 h 819"/>
              <a:gd name="T40" fmla="*/ 81782164 w 556"/>
              <a:gd name="T41" fmla="*/ 104238840 h 819"/>
              <a:gd name="T42" fmla="*/ 79268820 w 556"/>
              <a:gd name="T43" fmla="*/ 115357558 h 819"/>
              <a:gd name="T44" fmla="*/ 73275665 w 556"/>
              <a:gd name="T45" fmla="*/ 131479673 h 819"/>
              <a:gd name="T46" fmla="*/ 63801819 w 556"/>
              <a:gd name="T47" fmla="*/ 147601788 h 819"/>
              <a:gd name="T48" fmla="*/ 55681819 w 556"/>
              <a:gd name="T49" fmla="*/ 157330732 h 819"/>
              <a:gd name="T50" fmla="*/ 46207974 w 556"/>
              <a:gd name="T51" fmla="*/ 166781827 h 819"/>
              <a:gd name="T52" fmla="*/ 32480878 w 556"/>
              <a:gd name="T53" fmla="*/ 180958470 h 819"/>
              <a:gd name="T54" fmla="*/ 27647660 w 556"/>
              <a:gd name="T55" fmla="*/ 189019264 h 819"/>
              <a:gd name="T56" fmla="*/ 25327346 w 556"/>
              <a:gd name="T57" fmla="*/ 194578886 h 819"/>
              <a:gd name="T58" fmla="*/ 22427503 w 556"/>
              <a:gd name="T59" fmla="*/ 199304434 h 819"/>
              <a:gd name="T60" fmla="*/ 13727095 w 556"/>
              <a:gd name="T61" fmla="*/ 207087379 h 819"/>
              <a:gd name="T62" fmla="*/ 3673281 w 556"/>
              <a:gd name="T63" fmla="*/ 222653795 h 819"/>
              <a:gd name="T64" fmla="*/ 386499 w 556"/>
              <a:gd name="T65" fmla="*/ 156775034 h 819"/>
              <a:gd name="T66" fmla="*/ 579969 w 556"/>
              <a:gd name="T67" fmla="*/ 153994959 h 819"/>
              <a:gd name="T68" fmla="*/ 5220157 w 556"/>
              <a:gd name="T69" fmla="*/ 148158014 h 819"/>
              <a:gd name="T70" fmla="*/ 8120439 w 556"/>
              <a:gd name="T71" fmla="*/ 143432466 h 819"/>
              <a:gd name="T72" fmla="*/ 11600251 w 556"/>
              <a:gd name="T73" fmla="*/ 138150693 h 819"/>
              <a:gd name="T74" fmla="*/ 21460596 w 556"/>
              <a:gd name="T75" fmla="*/ 133425673 h 819"/>
              <a:gd name="T76" fmla="*/ 23007472 w 556"/>
              <a:gd name="T77" fmla="*/ 130645598 h 819"/>
              <a:gd name="T78" fmla="*/ 24940847 w 556"/>
              <a:gd name="T79" fmla="*/ 125642201 h 819"/>
              <a:gd name="T80" fmla="*/ 29387566 w 556"/>
              <a:gd name="T81" fmla="*/ 122306427 h 819"/>
              <a:gd name="T82" fmla="*/ 33640815 w 556"/>
              <a:gd name="T83" fmla="*/ 122028578 h 819"/>
              <a:gd name="T84" fmla="*/ 37894504 w 556"/>
              <a:gd name="T85" fmla="*/ 122028578 h 819"/>
              <a:gd name="T86" fmla="*/ 44081129 w 556"/>
              <a:gd name="T87" fmla="*/ 119249030 h 819"/>
              <a:gd name="T88" fmla="*/ 48528288 w 556"/>
              <a:gd name="T89" fmla="*/ 112577483 h 819"/>
              <a:gd name="T90" fmla="*/ 51234661 w 556"/>
              <a:gd name="T91" fmla="*/ 105350764 h 819"/>
              <a:gd name="T92" fmla="*/ 57228256 w 556"/>
              <a:gd name="T93" fmla="*/ 96455368 h 819"/>
              <a:gd name="T94" fmla="*/ 68442007 w 556"/>
              <a:gd name="T95" fmla="*/ 81445178 h 819"/>
              <a:gd name="T96" fmla="*/ 72888726 w 556"/>
              <a:gd name="T97" fmla="*/ 73940082 h 819"/>
              <a:gd name="T98" fmla="*/ 62641882 w 556"/>
              <a:gd name="T99" fmla="*/ 68380460 h 819"/>
              <a:gd name="T100" fmla="*/ 49688225 w 556"/>
              <a:gd name="T101" fmla="*/ 63377063 h 819"/>
              <a:gd name="T102" fmla="*/ 35574190 w 556"/>
              <a:gd name="T103" fmla="*/ 58095817 h 819"/>
              <a:gd name="T104" fmla="*/ 28807597 w 556"/>
              <a:gd name="T105" fmla="*/ 51980495 h 819"/>
              <a:gd name="T106" fmla="*/ 21654065 w 556"/>
              <a:gd name="T107" fmla="*/ 42807250 h 819"/>
              <a:gd name="T108" fmla="*/ 17207346 w 556"/>
              <a:gd name="T109" fmla="*/ 33634531 h 819"/>
              <a:gd name="T110" fmla="*/ 14887033 w 556"/>
              <a:gd name="T111" fmla="*/ 22237436 h 819"/>
              <a:gd name="T112" fmla="*/ 12567158 w 556"/>
              <a:gd name="T113" fmla="*/ 24183436 h 819"/>
              <a:gd name="T114" fmla="*/ 16240439 w 556"/>
              <a:gd name="T115" fmla="*/ 18902190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31" name="Freeform 357">
            <a:extLst>
              <a:ext uri="{FF2B5EF4-FFF2-40B4-BE49-F238E27FC236}">
                <a16:creationId xmlns:a16="http://schemas.microsoft.com/office/drawing/2014/main" id="{FE2E4E9D-4346-40EE-A217-7369BB4AD893}"/>
              </a:ext>
            </a:extLst>
          </p:cNvPr>
          <p:cNvSpPr>
            <a:spLocks/>
          </p:cNvSpPr>
          <p:nvPr>
            <p:custDataLst>
              <p:tags r:id="rId260"/>
            </p:custDataLst>
          </p:nvPr>
        </p:nvSpPr>
        <p:spPr bwMode="auto">
          <a:xfrm>
            <a:off x="6847039" y="3752162"/>
            <a:ext cx="52222" cy="75216"/>
          </a:xfrm>
          <a:custGeom>
            <a:avLst/>
            <a:gdLst>
              <a:gd name="T0" fmla="*/ 11579742 w 86"/>
              <a:gd name="T1" fmla="*/ 0 h 97"/>
              <a:gd name="T2" fmla="*/ 10990964 w 86"/>
              <a:gd name="T3" fmla="*/ 733304 h 97"/>
              <a:gd name="T4" fmla="*/ 10205927 w 86"/>
              <a:gd name="T5" fmla="*/ 1100259 h 97"/>
              <a:gd name="T6" fmla="*/ 9028371 w 86"/>
              <a:gd name="T7" fmla="*/ 1100259 h 97"/>
              <a:gd name="T8" fmla="*/ 7850815 w 86"/>
              <a:gd name="T9" fmla="*/ 1100259 h 97"/>
              <a:gd name="T10" fmla="*/ 6477000 w 86"/>
              <a:gd name="T11" fmla="*/ 1100259 h 97"/>
              <a:gd name="T12" fmla="*/ 5299444 w 86"/>
              <a:gd name="T13" fmla="*/ 1100259 h 97"/>
              <a:gd name="T14" fmla="*/ 4514407 w 86"/>
              <a:gd name="T15" fmla="*/ 1466608 h 97"/>
              <a:gd name="T16" fmla="*/ 3925186 w 86"/>
              <a:gd name="T17" fmla="*/ 2199913 h 97"/>
              <a:gd name="T18" fmla="*/ 3140149 w 86"/>
              <a:gd name="T19" fmla="*/ 3300172 h 97"/>
              <a:gd name="T20" fmla="*/ 2551371 w 86"/>
              <a:gd name="T21" fmla="*/ 4399825 h 97"/>
              <a:gd name="T22" fmla="*/ 2158852 w 86"/>
              <a:gd name="T23" fmla="*/ 5500084 h 97"/>
              <a:gd name="T24" fmla="*/ 1570074 w 86"/>
              <a:gd name="T25" fmla="*/ 7333647 h 97"/>
              <a:gd name="T26" fmla="*/ 785037 w 86"/>
              <a:gd name="T27" fmla="*/ 10633819 h 97"/>
              <a:gd name="T28" fmla="*/ 392519 w 86"/>
              <a:gd name="T29" fmla="*/ 13933385 h 97"/>
              <a:gd name="T30" fmla="*/ 0 w 86"/>
              <a:gd name="T31" fmla="*/ 20900683 h 97"/>
              <a:gd name="T32" fmla="*/ 0 w 86"/>
              <a:gd name="T33" fmla="*/ 27500421 h 97"/>
              <a:gd name="T34" fmla="*/ 0 w 86"/>
              <a:gd name="T35" fmla="*/ 29700334 h 97"/>
              <a:gd name="T36" fmla="*/ 196259 w 86"/>
              <a:gd name="T37" fmla="*/ 31533897 h 97"/>
              <a:gd name="T38" fmla="*/ 588778 w 86"/>
              <a:gd name="T39" fmla="*/ 33000505 h 97"/>
              <a:gd name="T40" fmla="*/ 1373815 w 86"/>
              <a:gd name="T41" fmla="*/ 34100764 h 97"/>
              <a:gd name="T42" fmla="*/ 1962593 w 86"/>
              <a:gd name="T43" fmla="*/ 34834069 h 97"/>
              <a:gd name="T44" fmla="*/ 2551371 w 86"/>
              <a:gd name="T45" fmla="*/ 35200418 h 97"/>
              <a:gd name="T46" fmla="*/ 3532667 w 86"/>
              <a:gd name="T47" fmla="*/ 35567373 h 97"/>
              <a:gd name="T48" fmla="*/ 4121445 w 86"/>
              <a:gd name="T49" fmla="*/ 35567373 h 97"/>
              <a:gd name="T50" fmla="*/ 7850815 w 86"/>
              <a:gd name="T51" fmla="*/ 34834069 h 97"/>
              <a:gd name="T52" fmla="*/ 10402186 w 86"/>
              <a:gd name="T53" fmla="*/ 34100764 h 97"/>
              <a:gd name="T54" fmla="*/ 16879186 w 86"/>
              <a:gd name="T55" fmla="*/ 24933554 h 97"/>
              <a:gd name="T56" fmla="*/ 11579742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0872A6"/>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32" name="Freeform 358">
            <a:extLst>
              <a:ext uri="{FF2B5EF4-FFF2-40B4-BE49-F238E27FC236}">
                <a16:creationId xmlns:a16="http://schemas.microsoft.com/office/drawing/2014/main" id="{D7939463-F141-4F2A-9B01-71FB5701813E}"/>
              </a:ext>
            </a:extLst>
          </p:cNvPr>
          <p:cNvSpPr>
            <a:spLocks/>
          </p:cNvSpPr>
          <p:nvPr>
            <p:custDataLst>
              <p:tags r:id="rId261"/>
            </p:custDataLst>
          </p:nvPr>
        </p:nvSpPr>
        <p:spPr bwMode="auto">
          <a:xfrm>
            <a:off x="6575478" y="3646456"/>
            <a:ext cx="505520" cy="489912"/>
          </a:xfrm>
          <a:custGeom>
            <a:avLst/>
            <a:gdLst>
              <a:gd name="T0" fmla="*/ 33686421 w 845"/>
              <a:gd name="T1" fmla="*/ 9830237 h 720"/>
              <a:gd name="T2" fmla="*/ 37943902 w 845"/>
              <a:gd name="T3" fmla="*/ 7645449 h 720"/>
              <a:gd name="T4" fmla="*/ 45717592 w 845"/>
              <a:gd name="T5" fmla="*/ 0 h 720"/>
              <a:gd name="T6" fmla="*/ 50530061 w 845"/>
              <a:gd name="T7" fmla="*/ 3276920 h 720"/>
              <a:gd name="T8" fmla="*/ 60524990 w 845"/>
              <a:gd name="T9" fmla="*/ 10103009 h 720"/>
              <a:gd name="T10" fmla="*/ 70334923 w 845"/>
              <a:gd name="T11" fmla="*/ 18295047 h 720"/>
              <a:gd name="T12" fmla="*/ 78849026 w 845"/>
              <a:gd name="T13" fmla="*/ 26759857 h 720"/>
              <a:gd name="T14" fmla="*/ 81810247 w 845"/>
              <a:gd name="T15" fmla="*/ 34132534 h 720"/>
              <a:gd name="T16" fmla="*/ 81995673 w 845"/>
              <a:gd name="T17" fmla="*/ 38228292 h 720"/>
              <a:gd name="T18" fmla="*/ 84771899 w 845"/>
              <a:gd name="T19" fmla="*/ 40139785 h 720"/>
              <a:gd name="T20" fmla="*/ 92360593 w 845"/>
              <a:gd name="T21" fmla="*/ 48604595 h 720"/>
              <a:gd name="T22" fmla="*/ 93656423 w 845"/>
              <a:gd name="T23" fmla="*/ 46966396 h 720"/>
              <a:gd name="T24" fmla="*/ 90324781 w 845"/>
              <a:gd name="T25" fmla="*/ 50242793 h 720"/>
              <a:gd name="T26" fmla="*/ 89028950 w 845"/>
              <a:gd name="T27" fmla="*/ 55157912 h 720"/>
              <a:gd name="T28" fmla="*/ 89028950 w 845"/>
              <a:gd name="T29" fmla="*/ 68811135 h 720"/>
              <a:gd name="T30" fmla="*/ 91250189 w 845"/>
              <a:gd name="T31" fmla="*/ 72088054 h 720"/>
              <a:gd name="T32" fmla="*/ 97358058 w 845"/>
              <a:gd name="T33" fmla="*/ 72360826 h 720"/>
              <a:gd name="T34" fmla="*/ 100874696 w 845"/>
              <a:gd name="T35" fmla="*/ 87106181 h 720"/>
              <a:gd name="T36" fmla="*/ 107908404 w 845"/>
              <a:gd name="T37" fmla="*/ 98574617 h 720"/>
              <a:gd name="T38" fmla="*/ 119384158 w 845"/>
              <a:gd name="T39" fmla="*/ 109224214 h 720"/>
              <a:gd name="T40" fmla="*/ 136597360 w 845"/>
              <a:gd name="T41" fmla="*/ 117415729 h 720"/>
              <a:gd name="T42" fmla="*/ 156402222 w 845"/>
              <a:gd name="T43" fmla="*/ 122604142 h 720"/>
              <a:gd name="T44" fmla="*/ 150108927 w 845"/>
              <a:gd name="T45" fmla="*/ 131615018 h 720"/>
              <a:gd name="T46" fmla="*/ 135301960 w 845"/>
              <a:gd name="T47" fmla="*/ 149363999 h 720"/>
              <a:gd name="T48" fmla="*/ 131784891 w 845"/>
              <a:gd name="T49" fmla="*/ 158101581 h 720"/>
              <a:gd name="T50" fmla="*/ 129008666 w 845"/>
              <a:gd name="T51" fmla="*/ 168477883 h 720"/>
              <a:gd name="T52" fmla="*/ 124751614 w 845"/>
              <a:gd name="T53" fmla="*/ 171754803 h 720"/>
              <a:gd name="T54" fmla="*/ 107352987 w 845"/>
              <a:gd name="T55" fmla="*/ 178854186 h 720"/>
              <a:gd name="T56" fmla="*/ 103465926 w 845"/>
              <a:gd name="T57" fmla="*/ 183223239 h 720"/>
              <a:gd name="T58" fmla="*/ 97173062 w 845"/>
              <a:gd name="T59" fmla="*/ 185953570 h 720"/>
              <a:gd name="T60" fmla="*/ 89213946 w 845"/>
              <a:gd name="T61" fmla="*/ 189230489 h 720"/>
              <a:gd name="T62" fmla="*/ 85327316 w 845"/>
              <a:gd name="T63" fmla="*/ 185680798 h 720"/>
              <a:gd name="T64" fmla="*/ 79034022 w 845"/>
              <a:gd name="T65" fmla="*/ 185407503 h 720"/>
              <a:gd name="T66" fmla="*/ 74961966 w 845"/>
              <a:gd name="T67" fmla="*/ 190868688 h 720"/>
              <a:gd name="T68" fmla="*/ 72185740 w 845"/>
              <a:gd name="T69" fmla="*/ 194964968 h 720"/>
              <a:gd name="T70" fmla="*/ 66632859 w 845"/>
              <a:gd name="T71" fmla="*/ 196603167 h 720"/>
              <a:gd name="T72" fmla="*/ 58859168 w 845"/>
              <a:gd name="T73" fmla="*/ 194964968 h 720"/>
              <a:gd name="T74" fmla="*/ 53491282 w 845"/>
              <a:gd name="T75" fmla="*/ 190595916 h 720"/>
              <a:gd name="T76" fmla="*/ 45532597 w 845"/>
              <a:gd name="T77" fmla="*/ 183223239 h 720"/>
              <a:gd name="T78" fmla="*/ 33501425 w 845"/>
              <a:gd name="T79" fmla="*/ 180492385 h 720"/>
              <a:gd name="T80" fmla="*/ 25912731 w 845"/>
              <a:gd name="T81" fmla="*/ 178308120 h 720"/>
              <a:gd name="T82" fmla="*/ 27948974 w 845"/>
              <a:gd name="T83" fmla="*/ 167659045 h 720"/>
              <a:gd name="T84" fmla="*/ 23506496 w 845"/>
              <a:gd name="T85" fmla="*/ 162743927 h 720"/>
              <a:gd name="T86" fmla="*/ 19989858 w 845"/>
              <a:gd name="T87" fmla="*/ 159193713 h 720"/>
              <a:gd name="T88" fmla="*/ 17213632 w 845"/>
              <a:gd name="T89" fmla="*/ 150456131 h 720"/>
              <a:gd name="T90" fmla="*/ 14251980 w 845"/>
              <a:gd name="T91" fmla="*/ 139533762 h 720"/>
              <a:gd name="T92" fmla="*/ 9069520 w 845"/>
              <a:gd name="T93" fmla="*/ 133526511 h 720"/>
              <a:gd name="T94" fmla="*/ 2961652 w 845"/>
              <a:gd name="T95" fmla="*/ 130249592 h 720"/>
              <a:gd name="T96" fmla="*/ 925409 w 845"/>
              <a:gd name="T97" fmla="*/ 128884165 h 720"/>
              <a:gd name="T98" fmla="*/ 369991 w 845"/>
              <a:gd name="T99" fmla="*/ 122330848 h 720"/>
              <a:gd name="T100" fmla="*/ 3887060 w 845"/>
              <a:gd name="T101" fmla="*/ 115231465 h 720"/>
              <a:gd name="T102" fmla="*/ 10179924 w 845"/>
              <a:gd name="T103" fmla="*/ 112773905 h 720"/>
              <a:gd name="T104" fmla="*/ 12401163 w 845"/>
              <a:gd name="T105" fmla="*/ 87652247 h 720"/>
              <a:gd name="T106" fmla="*/ 15177389 w 845"/>
              <a:gd name="T107" fmla="*/ 75091680 h 720"/>
              <a:gd name="T108" fmla="*/ 17583623 w 845"/>
              <a:gd name="T109" fmla="*/ 70995399 h 720"/>
              <a:gd name="T110" fmla="*/ 19064449 w 845"/>
              <a:gd name="T111" fmla="*/ 64442082 h 720"/>
              <a:gd name="T112" fmla="*/ 21470683 w 845"/>
              <a:gd name="T113" fmla="*/ 56250567 h 720"/>
              <a:gd name="T114" fmla="*/ 27393556 w 845"/>
              <a:gd name="T115" fmla="*/ 48604595 h 720"/>
              <a:gd name="T116" fmla="*/ 30910195 w 845"/>
              <a:gd name="T117" fmla="*/ 43689477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33" name="Line 359">
            <a:extLst>
              <a:ext uri="{FF2B5EF4-FFF2-40B4-BE49-F238E27FC236}">
                <a16:creationId xmlns:a16="http://schemas.microsoft.com/office/drawing/2014/main" id="{3CD1B5F0-8A51-4F75-B2BC-250AB7651835}"/>
              </a:ext>
            </a:extLst>
          </p:cNvPr>
          <p:cNvSpPr>
            <a:spLocks noChangeShapeType="1"/>
          </p:cNvSpPr>
          <p:nvPr>
            <p:custDataLst>
              <p:tags r:id="rId262"/>
            </p:custDataLst>
          </p:nvPr>
        </p:nvSpPr>
        <p:spPr bwMode="auto">
          <a:xfrm flipH="1">
            <a:off x="2195003" y="4311190"/>
            <a:ext cx="8355" cy="10163"/>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34" name="Freeform 360">
            <a:extLst>
              <a:ext uri="{FF2B5EF4-FFF2-40B4-BE49-F238E27FC236}">
                <a16:creationId xmlns:a16="http://schemas.microsoft.com/office/drawing/2014/main" id="{399FBAB3-7BA0-45FB-9F8B-C57D2ACEA836}"/>
              </a:ext>
            </a:extLst>
          </p:cNvPr>
          <p:cNvSpPr>
            <a:spLocks/>
          </p:cNvSpPr>
          <p:nvPr>
            <p:custDataLst>
              <p:tags r:id="rId263"/>
            </p:custDataLst>
          </p:nvPr>
        </p:nvSpPr>
        <p:spPr bwMode="auto">
          <a:xfrm>
            <a:off x="2195003" y="4321355"/>
            <a:ext cx="18801" cy="77247"/>
          </a:xfrm>
          <a:custGeom>
            <a:avLst/>
            <a:gdLst>
              <a:gd name="T0" fmla="*/ 0 w 33"/>
              <a:gd name="T1" fmla="*/ 0 h 6"/>
              <a:gd name="T2" fmla="*/ 1036782 w 33"/>
              <a:gd name="T3" fmla="*/ 95839205 h 6"/>
              <a:gd name="T4" fmla="*/ 2221730 w 33"/>
              <a:gd name="T5" fmla="*/ 287507826 h 6"/>
              <a:gd name="T6" fmla="*/ 3406679 w 33"/>
              <a:gd name="T7" fmla="*/ 479176446 h 6"/>
              <a:gd name="T8" fmla="*/ 4887576 w 33"/>
              <a:gd name="T9" fmla="*/ 575005862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6">
                <a:moveTo>
                  <a:pt x="0" y="0"/>
                </a:moveTo>
                <a:lnTo>
                  <a:pt x="7" y="1"/>
                </a:lnTo>
                <a:lnTo>
                  <a:pt x="15" y="3"/>
                </a:lnTo>
                <a:lnTo>
                  <a:pt x="23" y="5"/>
                </a:lnTo>
                <a:lnTo>
                  <a:pt x="33" y="6"/>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35" name="Freeform 361">
            <a:extLst>
              <a:ext uri="{FF2B5EF4-FFF2-40B4-BE49-F238E27FC236}">
                <a16:creationId xmlns:a16="http://schemas.microsoft.com/office/drawing/2014/main" id="{2AC91199-C37E-4293-B4DA-97F1DE7F1B2A}"/>
              </a:ext>
            </a:extLst>
          </p:cNvPr>
          <p:cNvSpPr>
            <a:spLocks/>
          </p:cNvSpPr>
          <p:nvPr>
            <p:custDataLst>
              <p:tags r:id="rId264"/>
            </p:custDataLst>
          </p:nvPr>
        </p:nvSpPr>
        <p:spPr bwMode="auto">
          <a:xfrm>
            <a:off x="2207536" y="4305092"/>
            <a:ext cx="6267" cy="75216"/>
          </a:xfrm>
          <a:custGeom>
            <a:avLst/>
            <a:gdLst>
              <a:gd name="T0" fmla="*/ 1744357 w 13"/>
              <a:gd name="T1" fmla="*/ 108870750 h 30"/>
              <a:gd name="T2" fmla="*/ 1744357 w 13"/>
              <a:gd name="T3" fmla="*/ 0 h 30"/>
              <a:gd name="T4" fmla="*/ 0 w 13"/>
              <a:gd name="T5" fmla="*/ 0 h 30"/>
              <a:gd name="T6" fmla="*/ 0 60000 65536"/>
              <a:gd name="T7" fmla="*/ 0 60000 65536"/>
              <a:gd name="T8" fmla="*/ 0 60000 65536"/>
            </a:gdLst>
            <a:ahLst/>
            <a:cxnLst>
              <a:cxn ang="T6">
                <a:pos x="T0" y="T1"/>
              </a:cxn>
              <a:cxn ang="T7">
                <a:pos x="T2" y="T3"/>
              </a:cxn>
              <a:cxn ang="T8">
                <a:pos x="T4" y="T5"/>
              </a:cxn>
            </a:cxnLst>
            <a:rect l="0" t="0" r="r" b="b"/>
            <a:pathLst>
              <a:path w="13" h="30">
                <a:moveTo>
                  <a:pt x="13" y="30"/>
                </a:moveTo>
                <a:lnTo>
                  <a:pt x="13" y="0"/>
                </a:lnTo>
                <a:lnTo>
                  <a:pt x="0"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nvGrpSpPr>
          <p:cNvPr id="836" name="Group 362">
            <a:extLst>
              <a:ext uri="{FF2B5EF4-FFF2-40B4-BE49-F238E27FC236}">
                <a16:creationId xmlns:a16="http://schemas.microsoft.com/office/drawing/2014/main" id="{CB42A3E9-108A-474D-BD04-DD8BF691923D}"/>
              </a:ext>
            </a:extLst>
          </p:cNvPr>
          <p:cNvGrpSpPr>
            <a:grpSpLocks/>
          </p:cNvGrpSpPr>
          <p:nvPr>
            <p:custDataLst>
              <p:tags r:id="rId265"/>
            </p:custDataLst>
          </p:nvPr>
        </p:nvGrpSpPr>
        <p:grpSpPr bwMode="auto">
          <a:xfrm>
            <a:off x="2195712" y="4220468"/>
            <a:ext cx="581084" cy="262118"/>
            <a:chOff x="912" y="2626"/>
            <a:chExt cx="311" cy="127"/>
          </a:xfrm>
          <a:solidFill>
            <a:schemeClr val="bg1">
              <a:lumMod val="65000"/>
            </a:schemeClr>
          </a:solidFill>
        </p:grpSpPr>
        <p:sp>
          <p:nvSpPr>
            <p:cNvPr id="1022" name="Freeform 363">
              <a:extLst>
                <a:ext uri="{FF2B5EF4-FFF2-40B4-BE49-F238E27FC236}">
                  <a16:creationId xmlns:a16="http://schemas.microsoft.com/office/drawing/2014/main" id="{889DF501-ED68-46C3-8F6E-9594D4947B6C}"/>
                </a:ext>
              </a:extLst>
            </p:cNvPr>
            <p:cNvSpPr>
              <a:spLocks/>
            </p:cNvSpPr>
            <p:nvPr/>
          </p:nvSpPr>
          <p:spPr bwMode="auto">
            <a:xfrm>
              <a:off x="1112" y="2626"/>
              <a:ext cx="116" cy="127"/>
            </a:xfrm>
            <a:custGeom>
              <a:avLst/>
              <a:gdLst>
                <a:gd name="T0" fmla="*/ 32 w 352"/>
                <a:gd name="T1" fmla="*/ 9 h 387"/>
                <a:gd name="T2" fmla="*/ 30 w 352"/>
                <a:gd name="T3" fmla="*/ 9 h 387"/>
                <a:gd name="T4" fmla="*/ 27 w 352"/>
                <a:gd name="T5" fmla="*/ 9 h 387"/>
                <a:gd name="T6" fmla="*/ 26 w 352"/>
                <a:gd name="T7" fmla="*/ 8 h 387"/>
                <a:gd name="T8" fmla="*/ 23 w 352"/>
                <a:gd name="T9" fmla="*/ 6 h 387"/>
                <a:gd name="T10" fmla="*/ 17 w 352"/>
                <a:gd name="T11" fmla="*/ 2 h 387"/>
                <a:gd name="T12" fmla="*/ 14 w 352"/>
                <a:gd name="T13" fmla="*/ 1 h 387"/>
                <a:gd name="T14" fmla="*/ 13 w 352"/>
                <a:gd name="T15" fmla="*/ 2 h 387"/>
                <a:gd name="T16" fmla="*/ 12 w 352"/>
                <a:gd name="T17" fmla="*/ 3 h 387"/>
                <a:gd name="T18" fmla="*/ 11 w 352"/>
                <a:gd name="T19" fmla="*/ 4 h 387"/>
                <a:gd name="T20" fmla="*/ 9 w 352"/>
                <a:gd name="T21" fmla="*/ 6 h 387"/>
                <a:gd name="T22" fmla="*/ 5 w 352"/>
                <a:gd name="T23" fmla="*/ 11 h 387"/>
                <a:gd name="T24" fmla="*/ 3 w 352"/>
                <a:gd name="T25" fmla="*/ 14 h 387"/>
                <a:gd name="T26" fmla="*/ 2 w 352"/>
                <a:gd name="T27" fmla="*/ 17 h 387"/>
                <a:gd name="T28" fmla="*/ 1 w 352"/>
                <a:gd name="T29" fmla="*/ 19 h 387"/>
                <a:gd name="T30" fmla="*/ 0 w 352"/>
                <a:gd name="T31" fmla="*/ 21 h 387"/>
                <a:gd name="T32" fmla="*/ 0 w 352"/>
                <a:gd name="T33" fmla="*/ 23 h 387"/>
                <a:gd name="T34" fmla="*/ 0 w 352"/>
                <a:gd name="T35" fmla="*/ 24 h 387"/>
                <a:gd name="T36" fmla="*/ 1 w 352"/>
                <a:gd name="T37" fmla="*/ 25 h 387"/>
                <a:gd name="T38" fmla="*/ 3 w 352"/>
                <a:gd name="T39" fmla="*/ 26 h 387"/>
                <a:gd name="T40" fmla="*/ 4 w 352"/>
                <a:gd name="T41" fmla="*/ 26 h 387"/>
                <a:gd name="T42" fmla="*/ 5 w 352"/>
                <a:gd name="T43" fmla="*/ 26 h 387"/>
                <a:gd name="T44" fmla="*/ 6 w 352"/>
                <a:gd name="T45" fmla="*/ 26 h 387"/>
                <a:gd name="T46" fmla="*/ 7 w 352"/>
                <a:gd name="T47" fmla="*/ 25 h 387"/>
                <a:gd name="T48" fmla="*/ 8 w 352"/>
                <a:gd name="T49" fmla="*/ 25 h 387"/>
                <a:gd name="T50" fmla="*/ 8 w 352"/>
                <a:gd name="T51" fmla="*/ 26 h 387"/>
                <a:gd name="T52" fmla="*/ 8 w 352"/>
                <a:gd name="T53" fmla="*/ 28 h 387"/>
                <a:gd name="T54" fmla="*/ 8 w 352"/>
                <a:gd name="T55" fmla="*/ 30 h 387"/>
                <a:gd name="T56" fmla="*/ 7 w 352"/>
                <a:gd name="T57" fmla="*/ 31 h 387"/>
                <a:gd name="T58" fmla="*/ 7 w 352"/>
                <a:gd name="T59" fmla="*/ 33 h 387"/>
                <a:gd name="T60" fmla="*/ 8 w 352"/>
                <a:gd name="T61" fmla="*/ 36 h 387"/>
                <a:gd name="T62" fmla="*/ 9 w 352"/>
                <a:gd name="T63" fmla="*/ 38 h 387"/>
                <a:gd name="T64" fmla="*/ 13 w 352"/>
                <a:gd name="T65" fmla="*/ 40 h 387"/>
                <a:gd name="T66" fmla="*/ 15 w 352"/>
                <a:gd name="T67" fmla="*/ 41 h 387"/>
                <a:gd name="T68" fmla="*/ 16 w 352"/>
                <a:gd name="T69" fmla="*/ 42 h 387"/>
                <a:gd name="T70" fmla="*/ 17 w 352"/>
                <a:gd name="T71" fmla="*/ 41 h 387"/>
                <a:gd name="T72" fmla="*/ 18 w 352"/>
                <a:gd name="T73" fmla="*/ 39 h 387"/>
                <a:gd name="T74" fmla="*/ 18 w 352"/>
                <a:gd name="T75" fmla="*/ 38 h 387"/>
                <a:gd name="T76" fmla="*/ 19 w 352"/>
                <a:gd name="T77" fmla="*/ 36 h 387"/>
                <a:gd name="T78" fmla="*/ 19 w 352"/>
                <a:gd name="T79" fmla="*/ 35 h 387"/>
                <a:gd name="T80" fmla="*/ 20 w 352"/>
                <a:gd name="T81" fmla="*/ 33 h 387"/>
                <a:gd name="T82" fmla="*/ 22 w 352"/>
                <a:gd name="T83" fmla="*/ 30 h 387"/>
                <a:gd name="T84" fmla="*/ 24 w 352"/>
                <a:gd name="T85" fmla="*/ 28 h 387"/>
                <a:gd name="T86" fmla="*/ 27 w 352"/>
                <a:gd name="T87" fmla="*/ 27 h 387"/>
                <a:gd name="T88" fmla="*/ 31 w 352"/>
                <a:gd name="T89" fmla="*/ 25 h 387"/>
                <a:gd name="T90" fmla="*/ 33 w 352"/>
                <a:gd name="T91" fmla="*/ 23 h 387"/>
                <a:gd name="T92" fmla="*/ 35 w 352"/>
                <a:gd name="T93" fmla="*/ 21 h 387"/>
                <a:gd name="T94" fmla="*/ 36 w 352"/>
                <a:gd name="T95" fmla="*/ 20 h 387"/>
                <a:gd name="T96" fmla="*/ 36 w 352"/>
                <a:gd name="T97" fmla="*/ 18 h 387"/>
                <a:gd name="T98" fmla="*/ 36 w 352"/>
                <a:gd name="T99" fmla="*/ 16 h 387"/>
                <a:gd name="T100" fmla="*/ 35 w 352"/>
                <a:gd name="T101" fmla="*/ 13 h 387"/>
                <a:gd name="T102" fmla="*/ 34 w 352"/>
                <a:gd name="T103" fmla="*/ 1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23" name="Freeform 364">
              <a:extLst>
                <a:ext uri="{FF2B5EF4-FFF2-40B4-BE49-F238E27FC236}">
                  <a16:creationId xmlns:a16="http://schemas.microsoft.com/office/drawing/2014/main" id="{F5D6D762-2202-48F5-82F1-DCCD6F433F61}"/>
                </a:ext>
              </a:extLst>
            </p:cNvPr>
            <p:cNvSpPr>
              <a:spLocks/>
            </p:cNvSpPr>
            <p:nvPr/>
          </p:nvSpPr>
          <p:spPr bwMode="auto">
            <a:xfrm>
              <a:off x="923" y="2662"/>
              <a:ext cx="17" cy="26"/>
            </a:xfrm>
            <a:custGeom>
              <a:avLst/>
              <a:gdLst>
                <a:gd name="T0" fmla="*/ 2 w 52"/>
                <a:gd name="T1" fmla="*/ 0 h 78"/>
                <a:gd name="T2" fmla="*/ 2 w 52"/>
                <a:gd name="T3" fmla="*/ 0 h 78"/>
                <a:gd name="T4" fmla="*/ 3 w 52"/>
                <a:gd name="T5" fmla="*/ 0 h 78"/>
                <a:gd name="T6" fmla="*/ 3 w 52"/>
                <a:gd name="T7" fmla="*/ 1 h 78"/>
                <a:gd name="T8" fmla="*/ 4 w 52"/>
                <a:gd name="T9" fmla="*/ 1 h 78"/>
                <a:gd name="T10" fmla="*/ 4 w 52"/>
                <a:gd name="T11" fmla="*/ 1 h 78"/>
                <a:gd name="T12" fmla="*/ 5 w 52"/>
                <a:gd name="T13" fmla="*/ 2 h 78"/>
                <a:gd name="T14" fmla="*/ 5 w 52"/>
                <a:gd name="T15" fmla="*/ 2 h 78"/>
                <a:gd name="T16" fmla="*/ 5 w 52"/>
                <a:gd name="T17" fmla="*/ 3 h 78"/>
                <a:gd name="T18" fmla="*/ 6 w 52"/>
                <a:gd name="T19" fmla="*/ 4 h 78"/>
                <a:gd name="T20" fmla="*/ 6 w 52"/>
                <a:gd name="T21" fmla="*/ 5 h 78"/>
                <a:gd name="T22" fmla="*/ 6 w 52"/>
                <a:gd name="T23" fmla="*/ 5 h 78"/>
                <a:gd name="T24" fmla="*/ 5 w 52"/>
                <a:gd name="T25" fmla="*/ 6 h 78"/>
                <a:gd name="T26" fmla="*/ 5 w 52"/>
                <a:gd name="T27" fmla="*/ 6 h 78"/>
                <a:gd name="T28" fmla="*/ 5 w 52"/>
                <a:gd name="T29" fmla="*/ 7 h 78"/>
                <a:gd name="T30" fmla="*/ 4 w 52"/>
                <a:gd name="T31" fmla="*/ 7 h 78"/>
                <a:gd name="T32" fmla="*/ 4 w 52"/>
                <a:gd name="T33" fmla="*/ 8 h 78"/>
                <a:gd name="T34" fmla="*/ 3 w 52"/>
                <a:gd name="T35" fmla="*/ 8 h 78"/>
                <a:gd name="T36" fmla="*/ 2 w 52"/>
                <a:gd name="T37" fmla="*/ 9 h 78"/>
                <a:gd name="T38" fmla="*/ 1 w 52"/>
                <a:gd name="T39" fmla="*/ 9 h 78"/>
                <a:gd name="T40" fmla="*/ 1 w 52"/>
                <a:gd name="T41" fmla="*/ 9 h 78"/>
                <a:gd name="T42" fmla="*/ 0 w 52"/>
                <a:gd name="T43" fmla="*/ 9 h 78"/>
                <a:gd name="T44" fmla="*/ 0 w 52"/>
                <a:gd name="T45" fmla="*/ 9 h 78"/>
                <a:gd name="T46" fmla="*/ 0 w 52"/>
                <a:gd name="T47" fmla="*/ 8 h 78"/>
                <a:gd name="T48" fmla="*/ 0 w 52"/>
                <a:gd name="T49" fmla="*/ 8 h 78"/>
                <a:gd name="T50" fmla="*/ 0 w 52"/>
                <a:gd name="T51" fmla="*/ 8 h 78"/>
                <a:gd name="T52" fmla="*/ 0 w 52"/>
                <a:gd name="T53" fmla="*/ 7 h 78"/>
                <a:gd name="T54" fmla="*/ 0 w 52"/>
                <a:gd name="T55" fmla="*/ 7 h 78"/>
                <a:gd name="T56" fmla="*/ 1 w 52"/>
                <a:gd name="T57" fmla="*/ 6 h 78"/>
                <a:gd name="T58" fmla="*/ 2 w 52"/>
                <a:gd name="T59" fmla="*/ 5 h 78"/>
                <a:gd name="T60" fmla="*/ 3 w 52"/>
                <a:gd name="T61" fmla="*/ 5 h 78"/>
                <a:gd name="T62" fmla="*/ 3 w 52"/>
                <a:gd name="T63" fmla="*/ 4 h 78"/>
                <a:gd name="T64" fmla="*/ 2 w 52"/>
                <a:gd name="T65" fmla="*/ 2 h 78"/>
                <a:gd name="T66" fmla="*/ 2 w 52"/>
                <a:gd name="T67" fmla="*/ 1 h 78"/>
                <a:gd name="T68" fmla="*/ 2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24" name="Freeform 365">
              <a:extLst>
                <a:ext uri="{FF2B5EF4-FFF2-40B4-BE49-F238E27FC236}">
                  <a16:creationId xmlns:a16="http://schemas.microsoft.com/office/drawing/2014/main" id="{1CDE6D9B-9685-455A-ACA9-4A5398E5DEA2}"/>
                </a:ext>
              </a:extLst>
            </p:cNvPr>
            <p:cNvSpPr>
              <a:spLocks/>
            </p:cNvSpPr>
            <p:nvPr/>
          </p:nvSpPr>
          <p:spPr bwMode="auto">
            <a:xfrm>
              <a:off x="912" y="2666"/>
              <a:ext cx="9" cy="10"/>
            </a:xfrm>
            <a:custGeom>
              <a:avLst/>
              <a:gdLst>
                <a:gd name="T0" fmla="*/ 1 w 33"/>
                <a:gd name="T1" fmla="*/ 1 h 30"/>
                <a:gd name="T2" fmla="*/ 0 w 33"/>
                <a:gd name="T3" fmla="*/ 3 h 30"/>
                <a:gd name="T4" fmla="*/ 1 w 33"/>
                <a:gd name="T5" fmla="*/ 3 h 30"/>
                <a:gd name="T6" fmla="*/ 1 w 33"/>
                <a:gd name="T7" fmla="*/ 3 h 30"/>
                <a:gd name="T8" fmla="*/ 2 w 33"/>
                <a:gd name="T9" fmla="*/ 3 h 30"/>
                <a:gd name="T10" fmla="*/ 2 w 33"/>
                <a:gd name="T11" fmla="*/ 3 h 30"/>
                <a:gd name="T12" fmla="*/ 2 w 33"/>
                <a:gd name="T13" fmla="*/ 0 h 30"/>
                <a:gd name="T14" fmla="*/ 1 w 33"/>
                <a:gd name="T15" fmla="*/ 0 h 30"/>
                <a:gd name="T16" fmla="*/ 1 w 33"/>
                <a:gd name="T17" fmla="*/ 1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sp>
        <p:nvSpPr>
          <p:cNvPr id="837" name="Freeform 366">
            <a:extLst>
              <a:ext uri="{FF2B5EF4-FFF2-40B4-BE49-F238E27FC236}">
                <a16:creationId xmlns:a16="http://schemas.microsoft.com/office/drawing/2014/main" id="{BD433A06-E892-4777-AEF5-E6F3A1FDAD17}"/>
              </a:ext>
            </a:extLst>
          </p:cNvPr>
          <p:cNvSpPr>
            <a:spLocks/>
          </p:cNvSpPr>
          <p:nvPr>
            <p:custDataLst>
              <p:tags r:id="rId266"/>
            </p:custDataLst>
          </p:nvPr>
        </p:nvSpPr>
        <p:spPr bwMode="auto">
          <a:xfrm>
            <a:off x="7273179" y="5152781"/>
            <a:ext cx="27155" cy="77247"/>
          </a:xfrm>
          <a:custGeom>
            <a:avLst/>
            <a:gdLst>
              <a:gd name="T0" fmla="*/ 2135627 w 47"/>
              <a:gd name="T1" fmla="*/ 0 h 28"/>
              <a:gd name="T2" fmla="*/ 4107099 w 47"/>
              <a:gd name="T3" fmla="*/ 0 h 28"/>
              <a:gd name="T4" fmla="*/ 5092835 w 47"/>
              <a:gd name="T5" fmla="*/ 8802309 h 28"/>
              <a:gd name="T6" fmla="*/ 5421549 w 47"/>
              <a:gd name="T7" fmla="*/ 17602520 h 28"/>
              <a:gd name="T8" fmla="*/ 5421549 w 47"/>
              <a:gd name="T9" fmla="*/ 26404829 h 28"/>
              <a:gd name="T10" fmla="*/ 5256989 w 47"/>
              <a:gd name="T11" fmla="*/ 35205040 h 28"/>
              <a:gd name="T12" fmla="*/ 5421549 w 47"/>
              <a:gd name="T13" fmla="*/ 44007349 h 28"/>
              <a:gd name="T14" fmla="*/ 6078571 w 47"/>
              <a:gd name="T15" fmla="*/ 52807560 h 28"/>
              <a:gd name="T16" fmla="*/ 7721330 w 47"/>
              <a:gd name="T17" fmla="*/ 52807560 h 28"/>
              <a:gd name="T18" fmla="*/ 6899748 w 47"/>
              <a:gd name="T19" fmla="*/ 83613543 h 28"/>
              <a:gd name="T20" fmla="*/ 6078571 w 47"/>
              <a:gd name="T21" fmla="*/ 110018372 h 28"/>
              <a:gd name="T22" fmla="*/ 5421549 w 47"/>
              <a:gd name="T23" fmla="*/ 118818583 h 28"/>
              <a:gd name="T24" fmla="*/ 4599967 w 47"/>
              <a:gd name="T25" fmla="*/ 123219737 h 28"/>
              <a:gd name="T26" fmla="*/ 2628495 w 47"/>
              <a:gd name="T27" fmla="*/ 118818583 h 28"/>
              <a:gd name="T28" fmla="*/ 0 w 47"/>
              <a:gd name="T29" fmla="*/ 110018372 h 28"/>
              <a:gd name="T30" fmla="*/ 164154 w 47"/>
              <a:gd name="T31" fmla="*/ 83613543 h 28"/>
              <a:gd name="T32" fmla="*/ 328714 w 47"/>
              <a:gd name="T33" fmla="*/ 66011023 h 28"/>
              <a:gd name="T34" fmla="*/ 657022 w 47"/>
              <a:gd name="T35" fmla="*/ 57208714 h 28"/>
              <a:gd name="T36" fmla="*/ 985736 w 47"/>
              <a:gd name="T37" fmla="*/ 52807560 h 28"/>
              <a:gd name="T38" fmla="*/ 1478604 w 47"/>
              <a:gd name="T39" fmla="*/ 48408503 h 28"/>
              <a:gd name="T40" fmla="*/ 1807318 w 47"/>
              <a:gd name="T41" fmla="*/ 39606194 h 28"/>
              <a:gd name="T42" fmla="*/ 2135627 w 47"/>
              <a:gd name="T43" fmla="*/ 22003674 h 28"/>
              <a:gd name="T44" fmla="*/ 2135627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38" name="Freeform 367">
            <a:extLst>
              <a:ext uri="{FF2B5EF4-FFF2-40B4-BE49-F238E27FC236}">
                <a16:creationId xmlns:a16="http://schemas.microsoft.com/office/drawing/2014/main" id="{10DC5A71-B492-4F53-A14C-5E36E5781D50}"/>
              </a:ext>
            </a:extLst>
          </p:cNvPr>
          <p:cNvSpPr>
            <a:spLocks/>
          </p:cNvSpPr>
          <p:nvPr>
            <p:custDataLst>
              <p:tags r:id="rId267"/>
            </p:custDataLst>
          </p:nvPr>
        </p:nvSpPr>
        <p:spPr bwMode="auto">
          <a:xfrm>
            <a:off x="7233489" y="5189372"/>
            <a:ext cx="33423" cy="73182"/>
          </a:xfrm>
          <a:custGeom>
            <a:avLst/>
            <a:gdLst>
              <a:gd name="T0" fmla="*/ 2624372 w 53"/>
              <a:gd name="T1" fmla="*/ 0 h 33"/>
              <a:gd name="T2" fmla="*/ 5248745 w 53"/>
              <a:gd name="T3" fmla="*/ 2999509 h 33"/>
              <a:gd name="T4" fmla="*/ 6863536 w 53"/>
              <a:gd name="T5" fmla="*/ 2999509 h 33"/>
              <a:gd name="T6" fmla="*/ 7469195 w 53"/>
              <a:gd name="T7" fmla="*/ 8996795 h 33"/>
              <a:gd name="T8" fmla="*/ 7469195 w 53"/>
              <a:gd name="T9" fmla="*/ 11996305 h 33"/>
              <a:gd name="T10" fmla="*/ 7469195 w 53"/>
              <a:gd name="T11" fmla="*/ 17995323 h 33"/>
              <a:gd name="T12" fmla="*/ 7873117 w 53"/>
              <a:gd name="T13" fmla="*/ 23994341 h 33"/>
              <a:gd name="T14" fmla="*/ 8882249 w 53"/>
              <a:gd name="T15" fmla="*/ 29991627 h 33"/>
              <a:gd name="T16" fmla="*/ 10699226 w 53"/>
              <a:gd name="T17" fmla="*/ 35990645 h 33"/>
              <a:gd name="T18" fmla="*/ 9689644 w 53"/>
              <a:gd name="T19" fmla="*/ 65982273 h 33"/>
              <a:gd name="T20" fmla="*/ 8882249 w 53"/>
              <a:gd name="T21" fmla="*/ 83977595 h 33"/>
              <a:gd name="T22" fmla="*/ 8478776 w 53"/>
              <a:gd name="T23" fmla="*/ 92974391 h 33"/>
              <a:gd name="T24" fmla="*/ 7670931 w 53"/>
              <a:gd name="T25" fmla="*/ 95973900 h 33"/>
              <a:gd name="T26" fmla="*/ 7267458 w 53"/>
              <a:gd name="T27" fmla="*/ 98973409 h 33"/>
              <a:gd name="T28" fmla="*/ 6863536 w 53"/>
              <a:gd name="T29" fmla="*/ 98973409 h 33"/>
              <a:gd name="T30" fmla="*/ 4037427 w 53"/>
              <a:gd name="T31" fmla="*/ 89976614 h 33"/>
              <a:gd name="T32" fmla="*/ 0 w 53"/>
              <a:gd name="T33" fmla="*/ 71981291 h 33"/>
              <a:gd name="T34" fmla="*/ 0 w 53"/>
              <a:gd name="T35" fmla="*/ 56985477 h 33"/>
              <a:gd name="T36" fmla="*/ 403922 w 53"/>
              <a:gd name="T37" fmla="*/ 47986950 h 33"/>
              <a:gd name="T38" fmla="*/ 807395 w 53"/>
              <a:gd name="T39" fmla="*/ 41987932 h 33"/>
              <a:gd name="T40" fmla="*/ 1413054 w 53"/>
              <a:gd name="T41" fmla="*/ 35990645 h 33"/>
              <a:gd name="T42" fmla="*/ 1816977 w 53"/>
              <a:gd name="T43" fmla="*/ 32991136 h 33"/>
              <a:gd name="T44" fmla="*/ 2220450 w 53"/>
              <a:gd name="T45" fmla="*/ 26992118 h 33"/>
              <a:gd name="T46" fmla="*/ 2422636 w 53"/>
              <a:gd name="T47" fmla="*/ 17995323 h 33"/>
              <a:gd name="T48" fmla="*/ 2624372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nvGrpSpPr>
          <p:cNvPr id="839" name="Group 368">
            <a:extLst>
              <a:ext uri="{FF2B5EF4-FFF2-40B4-BE49-F238E27FC236}">
                <a16:creationId xmlns:a16="http://schemas.microsoft.com/office/drawing/2014/main" id="{2850CB8A-7E20-4EF6-B812-0AB8325A449A}"/>
              </a:ext>
            </a:extLst>
          </p:cNvPr>
          <p:cNvGrpSpPr>
            <a:grpSpLocks/>
          </p:cNvGrpSpPr>
          <p:nvPr>
            <p:custDataLst>
              <p:tags r:id="rId268"/>
            </p:custDataLst>
          </p:nvPr>
        </p:nvGrpSpPr>
        <p:grpSpPr bwMode="auto">
          <a:xfrm>
            <a:off x="7012297" y="4527993"/>
            <a:ext cx="234201" cy="134154"/>
            <a:chOff x="3481" y="2773"/>
            <a:chExt cx="125" cy="65"/>
          </a:xfrm>
          <a:solidFill>
            <a:schemeClr val="bg1">
              <a:lumMod val="65000"/>
            </a:schemeClr>
          </a:solidFill>
        </p:grpSpPr>
        <p:sp>
          <p:nvSpPr>
            <p:cNvPr id="1011" name="Freeform 369">
              <a:extLst>
                <a:ext uri="{FF2B5EF4-FFF2-40B4-BE49-F238E27FC236}">
                  <a16:creationId xmlns:a16="http://schemas.microsoft.com/office/drawing/2014/main" id="{392F13EE-2648-4E12-8E4E-628918328CB4}"/>
                </a:ext>
              </a:extLst>
            </p:cNvPr>
            <p:cNvSpPr>
              <a:spLocks/>
            </p:cNvSpPr>
            <p:nvPr/>
          </p:nvSpPr>
          <p:spPr bwMode="auto">
            <a:xfrm>
              <a:off x="3581" y="2798"/>
              <a:ext cx="7" cy="6"/>
            </a:xfrm>
            <a:custGeom>
              <a:avLst/>
              <a:gdLst>
                <a:gd name="T0" fmla="*/ 2 w 13"/>
                <a:gd name="T1" fmla="*/ 0 h 18"/>
                <a:gd name="T2" fmla="*/ 2 w 13"/>
                <a:gd name="T3" fmla="*/ 1 h 18"/>
                <a:gd name="T4" fmla="*/ 1 w 13"/>
                <a:gd name="T5" fmla="*/ 2 h 18"/>
                <a:gd name="T6" fmla="*/ 1 w 13"/>
                <a:gd name="T7" fmla="*/ 2 h 18"/>
                <a:gd name="T8" fmla="*/ 0 w 13"/>
                <a:gd name="T9" fmla="*/ 2 h 18"/>
                <a:gd name="T10" fmla="*/ 0 w 13"/>
                <a:gd name="T11" fmla="*/ 1 h 18"/>
                <a:gd name="T12" fmla="*/ 0 w 13"/>
                <a:gd name="T13" fmla="*/ 1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18">
                  <a:moveTo>
                    <a:pt x="13" y="0"/>
                  </a:moveTo>
                  <a:lnTo>
                    <a:pt x="10" y="9"/>
                  </a:lnTo>
                  <a:lnTo>
                    <a:pt x="6" y="18"/>
                  </a:lnTo>
                  <a:lnTo>
                    <a:pt x="5" y="17"/>
                  </a:lnTo>
                  <a:lnTo>
                    <a:pt x="3" y="14"/>
                  </a:lnTo>
                  <a:lnTo>
                    <a:pt x="1" y="10"/>
                  </a:lnTo>
                  <a:lnTo>
                    <a:pt x="0" y="6"/>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12" name="Line 370">
              <a:extLst>
                <a:ext uri="{FF2B5EF4-FFF2-40B4-BE49-F238E27FC236}">
                  <a16:creationId xmlns:a16="http://schemas.microsoft.com/office/drawing/2014/main" id="{F99C476E-16AF-4133-A194-E32EE488DEB3}"/>
                </a:ext>
              </a:extLst>
            </p:cNvPr>
            <p:cNvSpPr>
              <a:spLocks noChangeShapeType="1"/>
            </p:cNvSpPr>
            <p:nvPr/>
          </p:nvSpPr>
          <p:spPr bwMode="auto">
            <a:xfrm>
              <a:off x="3581" y="2800"/>
              <a:ext cx="0" cy="1"/>
            </a:xfrm>
            <a:prstGeom prst="line">
              <a:avLst/>
            </a:prstGeom>
            <a:grpFill/>
            <a:ln w="9525">
              <a:solidFill>
                <a:schemeClr val="bg1"/>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13" name="Freeform 371">
              <a:extLst>
                <a:ext uri="{FF2B5EF4-FFF2-40B4-BE49-F238E27FC236}">
                  <a16:creationId xmlns:a16="http://schemas.microsoft.com/office/drawing/2014/main" id="{853A73F2-52C5-431E-9630-2C6EA53976BB}"/>
                </a:ext>
              </a:extLst>
            </p:cNvPr>
            <p:cNvSpPr>
              <a:spLocks/>
            </p:cNvSpPr>
            <p:nvPr/>
          </p:nvSpPr>
          <p:spPr bwMode="auto">
            <a:xfrm>
              <a:off x="3553" y="2824"/>
              <a:ext cx="6" cy="6"/>
            </a:xfrm>
            <a:custGeom>
              <a:avLst/>
              <a:gdLst>
                <a:gd name="T0" fmla="*/ 2 w 14"/>
                <a:gd name="T1" fmla="*/ 2 h 19"/>
                <a:gd name="T2" fmla="*/ 0 w 14"/>
                <a:gd name="T3" fmla="*/ 0 h 19"/>
                <a:gd name="T4" fmla="*/ 2 w 14"/>
                <a:gd name="T5" fmla="*/ 2 h 19"/>
                <a:gd name="T6" fmla="*/ 0 60000 65536"/>
                <a:gd name="T7" fmla="*/ 0 60000 65536"/>
                <a:gd name="T8" fmla="*/ 0 60000 65536"/>
              </a:gdLst>
              <a:ahLst/>
              <a:cxnLst>
                <a:cxn ang="T6">
                  <a:pos x="T0" y="T1"/>
                </a:cxn>
                <a:cxn ang="T7">
                  <a:pos x="T2" y="T3"/>
                </a:cxn>
                <a:cxn ang="T8">
                  <a:pos x="T4" y="T5"/>
                </a:cxn>
              </a:cxnLst>
              <a:rect l="0" t="0" r="r" b="b"/>
              <a:pathLst>
                <a:path w="14" h="19">
                  <a:moveTo>
                    <a:pt x="14" y="19"/>
                  </a:moveTo>
                  <a:lnTo>
                    <a:pt x="0" y="0"/>
                  </a:lnTo>
                  <a:lnTo>
                    <a:pt x="14" y="19"/>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14" name="Freeform 372">
              <a:extLst>
                <a:ext uri="{FF2B5EF4-FFF2-40B4-BE49-F238E27FC236}">
                  <a16:creationId xmlns:a16="http://schemas.microsoft.com/office/drawing/2014/main" id="{2C514CCC-C89E-4E4A-9BF4-4FB68FD9252F}"/>
                </a:ext>
              </a:extLst>
            </p:cNvPr>
            <p:cNvSpPr>
              <a:spLocks/>
            </p:cNvSpPr>
            <p:nvPr/>
          </p:nvSpPr>
          <p:spPr bwMode="auto">
            <a:xfrm>
              <a:off x="3528" y="2832"/>
              <a:ext cx="2" cy="6"/>
            </a:xfrm>
            <a:custGeom>
              <a:avLst/>
              <a:gdLst>
                <a:gd name="T0" fmla="*/ 0 w 7"/>
                <a:gd name="T1" fmla="*/ 1 h 18"/>
                <a:gd name="T2" fmla="*/ 1 w 7"/>
                <a:gd name="T3" fmla="*/ 2 h 18"/>
                <a:gd name="T4" fmla="*/ 0 w 7"/>
                <a:gd name="T5" fmla="*/ 2 h 18"/>
                <a:gd name="T6" fmla="*/ 0 w 7"/>
                <a:gd name="T7" fmla="*/ 0 h 18"/>
                <a:gd name="T8" fmla="*/ 1 w 7"/>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18">
                  <a:moveTo>
                    <a:pt x="0" y="6"/>
                  </a:moveTo>
                  <a:lnTo>
                    <a:pt x="7" y="18"/>
                  </a:lnTo>
                  <a:lnTo>
                    <a:pt x="0" y="18"/>
                  </a:lnTo>
                  <a:lnTo>
                    <a:pt x="0" y="0"/>
                  </a:lnTo>
                  <a:lnTo>
                    <a:pt x="7"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15" name="Freeform 373">
              <a:extLst>
                <a:ext uri="{FF2B5EF4-FFF2-40B4-BE49-F238E27FC236}">
                  <a16:creationId xmlns:a16="http://schemas.microsoft.com/office/drawing/2014/main" id="{073BCEF7-4D69-4C79-84B6-A56F163AB672}"/>
                </a:ext>
              </a:extLst>
            </p:cNvPr>
            <p:cNvSpPr>
              <a:spLocks/>
            </p:cNvSpPr>
            <p:nvPr/>
          </p:nvSpPr>
          <p:spPr bwMode="auto">
            <a:xfrm>
              <a:off x="3599" y="2773"/>
              <a:ext cx="7" cy="4"/>
            </a:xfrm>
            <a:custGeom>
              <a:avLst/>
              <a:gdLst>
                <a:gd name="T0" fmla="*/ 2 w 20"/>
                <a:gd name="T1" fmla="*/ 1 h 12"/>
                <a:gd name="T2" fmla="*/ 1 w 20"/>
                <a:gd name="T3" fmla="*/ 1 h 12"/>
                <a:gd name="T4" fmla="*/ 0 w 20"/>
                <a:gd name="T5" fmla="*/ 1 h 12"/>
                <a:gd name="T6" fmla="*/ 0 w 20"/>
                <a:gd name="T7" fmla="*/ 1 h 12"/>
                <a:gd name="T8" fmla="*/ 0 w 20"/>
                <a:gd name="T9" fmla="*/ 0 h 12"/>
                <a:gd name="T10" fmla="*/ 1 w 20"/>
                <a:gd name="T11" fmla="*/ 0 h 12"/>
                <a:gd name="T12" fmla="*/ 2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10" y="9"/>
                  </a:lnTo>
                  <a:lnTo>
                    <a:pt x="0" y="6"/>
                  </a:lnTo>
                  <a:lnTo>
                    <a:pt x="1" y="5"/>
                  </a:lnTo>
                  <a:lnTo>
                    <a:pt x="3" y="3"/>
                  </a:lnTo>
                  <a:lnTo>
                    <a:pt x="8" y="1"/>
                  </a:lnTo>
                  <a:lnTo>
                    <a:pt x="13"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16" name="Line 374">
              <a:extLst>
                <a:ext uri="{FF2B5EF4-FFF2-40B4-BE49-F238E27FC236}">
                  <a16:creationId xmlns:a16="http://schemas.microsoft.com/office/drawing/2014/main" id="{CF30099C-B993-4EA6-B181-7C68BBC303FA}"/>
                </a:ext>
              </a:extLst>
            </p:cNvPr>
            <p:cNvSpPr>
              <a:spLocks noChangeShapeType="1"/>
            </p:cNvSpPr>
            <p:nvPr/>
          </p:nvSpPr>
          <p:spPr bwMode="auto">
            <a:xfrm>
              <a:off x="3601" y="2773"/>
              <a:ext cx="0" cy="2"/>
            </a:xfrm>
            <a:prstGeom prst="line">
              <a:avLst/>
            </a:prstGeom>
            <a:grpFill/>
            <a:ln w="9525">
              <a:solidFill>
                <a:schemeClr val="bg1"/>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17" name="Freeform 375">
              <a:extLst>
                <a:ext uri="{FF2B5EF4-FFF2-40B4-BE49-F238E27FC236}">
                  <a16:creationId xmlns:a16="http://schemas.microsoft.com/office/drawing/2014/main" id="{8F0FE610-06B0-4C67-809E-CE7A42C02086}"/>
                </a:ext>
              </a:extLst>
            </p:cNvPr>
            <p:cNvSpPr>
              <a:spLocks/>
            </p:cNvSpPr>
            <p:nvPr/>
          </p:nvSpPr>
          <p:spPr bwMode="auto">
            <a:xfrm>
              <a:off x="3481" y="2829"/>
              <a:ext cx="7" cy="6"/>
            </a:xfrm>
            <a:custGeom>
              <a:avLst/>
              <a:gdLst>
                <a:gd name="T0" fmla="*/ 0 w 20"/>
                <a:gd name="T1" fmla="*/ 0 h 18"/>
                <a:gd name="T2" fmla="*/ 0 w 20"/>
                <a:gd name="T3" fmla="*/ 2 h 18"/>
                <a:gd name="T4" fmla="*/ 2 w 20"/>
                <a:gd name="T5" fmla="*/ 2 h 18"/>
                <a:gd name="T6" fmla="*/ 0 60000 65536"/>
                <a:gd name="T7" fmla="*/ 0 60000 65536"/>
                <a:gd name="T8" fmla="*/ 0 60000 65536"/>
              </a:gdLst>
              <a:ahLst/>
              <a:cxnLst>
                <a:cxn ang="T6">
                  <a:pos x="T0" y="T1"/>
                </a:cxn>
                <a:cxn ang="T7">
                  <a:pos x="T2" y="T3"/>
                </a:cxn>
                <a:cxn ang="T8">
                  <a:pos x="T4" y="T5"/>
                </a:cxn>
              </a:cxnLst>
              <a:rect l="0" t="0" r="r" b="b"/>
              <a:pathLst>
                <a:path w="20" h="18">
                  <a:moveTo>
                    <a:pt x="0" y="0"/>
                  </a:moveTo>
                  <a:lnTo>
                    <a:pt x="0" y="18"/>
                  </a:lnTo>
                  <a:lnTo>
                    <a:pt x="20" y="18"/>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18" name="Freeform 376">
              <a:extLst>
                <a:ext uri="{FF2B5EF4-FFF2-40B4-BE49-F238E27FC236}">
                  <a16:creationId xmlns:a16="http://schemas.microsoft.com/office/drawing/2014/main" id="{F24D5857-E681-44C9-ADA1-93009005CD14}"/>
                </a:ext>
              </a:extLst>
            </p:cNvPr>
            <p:cNvSpPr>
              <a:spLocks/>
            </p:cNvSpPr>
            <p:nvPr/>
          </p:nvSpPr>
          <p:spPr bwMode="auto">
            <a:xfrm>
              <a:off x="3485" y="2830"/>
              <a:ext cx="0" cy="4"/>
            </a:xfrm>
            <a:custGeom>
              <a:avLst/>
              <a:gdLst>
                <a:gd name="T0" fmla="*/ 1 w 7"/>
                <a:gd name="T1" fmla="*/ 1 h 12"/>
                <a:gd name="T2" fmla="*/ 1 w 7"/>
                <a:gd name="T3" fmla="*/ 1 h 12"/>
                <a:gd name="T4" fmla="*/ 0 w 7"/>
                <a:gd name="T5" fmla="*/ 0 h 12"/>
                <a:gd name="T6" fmla="*/ 0 60000 65536"/>
                <a:gd name="T7" fmla="*/ 0 60000 65536"/>
                <a:gd name="T8" fmla="*/ 0 60000 65536"/>
              </a:gdLst>
              <a:ahLst/>
              <a:cxnLst>
                <a:cxn ang="T6">
                  <a:pos x="T0" y="T1"/>
                </a:cxn>
                <a:cxn ang="T7">
                  <a:pos x="T2" y="T3"/>
                </a:cxn>
                <a:cxn ang="T8">
                  <a:pos x="T4" y="T5"/>
                </a:cxn>
              </a:cxnLst>
              <a:rect l="0" t="0" r="r" b="b"/>
              <a:pathLst>
                <a:path w="7" h="12">
                  <a:moveTo>
                    <a:pt x="7" y="12"/>
                  </a:moveTo>
                  <a:lnTo>
                    <a:pt x="4" y="6"/>
                  </a:lnTo>
                  <a:lnTo>
                    <a:pt x="0"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19" name="Freeform 377">
              <a:extLst>
                <a:ext uri="{FF2B5EF4-FFF2-40B4-BE49-F238E27FC236}">
                  <a16:creationId xmlns:a16="http://schemas.microsoft.com/office/drawing/2014/main" id="{D32B7730-1E60-48C9-901A-E1F05B50D73C}"/>
                </a:ext>
              </a:extLst>
            </p:cNvPr>
            <p:cNvSpPr>
              <a:spLocks/>
            </p:cNvSpPr>
            <p:nvPr/>
          </p:nvSpPr>
          <p:spPr bwMode="auto">
            <a:xfrm>
              <a:off x="3481" y="2829"/>
              <a:ext cx="7" cy="6"/>
            </a:xfrm>
            <a:custGeom>
              <a:avLst/>
              <a:gdLst>
                <a:gd name="T0" fmla="*/ 0 w 20"/>
                <a:gd name="T1" fmla="*/ 0 h 18"/>
                <a:gd name="T2" fmla="*/ 0 w 20"/>
                <a:gd name="T3" fmla="*/ 2 h 18"/>
                <a:gd name="T4" fmla="*/ 2 w 20"/>
                <a:gd name="T5" fmla="*/ 2 h 18"/>
                <a:gd name="T6" fmla="*/ 2 w 20"/>
                <a:gd name="T7" fmla="*/ 1 h 18"/>
                <a:gd name="T8" fmla="*/ 2 w 20"/>
                <a:gd name="T9" fmla="*/ 1 h 18"/>
                <a:gd name="T10" fmla="*/ 0 w 2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18">
                  <a:moveTo>
                    <a:pt x="0" y="0"/>
                  </a:moveTo>
                  <a:lnTo>
                    <a:pt x="0" y="18"/>
                  </a:lnTo>
                  <a:lnTo>
                    <a:pt x="20" y="18"/>
                  </a:lnTo>
                  <a:lnTo>
                    <a:pt x="17" y="12"/>
                  </a:lnTo>
                  <a:lnTo>
                    <a:pt x="13" y="6"/>
                  </a:lnTo>
                  <a:lnTo>
                    <a:pt x="0"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20" name="Freeform 378">
              <a:extLst>
                <a:ext uri="{FF2B5EF4-FFF2-40B4-BE49-F238E27FC236}">
                  <a16:creationId xmlns:a16="http://schemas.microsoft.com/office/drawing/2014/main" id="{0E13347B-6D1D-4137-937C-6103534624E8}"/>
                </a:ext>
              </a:extLst>
            </p:cNvPr>
            <p:cNvSpPr>
              <a:spLocks/>
            </p:cNvSpPr>
            <p:nvPr/>
          </p:nvSpPr>
          <p:spPr bwMode="auto">
            <a:xfrm>
              <a:off x="3528" y="2832"/>
              <a:ext cx="2" cy="6"/>
            </a:xfrm>
            <a:custGeom>
              <a:avLst/>
              <a:gdLst>
                <a:gd name="T0" fmla="*/ 0 w 7"/>
                <a:gd name="T1" fmla="*/ 1 h 18"/>
                <a:gd name="T2" fmla="*/ 1 w 7"/>
                <a:gd name="T3" fmla="*/ 2 h 18"/>
                <a:gd name="T4" fmla="*/ 0 w 7"/>
                <a:gd name="T5" fmla="*/ 2 h 18"/>
                <a:gd name="T6" fmla="*/ 0 w 7"/>
                <a:gd name="T7" fmla="*/ 0 h 18"/>
                <a:gd name="T8" fmla="*/ 1 w 7"/>
                <a:gd name="T9" fmla="*/ 0 h 18"/>
                <a:gd name="T10" fmla="*/ 0 w 7"/>
                <a:gd name="T11" fmla="*/ 1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6"/>
                  </a:moveTo>
                  <a:lnTo>
                    <a:pt x="7" y="18"/>
                  </a:lnTo>
                  <a:lnTo>
                    <a:pt x="0" y="18"/>
                  </a:lnTo>
                  <a:lnTo>
                    <a:pt x="0" y="0"/>
                  </a:lnTo>
                  <a:lnTo>
                    <a:pt x="7" y="0"/>
                  </a:lnTo>
                  <a:lnTo>
                    <a:pt x="0" y="6"/>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21" name="Freeform 379">
              <a:extLst>
                <a:ext uri="{FF2B5EF4-FFF2-40B4-BE49-F238E27FC236}">
                  <a16:creationId xmlns:a16="http://schemas.microsoft.com/office/drawing/2014/main" id="{9A96D847-AA80-430E-9F89-63FF020022A8}"/>
                </a:ext>
              </a:extLst>
            </p:cNvPr>
            <p:cNvSpPr>
              <a:spLocks/>
            </p:cNvSpPr>
            <p:nvPr/>
          </p:nvSpPr>
          <p:spPr bwMode="auto">
            <a:xfrm>
              <a:off x="3581" y="2798"/>
              <a:ext cx="7" cy="6"/>
            </a:xfrm>
            <a:custGeom>
              <a:avLst/>
              <a:gdLst>
                <a:gd name="T0" fmla="*/ 2 w 13"/>
                <a:gd name="T1" fmla="*/ 0 h 18"/>
                <a:gd name="T2" fmla="*/ 2 w 13"/>
                <a:gd name="T3" fmla="*/ 1 h 18"/>
                <a:gd name="T4" fmla="*/ 1 w 13"/>
                <a:gd name="T5" fmla="*/ 2 h 18"/>
                <a:gd name="T6" fmla="*/ 1 w 13"/>
                <a:gd name="T7" fmla="*/ 2 h 18"/>
                <a:gd name="T8" fmla="*/ 0 w 13"/>
                <a:gd name="T9" fmla="*/ 2 h 18"/>
                <a:gd name="T10" fmla="*/ 0 w 13"/>
                <a:gd name="T11" fmla="*/ 1 h 18"/>
                <a:gd name="T12" fmla="*/ 0 w 13"/>
                <a:gd name="T13" fmla="*/ 1 h 18"/>
                <a:gd name="T14" fmla="*/ 1 w 13"/>
                <a:gd name="T15" fmla="*/ 1 h 18"/>
                <a:gd name="T16" fmla="*/ 2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sp>
        <p:nvSpPr>
          <p:cNvPr id="840" name="Freeform 380">
            <a:extLst>
              <a:ext uri="{FF2B5EF4-FFF2-40B4-BE49-F238E27FC236}">
                <a16:creationId xmlns:a16="http://schemas.microsoft.com/office/drawing/2014/main" id="{F7525600-76BB-4857-841D-5FD694F33E89}"/>
              </a:ext>
            </a:extLst>
          </p:cNvPr>
          <p:cNvSpPr>
            <a:spLocks/>
          </p:cNvSpPr>
          <p:nvPr>
            <p:custDataLst>
              <p:tags r:id="rId269"/>
            </p:custDataLst>
          </p:nvPr>
        </p:nvSpPr>
        <p:spPr bwMode="auto">
          <a:xfrm>
            <a:off x="5798398" y="4518539"/>
            <a:ext cx="444940" cy="491944"/>
          </a:xfrm>
          <a:custGeom>
            <a:avLst/>
            <a:gdLst>
              <a:gd name="T0" fmla="*/ 11277731 w 736"/>
              <a:gd name="T1" fmla="*/ 189690187 h 721"/>
              <a:gd name="T2" fmla="*/ 17104104 w 736"/>
              <a:gd name="T3" fmla="*/ 184982519 h 721"/>
              <a:gd name="T4" fmla="*/ 23682672 w 736"/>
              <a:gd name="T5" fmla="*/ 184982519 h 721"/>
              <a:gd name="T6" fmla="*/ 36839808 w 736"/>
              <a:gd name="T7" fmla="*/ 191628298 h 721"/>
              <a:gd name="T8" fmla="*/ 46049977 w 736"/>
              <a:gd name="T9" fmla="*/ 195228248 h 721"/>
              <a:gd name="T10" fmla="*/ 54883831 w 736"/>
              <a:gd name="T11" fmla="*/ 194674653 h 721"/>
              <a:gd name="T12" fmla="*/ 114842706 w 736"/>
              <a:gd name="T13" fmla="*/ 198551401 h 721"/>
              <a:gd name="T14" fmla="*/ 122361194 w 736"/>
              <a:gd name="T15" fmla="*/ 195782370 h 721"/>
              <a:gd name="T16" fmla="*/ 117850188 w 736"/>
              <a:gd name="T17" fmla="*/ 181936164 h 721"/>
              <a:gd name="T18" fmla="*/ 124804637 w 736"/>
              <a:gd name="T19" fmla="*/ 119906085 h 721"/>
              <a:gd name="T20" fmla="*/ 133262610 w 736"/>
              <a:gd name="T21" fmla="*/ 118798368 h 721"/>
              <a:gd name="T22" fmla="*/ 135894211 w 736"/>
              <a:gd name="T23" fmla="*/ 115198417 h 721"/>
              <a:gd name="T24" fmla="*/ 137961773 w 736"/>
              <a:gd name="T25" fmla="*/ 99690897 h 721"/>
              <a:gd name="T26" fmla="*/ 135706054 w 736"/>
              <a:gd name="T27" fmla="*/ 83629782 h 721"/>
              <a:gd name="T28" fmla="*/ 133074887 w 736"/>
              <a:gd name="T29" fmla="*/ 84183378 h 721"/>
              <a:gd name="T30" fmla="*/ 127059923 w 736"/>
              <a:gd name="T31" fmla="*/ 83075660 h 721"/>
              <a:gd name="T32" fmla="*/ 119165988 w 736"/>
              <a:gd name="T33" fmla="*/ 82798862 h 721"/>
              <a:gd name="T34" fmla="*/ 117098426 w 736"/>
              <a:gd name="T35" fmla="*/ 80306629 h 721"/>
              <a:gd name="T36" fmla="*/ 115970349 w 736"/>
              <a:gd name="T37" fmla="*/ 70060900 h 721"/>
              <a:gd name="T38" fmla="*/ 114090944 w 736"/>
              <a:gd name="T39" fmla="*/ 60645563 h 721"/>
              <a:gd name="T40" fmla="*/ 112211539 w 736"/>
              <a:gd name="T41" fmla="*/ 51507025 h 721"/>
              <a:gd name="T42" fmla="*/ 114090944 w 736"/>
              <a:gd name="T43" fmla="*/ 46245761 h 721"/>
              <a:gd name="T44" fmla="*/ 115970349 w 736"/>
              <a:gd name="T45" fmla="*/ 40983971 h 721"/>
              <a:gd name="T46" fmla="*/ 114842706 w 736"/>
              <a:gd name="T47" fmla="*/ 27691887 h 721"/>
              <a:gd name="T48" fmla="*/ 102249608 w 736"/>
              <a:gd name="T49" fmla="*/ 19384268 h 721"/>
              <a:gd name="T50" fmla="*/ 89656510 w 736"/>
              <a:gd name="T51" fmla="*/ 18276550 h 721"/>
              <a:gd name="T52" fmla="*/ 88528434 w 736"/>
              <a:gd name="T53" fmla="*/ 22430623 h 721"/>
              <a:gd name="T54" fmla="*/ 87024910 w 736"/>
              <a:gd name="T55" fmla="*/ 27968685 h 721"/>
              <a:gd name="T56" fmla="*/ 82702061 w 736"/>
              <a:gd name="T57" fmla="*/ 33784070 h 721"/>
              <a:gd name="T58" fmla="*/ 73680050 w 736"/>
              <a:gd name="T59" fmla="*/ 35999505 h 721"/>
              <a:gd name="T60" fmla="*/ 68416848 w 736"/>
              <a:gd name="T61" fmla="*/ 31845959 h 721"/>
              <a:gd name="T62" fmla="*/ 63718119 w 736"/>
              <a:gd name="T63" fmla="*/ 22707421 h 721"/>
              <a:gd name="T64" fmla="*/ 59958875 w 736"/>
              <a:gd name="T65" fmla="*/ 10799852 h 721"/>
              <a:gd name="T66" fmla="*/ 58643075 w 736"/>
              <a:gd name="T67" fmla="*/ 0 h 721"/>
              <a:gd name="T68" fmla="*/ 5638649 w 736"/>
              <a:gd name="T69" fmla="*/ 4153546 h 721"/>
              <a:gd name="T70" fmla="*/ 8833854 w 736"/>
              <a:gd name="T71" fmla="*/ 8030821 h 721"/>
              <a:gd name="T72" fmla="*/ 14097056 w 736"/>
              <a:gd name="T73" fmla="*/ 20768783 h 721"/>
              <a:gd name="T74" fmla="*/ 19171666 w 736"/>
              <a:gd name="T75" fmla="*/ 35999505 h 721"/>
              <a:gd name="T76" fmla="*/ 19359823 w 736"/>
              <a:gd name="T77" fmla="*/ 47353479 h 721"/>
              <a:gd name="T78" fmla="*/ 17479985 w 736"/>
              <a:gd name="T79" fmla="*/ 56214693 h 721"/>
              <a:gd name="T80" fmla="*/ 18044023 w 736"/>
              <a:gd name="T81" fmla="*/ 63414594 h 721"/>
              <a:gd name="T82" fmla="*/ 22367305 w 736"/>
              <a:gd name="T83" fmla="*/ 75322163 h 721"/>
              <a:gd name="T84" fmla="*/ 24622591 w 736"/>
              <a:gd name="T85" fmla="*/ 85014297 h 721"/>
              <a:gd name="T86" fmla="*/ 23870829 w 736"/>
              <a:gd name="T87" fmla="*/ 97475988 h 721"/>
              <a:gd name="T88" fmla="*/ 19923428 w 736"/>
              <a:gd name="T89" fmla="*/ 111598466 h 721"/>
              <a:gd name="T90" fmla="*/ 14472937 w 736"/>
              <a:gd name="T91" fmla="*/ 123506036 h 721"/>
              <a:gd name="T92" fmla="*/ 7706211 w 736"/>
              <a:gd name="T93" fmla="*/ 132090452 h 721"/>
              <a:gd name="T94" fmla="*/ 4699163 w 736"/>
              <a:gd name="T95" fmla="*/ 163659613 h 721"/>
              <a:gd name="T96" fmla="*/ 2067562 w 736"/>
              <a:gd name="T97" fmla="*/ 173628545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41" name="Freeform 381">
            <a:extLst>
              <a:ext uri="{FF2B5EF4-FFF2-40B4-BE49-F238E27FC236}">
                <a16:creationId xmlns:a16="http://schemas.microsoft.com/office/drawing/2014/main" id="{9A52077A-2682-4BD0-B2E3-FFEF813FC26F}"/>
              </a:ext>
            </a:extLst>
          </p:cNvPr>
          <p:cNvSpPr>
            <a:spLocks/>
          </p:cNvSpPr>
          <p:nvPr>
            <p:custDataLst>
              <p:tags r:id="rId270"/>
            </p:custDataLst>
          </p:nvPr>
        </p:nvSpPr>
        <p:spPr bwMode="auto">
          <a:xfrm>
            <a:off x="5815110" y="4481948"/>
            <a:ext cx="20889" cy="79279"/>
          </a:xfrm>
          <a:custGeom>
            <a:avLst/>
            <a:gdLst>
              <a:gd name="T0" fmla="*/ 0 w 39"/>
              <a:gd name="T1" fmla="*/ 117390504 h 31"/>
              <a:gd name="T2" fmla="*/ 1988446 w 39"/>
              <a:gd name="T3" fmla="*/ 106029944 h 31"/>
              <a:gd name="T4" fmla="*/ 3645144 w 39"/>
              <a:gd name="T5" fmla="*/ 106029944 h 31"/>
              <a:gd name="T6" fmla="*/ 4307824 w 39"/>
              <a:gd name="T7" fmla="*/ 106029944 h 31"/>
              <a:gd name="T8" fmla="*/ 4970910 w 39"/>
              <a:gd name="T9" fmla="*/ 106029944 h 31"/>
              <a:gd name="T10" fmla="*/ 5799260 w 39"/>
              <a:gd name="T11" fmla="*/ 102243091 h 31"/>
              <a:gd name="T12" fmla="*/ 6461939 w 39"/>
              <a:gd name="T13" fmla="*/ 94669385 h 31"/>
              <a:gd name="T14" fmla="*/ 6461939 w 39"/>
              <a:gd name="T15" fmla="*/ 0 h 31"/>
              <a:gd name="T16" fmla="*/ 4307824 w 39"/>
              <a:gd name="T17" fmla="*/ 0 h 31"/>
              <a:gd name="T18" fmla="*/ 2816795 w 39"/>
              <a:gd name="T19" fmla="*/ 0 h 31"/>
              <a:gd name="T20" fmla="*/ 1325359 w 39"/>
              <a:gd name="T21" fmla="*/ 0 h 31"/>
              <a:gd name="T22" fmla="*/ 0 w 39"/>
              <a:gd name="T23" fmla="*/ 0 h 31"/>
              <a:gd name="T24" fmla="*/ 0 w 39"/>
              <a:gd name="T25" fmla="*/ 117390504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42" name="Freeform 382">
            <a:extLst>
              <a:ext uri="{FF2B5EF4-FFF2-40B4-BE49-F238E27FC236}">
                <a16:creationId xmlns:a16="http://schemas.microsoft.com/office/drawing/2014/main" id="{921F6806-A8A3-4C9C-8D67-CF5141CD5373}"/>
              </a:ext>
            </a:extLst>
          </p:cNvPr>
          <p:cNvSpPr>
            <a:spLocks/>
          </p:cNvSpPr>
          <p:nvPr>
            <p:custDataLst>
              <p:tags r:id="rId271"/>
            </p:custDataLst>
          </p:nvPr>
        </p:nvSpPr>
        <p:spPr bwMode="auto">
          <a:xfrm>
            <a:off x="5957157" y="5189372"/>
            <a:ext cx="551476" cy="516338"/>
          </a:xfrm>
          <a:custGeom>
            <a:avLst/>
            <a:gdLst>
              <a:gd name="T0" fmla="*/ 173656766 w 903"/>
              <a:gd name="T1" fmla="*/ 80201633 h 759"/>
              <a:gd name="T2" fmla="*/ 166702883 w 903"/>
              <a:gd name="T3" fmla="*/ 106935336 h 759"/>
              <a:gd name="T4" fmla="*/ 160714597 w 903"/>
              <a:gd name="T5" fmla="*/ 114101352 h 759"/>
              <a:gd name="T6" fmla="*/ 146999775 w 903"/>
              <a:gd name="T7" fmla="*/ 139732591 h 759"/>
              <a:gd name="T8" fmla="*/ 139079855 w 903"/>
              <a:gd name="T9" fmla="*/ 154615331 h 759"/>
              <a:gd name="T10" fmla="*/ 124978706 w 903"/>
              <a:gd name="T11" fmla="*/ 168947363 h 759"/>
              <a:gd name="T12" fmla="*/ 112616248 w 903"/>
              <a:gd name="T13" fmla="*/ 183554486 h 759"/>
              <a:gd name="T14" fmla="*/ 107593999 w 903"/>
              <a:gd name="T15" fmla="*/ 192373674 h 759"/>
              <a:gd name="T16" fmla="*/ 100446733 w 903"/>
              <a:gd name="T17" fmla="*/ 194302986 h 759"/>
              <a:gd name="T18" fmla="*/ 95810811 w 903"/>
              <a:gd name="T19" fmla="*/ 195681066 h 759"/>
              <a:gd name="T20" fmla="*/ 93685794 w 903"/>
              <a:gd name="T21" fmla="*/ 200366538 h 759"/>
              <a:gd name="T22" fmla="*/ 71858108 w 903"/>
              <a:gd name="T23" fmla="*/ 200366538 h 759"/>
              <a:gd name="T24" fmla="*/ 65483496 w 903"/>
              <a:gd name="T25" fmla="*/ 201744093 h 759"/>
              <a:gd name="T26" fmla="*/ 61040518 w 903"/>
              <a:gd name="T27" fmla="*/ 201744093 h 759"/>
              <a:gd name="T28" fmla="*/ 55245615 w 903"/>
              <a:gd name="T29" fmla="*/ 200366538 h 759"/>
              <a:gd name="T30" fmla="*/ 50802637 w 903"/>
              <a:gd name="T31" fmla="*/ 203122173 h 759"/>
              <a:gd name="T32" fmla="*/ 28202298 w 903"/>
              <a:gd name="T33" fmla="*/ 209185725 h 759"/>
              <a:gd name="T34" fmla="*/ 22407395 w 903"/>
              <a:gd name="T35" fmla="*/ 207532029 h 759"/>
              <a:gd name="T36" fmla="*/ 17385147 w 903"/>
              <a:gd name="T37" fmla="*/ 203673405 h 759"/>
              <a:gd name="T38" fmla="*/ 14680859 w 903"/>
              <a:gd name="T39" fmla="*/ 198161610 h 759"/>
              <a:gd name="T40" fmla="*/ 15260129 w 903"/>
              <a:gd name="T41" fmla="*/ 192098058 h 759"/>
              <a:gd name="T42" fmla="*/ 14487476 w 903"/>
              <a:gd name="T43" fmla="*/ 173081078 h 759"/>
              <a:gd name="T44" fmla="*/ 15260129 w 903"/>
              <a:gd name="T45" fmla="*/ 167569283 h 759"/>
              <a:gd name="T46" fmla="*/ 13135112 w 903"/>
              <a:gd name="T47" fmla="*/ 157647107 h 759"/>
              <a:gd name="T48" fmla="*/ 4249595 w 903"/>
              <a:gd name="T49" fmla="*/ 142213135 h 759"/>
              <a:gd name="T50" fmla="*/ 2317961 w 903"/>
              <a:gd name="T51" fmla="*/ 133393948 h 759"/>
              <a:gd name="T52" fmla="*/ 1931634 w 903"/>
              <a:gd name="T53" fmla="*/ 120991228 h 759"/>
              <a:gd name="T54" fmla="*/ 0 w 903"/>
              <a:gd name="T55" fmla="*/ 103904085 h 759"/>
              <a:gd name="T56" fmla="*/ 7533593 w 903"/>
              <a:gd name="T57" fmla="*/ 103904085 h 759"/>
              <a:gd name="T58" fmla="*/ 11010534 w 903"/>
              <a:gd name="T59" fmla="*/ 109140264 h 759"/>
              <a:gd name="T60" fmla="*/ 18157800 w 903"/>
              <a:gd name="T61" fmla="*/ 112998888 h 759"/>
              <a:gd name="T62" fmla="*/ 26077281 w 903"/>
              <a:gd name="T63" fmla="*/ 113274504 h 759"/>
              <a:gd name="T64" fmla="*/ 30906586 w 903"/>
              <a:gd name="T65" fmla="*/ 110242728 h 759"/>
              <a:gd name="T66" fmla="*/ 35156181 w 903"/>
              <a:gd name="T67" fmla="*/ 102526005 h 759"/>
              <a:gd name="T68" fmla="*/ 38053852 w 903"/>
              <a:gd name="T69" fmla="*/ 63113966 h 759"/>
              <a:gd name="T70" fmla="*/ 39405776 w 903"/>
              <a:gd name="T71" fmla="*/ 50711771 h 759"/>
              <a:gd name="T72" fmla="*/ 40565196 w 903"/>
              <a:gd name="T73" fmla="*/ 46301914 h 759"/>
              <a:gd name="T74" fmla="*/ 46166715 w 903"/>
              <a:gd name="T75" fmla="*/ 49058074 h 759"/>
              <a:gd name="T76" fmla="*/ 47325696 w 903"/>
              <a:gd name="T77" fmla="*/ 65594510 h 759"/>
              <a:gd name="T78" fmla="*/ 47712022 w 903"/>
              <a:gd name="T79" fmla="*/ 75516161 h 759"/>
              <a:gd name="T80" fmla="*/ 49450713 w 903"/>
              <a:gd name="T81" fmla="*/ 79099169 h 759"/>
              <a:gd name="T82" fmla="*/ 55438998 w 903"/>
              <a:gd name="T83" fmla="*/ 81304097 h 759"/>
              <a:gd name="T84" fmla="*/ 60267864 w 903"/>
              <a:gd name="T85" fmla="*/ 80752865 h 759"/>
              <a:gd name="T86" fmla="*/ 64324516 w 903"/>
              <a:gd name="T87" fmla="*/ 74964929 h 759"/>
              <a:gd name="T88" fmla="*/ 67608513 w 903"/>
              <a:gd name="T89" fmla="*/ 64492046 h 759"/>
              <a:gd name="T90" fmla="*/ 71085455 w 903"/>
              <a:gd name="T91" fmla="*/ 55397243 h 759"/>
              <a:gd name="T92" fmla="*/ 74755340 w 903"/>
              <a:gd name="T93" fmla="*/ 52641083 h 759"/>
              <a:gd name="T94" fmla="*/ 79970972 w 903"/>
              <a:gd name="T95" fmla="*/ 53192315 h 759"/>
              <a:gd name="T96" fmla="*/ 87118238 w 903"/>
              <a:gd name="T97" fmla="*/ 57326030 h 759"/>
              <a:gd name="T98" fmla="*/ 92333430 w 903"/>
              <a:gd name="T99" fmla="*/ 59530958 h 759"/>
              <a:gd name="T100" fmla="*/ 98901426 w 903"/>
              <a:gd name="T101" fmla="*/ 58704110 h 759"/>
              <a:gd name="T102" fmla="*/ 102571311 w 903"/>
              <a:gd name="T103" fmla="*/ 55121627 h 759"/>
              <a:gd name="T104" fmla="*/ 108945923 w 903"/>
              <a:gd name="T105" fmla="*/ 35002183 h 759"/>
              <a:gd name="T106" fmla="*/ 119763074 w 903"/>
              <a:gd name="T107" fmla="*/ 22048756 h 759"/>
              <a:gd name="T108" fmla="*/ 141397816 w 903"/>
              <a:gd name="T109" fmla="*/ 3031776 h 759"/>
              <a:gd name="T110" fmla="*/ 155692348 w 903"/>
              <a:gd name="T111" fmla="*/ 826848 h 759"/>
              <a:gd name="T112" fmla="*/ 160328270 w 903"/>
              <a:gd name="T113" fmla="*/ 1653696 h 759"/>
              <a:gd name="T114" fmla="*/ 164964192 w 903"/>
              <a:gd name="T115" fmla="*/ 9646035 h 759"/>
              <a:gd name="T116" fmla="*/ 168634517 w 903"/>
              <a:gd name="T117" fmla="*/ 19568212 h 759"/>
              <a:gd name="T118" fmla="*/ 170566151 w 903"/>
              <a:gd name="T119" fmla="*/ 29489863 h 759"/>
              <a:gd name="T120" fmla="*/ 167668480 w 903"/>
              <a:gd name="T121" fmla="*/ 57050414 h 759"/>
              <a:gd name="T122" fmla="*/ 160328270 w 903"/>
              <a:gd name="T123" fmla="*/ 56224091 h 759"/>
              <a:gd name="T124" fmla="*/ 159555617 w 903"/>
              <a:gd name="T125" fmla="*/ 77445473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43" name="Freeform 383">
            <a:extLst>
              <a:ext uri="{FF2B5EF4-FFF2-40B4-BE49-F238E27FC236}">
                <a16:creationId xmlns:a16="http://schemas.microsoft.com/office/drawing/2014/main" id="{BAA9C61A-C48C-4119-A2CD-C6123CAA6AD9}"/>
              </a:ext>
            </a:extLst>
          </p:cNvPr>
          <p:cNvSpPr>
            <a:spLocks/>
          </p:cNvSpPr>
          <p:nvPr>
            <p:custDataLst>
              <p:tags r:id="rId272"/>
            </p:custDataLst>
          </p:nvPr>
        </p:nvSpPr>
        <p:spPr bwMode="auto">
          <a:xfrm>
            <a:off x="6161872" y="3327303"/>
            <a:ext cx="572365" cy="794835"/>
          </a:xfrm>
          <a:custGeom>
            <a:avLst/>
            <a:gdLst>
              <a:gd name="T0" fmla="*/ 141060831 w 943"/>
              <a:gd name="T1" fmla="*/ 1359526 h 1172"/>
              <a:gd name="T2" fmla="*/ 145433188 w 943"/>
              <a:gd name="T3" fmla="*/ 6254758 h 1172"/>
              <a:gd name="T4" fmla="*/ 152657518 w 943"/>
              <a:gd name="T5" fmla="*/ 8158721 h 1172"/>
              <a:gd name="T6" fmla="*/ 154748645 w 943"/>
              <a:gd name="T7" fmla="*/ 14957394 h 1172"/>
              <a:gd name="T8" fmla="*/ 158740797 w 943"/>
              <a:gd name="T9" fmla="*/ 29642569 h 1172"/>
              <a:gd name="T10" fmla="*/ 159121002 w 943"/>
              <a:gd name="T11" fmla="*/ 50855243 h 1172"/>
              <a:gd name="T12" fmla="*/ 162923488 w 943"/>
              <a:gd name="T13" fmla="*/ 66084334 h 1172"/>
              <a:gd name="T14" fmla="*/ 175280584 w 943"/>
              <a:gd name="T15" fmla="*/ 79409983 h 1172"/>
              <a:gd name="T16" fmla="*/ 167105742 w 943"/>
              <a:gd name="T17" fmla="*/ 98174780 h 1172"/>
              <a:gd name="T18" fmla="*/ 161782873 w 943"/>
              <a:gd name="T19" fmla="*/ 111500430 h 1172"/>
              <a:gd name="T20" fmla="*/ 153798133 w 943"/>
              <a:gd name="T21" fmla="*/ 172690052 h 1172"/>
              <a:gd name="T22" fmla="*/ 146383700 w 943"/>
              <a:gd name="T23" fmla="*/ 184111740 h 1172"/>
              <a:gd name="T24" fmla="*/ 145052983 w 943"/>
              <a:gd name="T25" fmla="*/ 196077864 h 1172"/>
              <a:gd name="T26" fmla="*/ 141631139 w 943"/>
              <a:gd name="T27" fmla="*/ 199885267 h 1172"/>
              <a:gd name="T28" fmla="*/ 137448884 w 943"/>
              <a:gd name="T29" fmla="*/ 217018319 h 1172"/>
              <a:gd name="T30" fmla="*/ 131555271 w 943"/>
              <a:gd name="T31" fmla="*/ 238502168 h 1172"/>
              <a:gd name="T32" fmla="*/ 125852197 w 943"/>
              <a:gd name="T33" fmla="*/ 245573059 h 1172"/>
              <a:gd name="T34" fmla="*/ 126232402 w 943"/>
              <a:gd name="T35" fmla="*/ 254003477 h 1172"/>
              <a:gd name="T36" fmla="*/ 130414657 w 943"/>
              <a:gd name="T37" fmla="*/ 255363524 h 1172"/>
              <a:gd name="T38" fmla="*/ 134787449 w 943"/>
              <a:gd name="T39" fmla="*/ 258354794 h 1172"/>
              <a:gd name="T40" fmla="*/ 141060831 w 943"/>
              <a:gd name="T41" fmla="*/ 264065638 h 1172"/>
              <a:gd name="T42" fmla="*/ 143722266 w 943"/>
              <a:gd name="T43" fmla="*/ 273856103 h 1172"/>
              <a:gd name="T44" fmla="*/ 147334649 w 943"/>
              <a:gd name="T45" fmla="*/ 283646567 h 1172"/>
              <a:gd name="T46" fmla="*/ 152657518 w 943"/>
              <a:gd name="T47" fmla="*/ 286366141 h 1172"/>
              <a:gd name="T48" fmla="*/ 153798133 w 943"/>
              <a:gd name="T49" fmla="*/ 297516132 h 1172"/>
              <a:gd name="T50" fmla="*/ 136498372 w 943"/>
              <a:gd name="T51" fmla="*/ 303226976 h 1172"/>
              <a:gd name="T52" fmla="*/ 130604759 w 943"/>
              <a:gd name="T53" fmla="*/ 314649185 h 1172"/>
              <a:gd name="T54" fmla="*/ 113685203 w 943"/>
              <a:gd name="T55" fmla="*/ 318184369 h 1172"/>
              <a:gd name="T56" fmla="*/ 97906262 w 943"/>
              <a:gd name="T57" fmla="*/ 314920881 h 1172"/>
              <a:gd name="T58" fmla="*/ 88210600 w 943"/>
              <a:gd name="T59" fmla="*/ 305402634 h 1172"/>
              <a:gd name="T60" fmla="*/ 74142581 w 943"/>
              <a:gd name="T61" fmla="*/ 305946549 h 1172"/>
              <a:gd name="T62" fmla="*/ 60644869 w 943"/>
              <a:gd name="T63" fmla="*/ 304586502 h 1172"/>
              <a:gd name="T64" fmla="*/ 56462179 w 943"/>
              <a:gd name="T65" fmla="*/ 300235705 h 1172"/>
              <a:gd name="T66" fmla="*/ 55891871 w 943"/>
              <a:gd name="T67" fmla="*/ 292348681 h 1172"/>
              <a:gd name="T68" fmla="*/ 52089822 w 943"/>
              <a:gd name="T69" fmla="*/ 279839165 h 1172"/>
              <a:gd name="T70" fmla="*/ 41063442 w 943"/>
              <a:gd name="T71" fmla="*/ 264881771 h 1172"/>
              <a:gd name="T72" fmla="*/ 36691085 w 943"/>
              <a:gd name="T73" fmla="*/ 251556121 h 1172"/>
              <a:gd name="T74" fmla="*/ 28896448 w 943"/>
              <a:gd name="T75" fmla="*/ 245573059 h 1172"/>
              <a:gd name="T76" fmla="*/ 22813169 w 943"/>
              <a:gd name="T77" fmla="*/ 230071751 h 1172"/>
              <a:gd name="T78" fmla="*/ 18440376 w 943"/>
              <a:gd name="T79" fmla="*/ 214298746 h 1172"/>
              <a:gd name="T80" fmla="*/ 12357097 w 943"/>
              <a:gd name="T81" fmla="*/ 206140025 h 1172"/>
              <a:gd name="T82" fmla="*/ 6273382 w 943"/>
              <a:gd name="T83" fmla="*/ 183840043 h 1172"/>
              <a:gd name="T84" fmla="*/ 760410 w 943"/>
              <a:gd name="T85" fmla="*/ 166163076 h 1172"/>
              <a:gd name="T86" fmla="*/ 3421845 w 943"/>
              <a:gd name="T87" fmla="*/ 156916526 h 1172"/>
              <a:gd name="T88" fmla="*/ 5512972 w 943"/>
              <a:gd name="T89" fmla="*/ 141687435 h 1172"/>
              <a:gd name="T90" fmla="*/ 12166994 w 943"/>
              <a:gd name="T91" fmla="*/ 128905700 h 1172"/>
              <a:gd name="T92" fmla="*/ 21482451 w 943"/>
              <a:gd name="T93" fmla="*/ 60373490 h 1172"/>
              <a:gd name="T94" fmla="*/ 23383476 w 943"/>
              <a:gd name="T95" fmla="*/ 48679584 h 1172"/>
              <a:gd name="T96" fmla="*/ 29086550 w 943"/>
              <a:gd name="T97" fmla="*/ 46503926 h 1172"/>
              <a:gd name="T98" fmla="*/ 30417268 w 943"/>
              <a:gd name="T99" fmla="*/ 33178276 h 1172"/>
              <a:gd name="T100" fmla="*/ 30227165 w 943"/>
              <a:gd name="T101" fmla="*/ 18220882 h 1172"/>
              <a:gd name="T102" fmla="*/ 129083939 w 943"/>
              <a:gd name="T103" fmla="*/ 1876479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0000"/>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nvGrpSpPr>
          <p:cNvPr id="844" name="Group 384">
            <a:extLst>
              <a:ext uri="{FF2B5EF4-FFF2-40B4-BE49-F238E27FC236}">
                <a16:creationId xmlns:a16="http://schemas.microsoft.com/office/drawing/2014/main" id="{9F73E1A1-8DD3-4C06-8B8D-2064E421CB39}"/>
              </a:ext>
            </a:extLst>
          </p:cNvPr>
          <p:cNvGrpSpPr>
            <a:grpSpLocks/>
          </p:cNvGrpSpPr>
          <p:nvPr>
            <p:custDataLst>
              <p:tags r:id="rId273"/>
            </p:custDataLst>
          </p:nvPr>
        </p:nvGrpSpPr>
        <p:grpSpPr bwMode="auto">
          <a:xfrm>
            <a:off x="4469228" y="3588908"/>
            <a:ext cx="112681" cy="107324"/>
            <a:chOff x="2352" y="2343"/>
            <a:chExt cx="65" cy="53"/>
          </a:xfrm>
          <a:solidFill>
            <a:schemeClr val="bg1">
              <a:lumMod val="65000"/>
            </a:schemeClr>
          </a:solidFill>
        </p:grpSpPr>
        <p:sp>
          <p:nvSpPr>
            <p:cNvPr id="1005" name="Freeform 385">
              <a:extLst>
                <a:ext uri="{FF2B5EF4-FFF2-40B4-BE49-F238E27FC236}">
                  <a16:creationId xmlns:a16="http://schemas.microsoft.com/office/drawing/2014/main" id="{3E26801A-E1A8-4F05-8A8C-5451F599733A}"/>
                </a:ext>
              </a:extLst>
            </p:cNvPr>
            <p:cNvSpPr>
              <a:spLocks/>
            </p:cNvSpPr>
            <p:nvPr/>
          </p:nvSpPr>
          <p:spPr bwMode="auto">
            <a:xfrm>
              <a:off x="2352" y="2343"/>
              <a:ext cx="16" cy="11"/>
            </a:xfrm>
            <a:custGeom>
              <a:avLst/>
              <a:gdLst>
                <a:gd name="T0" fmla="*/ 4 w 51"/>
                <a:gd name="T1" fmla="*/ 0 h 33"/>
                <a:gd name="T2" fmla="*/ 0 w 51"/>
                <a:gd name="T3" fmla="*/ 1 h 33"/>
                <a:gd name="T4" fmla="*/ 0 w 51"/>
                <a:gd name="T5" fmla="*/ 3 h 33"/>
                <a:gd name="T6" fmla="*/ 1 w 51"/>
                <a:gd name="T7" fmla="*/ 4 h 33"/>
                <a:gd name="T8" fmla="*/ 3 w 51"/>
                <a:gd name="T9" fmla="*/ 3 h 33"/>
                <a:gd name="T10" fmla="*/ 5 w 51"/>
                <a:gd name="T11" fmla="*/ 2 h 33"/>
                <a:gd name="T12" fmla="*/ 5 w 51"/>
                <a:gd name="T13" fmla="*/ 1 h 33"/>
                <a:gd name="T14" fmla="*/ 4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06" name="Freeform 386">
              <a:extLst>
                <a:ext uri="{FF2B5EF4-FFF2-40B4-BE49-F238E27FC236}">
                  <a16:creationId xmlns:a16="http://schemas.microsoft.com/office/drawing/2014/main" id="{7728610A-625A-4557-A573-830827855571}"/>
                </a:ext>
              </a:extLst>
            </p:cNvPr>
            <p:cNvSpPr>
              <a:spLocks/>
            </p:cNvSpPr>
            <p:nvPr/>
          </p:nvSpPr>
          <p:spPr bwMode="auto">
            <a:xfrm>
              <a:off x="2373" y="2354"/>
              <a:ext cx="19" cy="7"/>
            </a:xfrm>
            <a:custGeom>
              <a:avLst/>
              <a:gdLst>
                <a:gd name="T0" fmla="*/ 7 w 61"/>
                <a:gd name="T1" fmla="*/ 1 h 20"/>
                <a:gd name="T2" fmla="*/ 6 w 61"/>
                <a:gd name="T3" fmla="*/ 0 h 20"/>
                <a:gd name="T4" fmla="*/ 0 w 61"/>
                <a:gd name="T5" fmla="*/ 0 h 20"/>
                <a:gd name="T6" fmla="*/ 0 w 61"/>
                <a:gd name="T7" fmla="*/ 2 h 20"/>
                <a:gd name="T8" fmla="*/ 1 w 61"/>
                <a:gd name="T9" fmla="*/ 2 h 20"/>
                <a:gd name="T10" fmla="*/ 2 w 61"/>
                <a:gd name="T11" fmla="*/ 2 h 20"/>
                <a:gd name="T12" fmla="*/ 7 w 61"/>
                <a:gd name="T13" fmla="*/ 1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1" h="20">
                  <a:moveTo>
                    <a:pt x="61" y="6"/>
                  </a:moveTo>
                  <a:lnTo>
                    <a:pt x="53" y="2"/>
                  </a:lnTo>
                  <a:lnTo>
                    <a:pt x="0" y="0"/>
                  </a:lnTo>
                  <a:lnTo>
                    <a:pt x="2" y="14"/>
                  </a:lnTo>
                  <a:lnTo>
                    <a:pt x="7" y="20"/>
                  </a:lnTo>
                  <a:lnTo>
                    <a:pt x="18" y="13"/>
                  </a:lnTo>
                  <a:lnTo>
                    <a:pt x="61" y="6"/>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07" name="Freeform 387">
              <a:extLst>
                <a:ext uri="{FF2B5EF4-FFF2-40B4-BE49-F238E27FC236}">
                  <a16:creationId xmlns:a16="http://schemas.microsoft.com/office/drawing/2014/main" id="{3724D06E-9BD4-45C4-A910-8B8788D018AA}"/>
                </a:ext>
              </a:extLst>
            </p:cNvPr>
            <p:cNvSpPr>
              <a:spLocks/>
            </p:cNvSpPr>
            <p:nvPr/>
          </p:nvSpPr>
          <p:spPr bwMode="auto">
            <a:xfrm>
              <a:off x="2409" y="2346"/>
              <a:ext cx="6" cy="12"/>
            </a:xfrm>
            <a:custGeom>
              <a:avLst/>
              <a:gdLst>
                <a:gd name="T0" fmla="*/ 0 w 15"/>
                <a:gd name="T1" fmla="*/ 0 h 36"/>
                <a:gd name="T2" fmla="*/ 0 w 15"/>
                <a:gd name="T3" fmla="*/ 2 h 36"/>
                <a:gd name="T4" fmla="*/ 0 w 15"/>
                <a:gd name="T5" fmla="*/ 4 h 36"/>
                <a:gd name="T6" fmla="*/ 1 w 15"/>
                <a:gd name="T7" fmla="*/ 4 h 36"/>
                <a:gd name="T8" fmla="*/ 2 w 15"/>
                <a:gd name="T9" fmla="*/ 2 h 36"/>
                <a:gd name="T10" fmla="*/ 0 w 15"/>
                <a:gd name="T11" fmla="*/ 0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36">
                  <a:moveTo>
                    <a:pt x="2" y="0"/>
                  </a:moveTo>
                  <a:lnTo>
                    <a:pt x="0" y="20"/>
                  </a:lnTo>
                  <a:lnTo>
                    <a:pt x="0" y="36"/>
                  </a:lnTo>
                  <a:lnTo>
                    <a:pt x="11" y="35"/>
                  </a:lnTo>
                  <a:lnTo>
                    <a:pt x="15" y="14"/>
                  </a:lnTo>
                  <a:lnTo>
                    <a:pt x="2"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08" name="Freeform 388">
              <a:extLst>
                <a:ext uri="{FF2B5EF4-FFF2-40B4-BE49-F238E27FC236}">
                  <a16:creationId xmlns:a16="http://schemas.microsoft.com/office/drawing/2014/main" id="{19AAF90A-53BE-4CDB-8417-8B17D2F72B55}"/>
                </a:ext>
              </a:extLst>
            </p:cNvPr>
            <p:cNvSpPr>
              <a:spLocks/>
            </p:cNvSpPr>
            <p:nvPr/>
          </p:nvSpPr>
          <p:spPr bwMode="auto">
            <a:xfrm>
              <a:off x="2409" y="2361"/>
              <a:ext cx="11" cy="8"/>
            </a:xfrm>
            <a:custGeom>
              <a:avLst/>
              <a:gdLst>
                <a:gd name="T0" fmla="*/ 0 w 37"/>
                <a:gd name="T1" fmla="*/ 0 h 33"/>
                <a:gd name="T2" fmla="*/ 2 w 37"/>
                <a:gd name="T3" fmla="*/ 0 h 33"/>
                <a:gd name="T4" fmla="*/ 3 w 37"/>
                <a:gd name="T5" fmla="*/ 1 h 33"/>
                <a:gd name="T6" fmla="*/ 3 w 37"/>
                <a:gd name="T7" fmla="*/ 2 h 33"/>
                <a:gd name="T8" fmla="*/ 2 w 37"/>
                <a:gd name="T9" fmla="*/ 4 h 33"/>
                <a:gd name="T10" fmla="*/ 1 w 37"/>
                <a:gd name="T11" fmla="*/ 4 h 33"/>
                <a:gd name="T12" fmla="*/ 0 w 37"/>
                <a:gd name="T13" fmla="*/ 3 h 33"/>
                <a:gd name="T14" fmla="*/ 0 w 37"/>
                <a:gd name="T15" fmla="*/ 2 h 33"/>
                <a:gd name="T16" fmla="*/ 0 w 37"/>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09" name="Freeform 389">
              <a:extLst>
                <a:ext uri="{FF2B5EF4-FFF2-40B4-BE49-F238E27FC236}">
                  <a16:creationId xmlns:a16="http://schemas.microsoft.com/office/drawing/2014/main" id="{E92990B9-F756-42EC-AD37-5E6CE5DE51E7}"/>
                </a:ext>
              </a:extLst>
            </p:cNvPr>
            <p:cNvSpPr>
              <a:spLocks/>
            </p:cNvSpPr>
            <p:nvPr/>
          </p:nvSpPr>
          <p:spPr bwMode="auto">
            <a:xfrm>
              <a:off x="2391" y="2373"/>
              <a:ext cx="18" cy="18"/>
            </a:xfrm>
            <a:custGeom>
              <a:avLst/>
              <a:gdLst>
                <a:gd name="T0" fmla="*/ 0 w 49"/>
                <a:gd name="T1" fmla="*/ 0 h 54"/>
                <a:gd name="T2" fmla="*/ 0 w 49"/>
                <a:gd name="T3" fmla="*/ 0 h 54"/>
                <a:gd name="T4" fmla="*/ 0 w 49"/>
                <a:gd name="T5" fmla="*/ 6 h 54"/>
                <a:gd name="T6" fmla="*/ 2 w 49"/>
                <a:gd name="T7" fmla="*/ 6 h 54"/>
                <a:gd name="T8" fmla="*/ 5 w 49"/>
                <a:gd name="T9" fmla="*/ 5 h 54"/>
                <a:gd name="T10" fmla="*/ 5 w 49"/>
                <a:gd name="T11" fmla="*/ 3 h 54"/>
                <a:gd name="T12" fmla="*/ 4 w 49"/>
                <a:gd name="T13" fmla="*/ 2 h 54"/>
                <a:gd name="T14" fmla="*/ 2 w 49"/>
                <a:gd name="T15" fmla="*/ 1 h 54"/>
                <a:gd name="T16" fmla="*/ 0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10" name="Freeform 390">
              <a:extLst>
                <a:ext uri="{FF2B5EF4-FFF2-40B4-BE49-F238E27FC236}">
                  <a16:creationId xmlns:a16="http://schemas.microsoft.com/office/drawing/2014/main" id="{844BE400-BF38-46C2-B03F-B428D5DBC248}"/>
                </a:ext>
              </a:extLst>
            </p:cNvPr>
            <p:cNvSpPr>
              <a:spLocks/>
            </p:cNvSpPr>
            <p:nvPr/>
          </p:nvSpPr>
          <p:spPr bwMode="auto">
            <a:xfrm>
              <a:off x="2374" y="2383"/>
              <a:ext cx="11" cy="7"/>
            </a:xfrm>
            <a:custGeom>
              <a:avLst/>
              <a:gdLst>
                <a:gd name="T0" fmla="*/ 2 w 26"/>
                <a:gd name="T1" fmla="*/ 0 h 22"/>
                <a:gd name="T2" fmla="*/ 0 w 26"/>
                <a:gd name="T3" fmla="*/ 0 h 22"/>
                <a:gd name="T4" fmla="*/ 0 w 26"/>
                <a:gd name="T5" fmla="*/ 2 h 22"/>
                <a:gd name="T6" fmla="*/ 1 w 26"/>
                <a:gd name="T7" fmla="*/ 2 h 22"/>
                <a:gd name="T8" fmla="*/ 2 w 26"/>
                <a:gd name="T9" fmla="*/ 2 h 22"/>
                <a:gd name="T10" fmla="*/ 3 w 26"/>
                <a:gd name="T11" fmla="*/ 1 h 22"/>
                <a:gd name="T12" fmla="*/ 2 w 26"/>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 h="22">
                  <a:moveTo>
                    <a:pt x="18" y="0"/>
                  </a:moveTo>
                  <a:lnTo>
                    <a:pt x="3" y="2"/>
                  </a:lnTo>
                  <a:lnTo>
                    <a:pt x="0" y="15"/>
                  </a:lnTo>
                  <a:lnTo>
                    <a:pt x="6" y="21"/>
                  </a:lnTo>
                  <a:lnTo>
                    <a:pt x="19" y="22"/>
                  </a:lnTo>
                  <a:lnTo>
                    <a:pt x="26" y="11"/>
                  </a:lnTo>
                  <a:lnTo>
                    <a:pt x="18" y="0"/>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grpSp>
        <p:nvGrpSpPr>
          <p:cNvPr id="845" name="Group 391">
            <a:extLst>
              <a:ext uri="{FF2B5EF4-FFF2-40B4-BE49-F238E27FC236}">
                <a16:creationId xmlns:a16="http://schemas.microsoft.com/office/drawing/2014/main" id="{85A88B39-6A35-4EF3-B1D9-323AA6EE1C5A}"/>
              </a:ext>
            </a:extLst>
          </p:cNvPr>
          <p:cNvGrpSpPr>
            <a:grpSpLocks/>
          </p:cNvGrpSpPr>
          <p:nvPr>
            <p:custDataLst>
              <p:tags r:id="rId274"/>
            </p:custDataLst>
          </p:nvPr>
        </p:nvGrpSpPr>
        <p:grpSpPr bwMode="auto">
          <a:xfrm>
            <a:off x="1471015" y="1066800"/>
            <a:ext cx="2630921" cy="1473638"/>
            <a:chOff x="527" y="1110"/>
            <a:chExt cx="1405" cy="709"/>
          </a:xfrm>
          <a:solidFill>
            <a:schemeClr val="bg1">
              <a:lumMod val="65000"/>
            </a:schemeClr>
          </a:solidFill>
        </p:grpSpPr>
        <p:sp>
          <p:nvSpPr>
            <p:cNvPr id="963" name="Freeform 392">
              <a:extLst>
                <a:ext uri="{FF2B5EF4-FFF2-40B4-BE49-F238E27FC236}">
                  <a16:creationId xmlns:a16="http://schemas.microsoft.com/office/drawing/2014/main" id="{4E9F04D8-18DA-4C17-8CFA-03D98AD5D828}"/>
                </a:ext>
              </a:extLst>
            </p:cNvPr>
            <p:cNvSpPr>
              <a:spLocks/>
            </p:cNvSpPr>
            <p:nvPr/>
          </p:nvSpPr>
          <p:spPr bwMode="auto">
            <a:xfrm>
              <a:off x="1401" y="1427"/>
              <a:ext cx="28" cy="22"/>
            </a:xfrm>
            <a:custGeom>
              <a:avLst/>
              <a:gdLst>
                <a:gd name="T0" fmla="*/ 0 w 98"/>
                <a:gd name="T1" fmla="*/ 4 h 54"/>
                <a:gd name="T2" fmla="*/ 1 w 98"/>
                <a:gd name="T3" fmla="*/ 4 h 54"/>
                <a:gd name="T4" fmla="*/ 1 w 98"/>
                <a:gd name="T5" fmla="*/ 5 h 54"/>
                <a:gd name="T6" fmla="*/ 2 w 98"/>
                <a:gd name="T7" fmla="*/ 5 h 54"/>
                <a:gd name="T8" fmla="*/ 3 w 98"/>
                <a:gd name="T9" fmla="*/ 5 h 54"/>
                <a:gd name="T10" fmla="*/ 4 w 98"/>
                <a:gd name="T11" fmla="*/ 5 h 54"/>
                <a:gd name="T12" fmla="*/ 4 w 98"/>
                <a:gd name="T13" fmla="*/ 5 h 54"/>
                <a:gd name="T14" fmla="*/ 5 w 98"/>
                <a:gd name="T15" fmla="*/ 5 h 54"/>
                <a:gd name="T16" fmla="*/ 6 w 98"/>
                <a:gd name="T17" fmla="*/ 5 h 54"/>
                <a:gd name="T18" fmla="*/ 7 w 98"/>
                <a:gd name="T19" fmla="*/ 4 h 54"/>
                <a:gd name="T20" fmla="*/ 8 w 98"/>
                <a:gd name="T21" fmla="*/ 3 h 54"/>
                <a:gd name="T22" fmla="*/ 9 w 98"/>
                <a:gd name="T23" fmla="*/ 3 h 54"/>
                <a:gd name="T24" fmla="*/ 9 w 98"/>
                <a:gd name="T25" fmla="*/ 2 h 54"/>
                <a:gd name="T26" fmla="*/ 9 w 98"/>
                <a:gd name="T27" fmla="*/ 1 h 54"/>
                <a:gd name="T28" fmla="*/ 10 w 98"/>
                <a:gd name="T29" fmla="*/ 0 h 54"/>
                <a:gd name="T30" fmla="*/ 9 w 98"/>
                <a:gd name="T31" fmla="*/ 0 h 54"/>
                <a:gd name="T32" fmla="*/ 8 w 98"/>
                <a:gd name="T33" fmla="*/ 0 h 54"/>
                <a:gd name="T34" fmla="*/ 8 w 98"/>
                <a:gd name="T35" fmla="*/ 0 h 54"/>
                <a:gd name="T36" fmla="*/ 7 w 98"/>
                <a:gd name="T37" fmla="*/ 0 h 54"/>
                <a:gd name="T38" fmla="*/ 6 w 98"/>
                <a:gd name="T39" fmla="*/ 0 h 54"/>
                <a:gd name="T40" fmla="*/ 5 w 98"/>
                <a:gd name="T41" fmla="*/ 0 h 54"/>
                <a:gd name="T42" fmla="*/ 4 w 98"/>
                <a:gd name="T43" fmla="*/ 1 h 54"/>
                <a:gd name="T44" fmla="*/ 4 w 98"/>
                <a:gd name="T45" fmla="*/ 1 h 54"/>
                <a:gd name="T46" fmla="*/ 2 w 98"/>
                <a:gd name="T47" fmla="*/ 2 h 54"/>
                <a:gd name="T48" fmla="*/ 1 w 98"/>
                <a:gd name="T49" fmla="*/ 3 h 54"/>
                <a:gd name="T50" fmla="*/ 1 w 98"/>
                <a:gd name="T51" fmla="*/ 3 h 54"/>
                <a:gd name="T52" fmla="*/ 0 w 98"/>
                <a:gd name="T53" fmla="*/ 3 h 54"/>
                <a:gd name="T54" fmla="*/ 0 w 98"/>
                <a:gd name="T55" fmla="*/ 4 h 54"/>
                <a:gd name="T56" fmla="*/ 0 w 98"/>
                <a:gd name="T57" fmla="*/ 4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64" name="Freeform 393">
              <a:extLst>
                <a:ext uri="{FF2B5EF4-FFF2-40B4-BE49-F238E27FC236}">
                  <a16:creationId xmlns:a16="http://schemas.microsoft.com/office/drawing/2014/main" id="{A68FECC8-3C97-4DD7-989E-BD660D18A0BF}"/>
                </a:ext>
              </a:extLst>
            </p:cNvPr>
            <p:cNvSpPr>
              <a:spLocks/>
            </p:cNvSpPr>
            <p:nvPr/>
          </p:nvSpPr>
          <p:spPr bwMode="auto">
            <a:xfrm>
              <a:off x="1387" y="1551"/>
              <a:ext cx="21" cy="8"/>
            </a:xfrm>
            <a:custGeom>
              <a:avLst/>
              <a:gdLst>
                <a:gd name="T0" fmla="*/ 0 w 67"/>
                <a:gd name="T1" fmla="*/ 2 h 28"/>
                <a:gd name="T2" fmla="*/ 1 w 67"/>
                <a:gd name="T3" fmla="*/ 2 h 28"/>
                <a:gd name="T4" fmla="*/ 2 w 67"/>
                <a:gd name="T5" fmla="*/ 2 h 28"/>
                <a:gd name="T6" fmla="*/ 3 w 67"/>
                <a:gd name="T7" fmla="*/ 2 h 28"/>
                <a:gd name="T8" fmla="*/ 4 w 67"/>
                <a:gd name="T9" fmla="*/ 2 h 28"/>
                <a:gd name="T10" fmla="*/ 5 w 67"/>
                <a:gd name="T11" fmla="*/ 1 h 28"/>
                <a:gd name="T12" fmla="*/ 6 w 67"/>
                <a:gd name="T13" fmla="*/ 1 h 28"/>
                <a:gd name="T14" fmla="*/ 6 w 67"/>
                <a:gd name="T15" fmla="*/ 1 h 28"/>
                <a:gd name="T16" fmla="*/ 7 w 67"/>
                <a:gd name="T17" fmla="*/ 0 h 28"/>
                <a:gd name="T18" fmla="*/ 6 w 67"/>
                <a:gd name="T19" fmla="*/ 0 h 28"/>
                <a:gd name="T20" fmla="*/ 4 w 67"/>
                <a:gd name="T21" fmla="*/ 0 h 28"/>
                <a:gd name="T22" fmla="*/ 3 w 67"/>
                <a:gd name="T23" fmla="*/ 0 h 28"/>
                <a:gd name="T24" fmla="*/ 3 w 67"/>
                <a:gd name="T25" fmla="*/ 0 h 28"/>
                <a:gd name="T26" fmla="*/ 2 w 67"/>
                <a:gd name="T27" fmla="*/ 1 h 28"/>
                <a:gd name="T28" fmla="*/ 1 w 67"/>
                <a:gd name="T29" fmla="*/ 1 h 28"/>
                <a:gd name="T30" fmla="*/ 1 w 67"/>
                <a:gd name="T31" fmla="*/ 1 h 28"/>
                <a:gd name="T32" fmla="*/ 0 w 67"/>
                <a:gd name="T33" fmla="*/ 1 h 28"/>
                <a:gd name="T34" fmla="*/ 0 w 67"/>
                <a:gd name="T35" fmla="*/ 2 h 28"/>
                <a:gd name="T36" fmla="*/ 0 w 67"/>
                <a:gd name="T37" fmla="*/ 2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65" name="Freeform 394">
              <a:extLst>
                <a:ext uri="{FF2B5EF4-FFF2-40B4-BE49-F238E27FC236}">
                  <a16:creationId xmlns:a16="http://schemas.microsoft.com/office/drawing/2014/main" id="{412B8291-4B92-4017-9A85-BE37B0F4094D}"/>
                </a:ext>
              </a:extLst>
            </p:cNvPr>
            <p:cNvSpPr>
              <a:spLocks/>
            </p:cNvSpPr>
            <p:nvPr/>
          </p:nvSpPr>
          <p:spPr bwMode="auto">
            <a:xfrm>
              <a:off x="1332" y="1608"/>
              <a:ext cx="11" cy="11"/>
            </a:xfrm>
            <a:custGeom>
              <a:avLst/>
              <a:gdLst>
                <a:gd name="T0" fmla="*/ 0 w 32"/>
                <a:gd name="T1" fmla="*/ 2 h 36"/>
                <a:gd name="T2" fmla="*/ 0 w 32"/>
                <a:gd name="T3" fmla="*/ 2 h 36"/>
                <a:gd name="T4" fmla="*/ 0 w 32"/>
                <a:gd name="T5" fmla="*/ 3 h 36"/>
                <a:gd name="T6" fmla="*/ 1 w 32"/>
                <a:gd name="T7" fmla="*/ 3 h 36"/>
                <a:gd name="T8" fmla="*/ 1 w 32"/>
                <a:gd name="T9" fmla="*/ 3 h 36"/>
                <a:gd name="T10" fmla="*/ 1 w 32"/>
                <a:gd name="T11" fmla="*/ 3 h 36"/>
                <a:gd name="T12" fmla="*/ 1 w 32"/>
                <a:gd name="T13" fmla="*/ 3 h 36"/>
                <a:gd name="T14" fmla="*/ 4 w 32"/>
                <a:gd name="T15" fmla="*/ 3 h 36"/>
                <a:gd name="T16" fmla="*/ 4 w 32"/>
                <a:gd name="T17" fmla="*/ 2 h 36"/>
                <a:gd name="T18" fmla="*/ 4 w 32"/>
                <a:gd name="T19" fmla="*/ 1 h 36"/>
                <a:gd name="T20" fmla="*/ 3 w 32"/>
                <a:gd name="T21" fmla="*/ 1 h 36"/>
                <a:gd name="T22" fmla="*/ 3 w 32"/>
                <a:gd name="T23" fmla="*/ 0 h 36"/>
                <a:gd name="T24" fmla="*/ 2 w 32"/>
                <a:gd name="T25" fmla="*/ 0 h 36"/>
                <a:gd name="T26" fmla="*/ 1 w 32"/>
                <a:gd name="T27" fmla="*/ 1 h 36"/>
                <a:gd name="T28" fmla="*/ 1 w 32"/>
                <a:gd name="T29" fmla="*/ 1 h 36"/>
                <a:gd name="T30" fmla="*/ 0 w 32"/>
                <a:gd name="T31" fmla="*/ 1 h 36"/>
                <a:gd name="T32" fmla="*/ 0 w 32"/>
                <a:gd name="T33" fmla="*/ 2 h 36"/>
                <a:gd name="T34" fmla="*/ 0 w 32"/>
                <a:gd name="T35" fmla="*/ 2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66" name="Freeform 395">
              <a:extLst>
                <a:ext uri="{FF2B5EF4-FFF2-40B4-BE49-F238E27FC236}">
                  <a16:creationId xmlns:a16="http://schemas.microsoft.com/office/drawing/2014/main" id="{3F967511-25B7-49B0-B73E-26B985012DA7}"/>
                </a:ext>
              </a:extLst>
            </p:cNvPr>
            <p:cNvSpPr>
              <a:spLocks/>
            </p:cNvSpPr>
            <p:nvPr/>
          </p:nvSpPr>
          <p:spPr bwMode="auto">
            <a:xfrm>
              <a:off x="1275" y="1314"/>
              <a:ext cx="48" cy="17"/>
            </a:xfrm>
            <a:custGeom>
              <a:avLst/>
              <a:gdLst>
                <a:gd name="T0" fmla="*/ 0 w 146"/>
                <a:gd name="T1" fmla="*/ 5 h 52"/>
                <a:gd name="T2" fmla="*/ 1 w 146"/>
                <a:gd name="T3" fmla="*/ 5 h 52"/>
                <a:gd name="T4" fmla="*/ 2 w 146"/>
                <a:gd name="T5" fmla="*/ 5 h 52"/>
                <a:gd name="T6" fmla="*/ 3 w 146"/>
                <a:gd name="T7" fmla="*/ 6 h 52"/>
                <a:gd name="T8" fmla="*/ 4 w 146"/>
                <a:gd name="T9" fmla="*/ 6 h 52"/>
                <a:gd name="T10" fmla="*/ 6 w 146"/>
                <a:gd name="T11" fmla="*/ 6 h 52"/>
                <a:gd name="T12" fmla="*/ 8 w 146"/>
                <a:gd name="T13" fmla="*/ 6 h 52"/>
                <a:gd name="T14" fmla="*/ 12 w 146"/>
                <a:gd name="T15" fmla="*/ 5 h 52"/>
                <a:gd name="T16" fmla="*/ 14 w 146"/>
                <a:gd name="T17" fmla="*/ 5 h 52"/>
                <a:gd name="T18" fmla="*/ 14 w 146"/>
                <a:gd name="T19" fmla="*/ 4 h 52"/>
                <a:gd name="T20" fmla="*/ 14 w 146"/>
                <a:gd name="T21" fmla="*/ 3 h 52"/>
                <a:gd name="T22" fmla="*/ 14 w 146"/>
                <a:gd name="T23" fmla="*/ 3 h 52"/>
                <a:gd name="T24" fmla="*/ 14 w 146"/>
                <a:gd name="T25" fmla="*/ 2 h 52"/>
                <a:gd name="T26" fmla="*/ 13 w 146"/>
                <a:gd name="T27" fmla="*/ 2 h 52"/>
                <a:gd name="T28" fmla="*/ 13 w 146"/>
                <a:gd name="T29" fmla="*/ 1 h 52"/>
                <a:gd name="T30" fmla="*/ 12 w 146"/>
                <a:gd name="T31" fmla="*/ 1 h 52"/>
                <a:gd name="T32" fmla="*/ 12 w 146"/>
                <a:gd name="T33" fmla="*/ 1 h 52"/>
                <a:gd name="T34" fmla="*/ 11 w 146"/>
                <a:gd name="T35" fmla="*/ 0 h 52"/>
                <a:gd name="T36" fmla="*/ 10 w 146"/>
                <a:gd name="T37" fmla="*/ 0 h 52"/>
                <a:gd name="T38" fmla="*/ 9 w 146"/>
                <a:gd name="T39" fmla="*/ 0 h 52"/>
                <a:gd name="T40" fmla="*/ 8 w 146"/>
                <a:gd name="T41" fmla="*/ 0 h 52"/>
                <a:gd name="T42" fmla="*/ 7 w 146"/>
                <a:gd name="T43" fmla="*/ 1 h 52"/>
                <a:gd name="T44" fmla="*/ 5 w 146"/>
                <a:gd name="T45" fmla="*/ 1 h 52"/>
                <a:gd name="T46" fmla="*/ 4 w 146"/>
                <a:gd name="T47" fmla="*/ 2 h 52"/>
                <a:gd name="T48" fmla="*/ 3 w 146"/>
                <a:gd name="T49" fmla="*/ 2 h 52"/>
                <a:gd name="T50" fmla="*/ 2 w 146"/>
                <a:gd name="T51" fmla="*/ 3 h 52"/>
                <a:gd name="T52" fmla="*/ 1 w 146"/>
                <a:gd name="T53" fmla="*/ 3 h 52"/>
                <a:gd name="T54" fmla="*/ 1 w 146"/>
                <a:gd name="T55" fmla="*/ 4 h 52"/>
                <a:gd name="T56" fmla="*/ 0 w 146"/>
                <a:gd name="T57" fmla="*/ 5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67" name="Freeform 396">
              <a:extLst>
                <a:ext uri="{FF2B5EF4-FFF2-40B4-BE49-F238E27FC236}">
                  <a16:creationId xmlns:a16="http://schemas.microsoft.com/office/drawing/2014/main" id="{4A5B309E-B63E-4382-860F-DD4AC4D8868C}"/>
                </a:ext>
              </a:extLst>
            </p:cNvPr>
            <p:cNvSpPr>
              <a:spLocks/>
            </p:cNvSpPr>
            <p:nvPr/>
          </p:nvSpPr>
          <p:spPr bwMode="auto">
            <a:xfrm>
              <a:off x="1261" y="1252"/>
              <a:ext cx="20" cy="10"/>
            </a:xfrm>
            <a:custGeom>
              <a:avLst/>
              <a:gdLst>
                <a:gd name="T0" fmla="*/ 7 w 60"/>
                <a:gd name="T1" fmla="*/ 0 h 31"/>
                <a:gd name="T2" fmla="*/ 5 w 60"/>
                <a:gd name="T3" fmla="*/ 0 h 31"/>
                <a:gd name="T4" fmla="*/ 4 w 60"/>
                <a:gd name="T5" fmla="*/ 0 h 31"/>
                <a:gd name="T6" fmla="*/ 3 w 60"/>
                <a:gd name="T7" fmla="*/ 0 h 31"/>
                <a:gd name="T8" fmla="*/ 3 w 60"/>
                <a:gd name="T9" fmla="*/ 0 h 31"/>
                <a:gd name="T10" fmla="*/ 2 w 60"/>
                <a:gd name="T11" fmla="*/ 0 h 31"/>
                <a:gd name="T12" fmla="*/ 1 w 60"/>
                <a:gd name="T13" fmla="*/ 0 h 31"/>
                <a:gd name="T14" fmla="*/ 1 w 60"/>
                <a:gd name="T15" fmla="*/ 0 h 31"/>
                <a:gd name="T16" fmla="*/ 0 w 60"/>
                <a:gd name="T17" fmla="*/ 1 h 31"/>
                <a:gd name="T18" fmla="*/ 0 w 60"/>
                <a:gd name="T19" fmla="*/ 1 h 31"/>
                <a:gd name="T20" fmla="*/ 0 w 60"/>
                <a:gd name="T21" fmla="*/ 1 h 31"/>
                <a:gd name="T22" fmla="*/ 0 w 60"/>
                <a:gd name="T23" fmla="*/ 2 h 31"/>
                <a:gd name="T24" fmla="*/ 0 w 60"/>
                <a:gd name="T25" fmla="*/ 2 h 31"/>
                <a:gd name="T26" fmla="*/ 1 w 60"/>
                <a:gd name="T27" fmla="*/ 2 h 31"/>
                <a:gd name="T28" fmla="*/ 1 w 60"/>
                <a:gd name="T29" fmla="*/ 3 h 31"/>
                <a:gd name="T30" fmla="*/ 1 w 60"/>
                <a:gd name="T31" fmla="*/ 3 h 31"/>
                <a:gd name="T32" fmla="*/ 2 w 60"/>
                <a:gd name="T33" fmla="*/ 3 h 31"/>
                <a:gd name="T34" fmla="*/ 2 w 60"/>
                <a:gd name="T35" fmla="*/ 3 h 31"/>
                <a:gd name="T36" fmla="*/ 3 w 60"/>
                <a:gd name="T37" fmla="*/ 3 h 31"/>
                <a:gd name="T38" fmla="*/ 4 w 60"/>
                <a:gd name="T39" fmla="*/ 3 h 31"/>
                <a:gd name="T40" fmla="*/ 4 w 60"/>
                <a:gd name="T41" fmla="*/ 3 h 31"/>
                <a:gd name="T42" fmla="*/ 5 w 60"/>
                <a:gd name="T43" fmla="*/ 3 h 31"/>
                <a:gd name="T44" fmla="*/ 5 w 60"/>
                <a:gd name="T45" fmla="*/ 2 h 31"/>
                <a:gd name="T46" fmla="*/ 6 w 60"/>
                <a:gd name="T47" fmla="*/ 1 h 31"/>
                <a:gd name="T48" fmla="*/ 7 w 60"/>
                <a:gd name="T49" fmla="*/ 1 h 31"/>
                <a:gd name="T50" fmla="*/ 7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68" name="Freeform 397">
              <a:extLst>
                <a:ext uri="{FF2B5EF4-FFF2-40B4-BE49-F238E27FC236}">
                  <a16:creationId xmlns:a16="http://schemas.microsoft.com/office/drawing/2014/main" id="{20330305-A019-4EFF-8D2C-8FFEEF8D3EE5}"/>
                </a:ext>
              </a:extLst>
            </p:cNvPr>
            <p:cNvSpPr>
              <a:spLocks/>
            </p:cNvSpPr>
            <p:nvPr/>
          </p:nvSpPr>
          <p:spPr bwMode="auto">
            <a:xfrm>
              <a:off x="1729" y="1713"/>
              <a:ext cx="27" cy="20"/>
            </a:xfrm>
            <a:custGeom>
              <a:avLst/>
              <a:gdLst>
                <a:gd name="T0" fmla="*/ 0 w 80"/>
                <a:gd name="T1" fmla="*/ 5 h 62"/>
                <a:gd name="T2" fmla="*/ 0 w 80"/>
                <a:gd name="T3" fmla="*/ 5 h 62"/>
                <a:gd name="T4" fmla="*/ 0 w 80"/>
                <a:gd name="T5" fmla="*/ 5 h 62"/>
                <a:gd name="T6" fmla="*/ 0 w 80"/>
                <a:gd name="T7" fmla="*/ 5 h 62"/>
                <a:gd name="T8" fmla="*/ 0 w 80"/>
                <a:gd name="T9" fmla="*/ 5 h 62"/>
                <a:gd name="T10" fmla="*/ 1 w 80"/>
                <a:gd name="T11" fmla="*/ 6 h 62"/>
                <a:gd name="T12" fmla="*/ 2 w 80"/>
                <a:gd name="T13" fmla="*/ 6 h 62"/>
                <a:gd name="T14" fmla="*/ 3 w 80"/>
                <a:gd name="T15" fmla="*/ 6 h 62"/>
                <a:gd name="T16" fmla="*/ 4 w 80"/>
                <a:gd name="T17" fmla="*/ 6 h 62"/>
                <a:gd name="T18" fmla="*/ 5 w 80"/>
                <a:gd name="T19" fmla="*/ 6 h 62"/>
                <a:gd name="T20" fmla="*/ 5 w 80"/>
                <a:gd name="T21" fmla="*/ 6 h 62"/>
                <a:gd name="T22" fmla="*/ 6 w 80"/>
                <a:gd name="T23" fmla="*/ 6 h 62"/>
                <a:gd name="T24" fmla="*/ 6 w 80"/>
                <a:gd name="T25" fmla="*/ 5 h 62"/>
                <a:gd name="T26" fmla="*/ 7 w 80"/>
                <a:gd name="T27" fmla="*/ 5 h 62"/>
                <a:gd name="T28" fmla="*/ 7 w 80"/>
                <a:gd name="T29" fmla="*/ 4 h 62"/>
                <a:gd name="T30" fmla="*/ 8 w 80"/>
                <a:gd name="T31" fmla="*/ 3 h 62"/>
                <a:gd name="T32" fmla="*/ 8 w 80"/>
                <a:gd name="T33" fmla="*/ 2 h 62"/>
                <a:gd name="T34" fmla="*/ 8 w 80"/>
                <a:gd name="T35" fmla="*/ 1 h 62"/>
                <a:gd name="T36" fmla="*/ 8 w 80"/>
                <a:gd name="T37" fmla="*/ 0 h 62"/>
                <a:gd name="T38" fmla="*/ 7 w 80"/>
                <a:gd name="T39" fmla="*/ 0 h 62"/>
                <a:gd name="T40" fmla="*/ 6 w 80"/>
                <a:gd name="T41" fmla="*/ 0 h 62"/>
                <a:gd name="T42" fmla="*/ 5 w 80"/>
                <a:gd name="T43" fmla="*/ 1 h 62"/>
                <a:gd name="T44" fmla="*/ 4 w 80"/>
                <a:gd name="T45" fmla="*/ 1 h 62"/>
                <a:gd name="T46" fmla="*/ 2 w 80"/>
                <a:gd name="T47" fmla="*/ 2 h 62"/>
                <a:gd name="T48" fmla="*/ 1 w 80"/>
                <a:gd name="T49" fmla="*/ 3 h 62"/>
                <a:gd name="T50" fmla="*/ 1 w 80"/>
                <a:gd name="T51" fmla="*/ 3 h 62"/>
                <a:gd name="T52" fmla="*/ 0 w 80"/>
                <a:gd name="T53" fmla="*/ 4 h 62"/>
                <a:gd name="T54" fmla="*/ 0 w 80"/>
                <a:gd name="T55" fmla="*/ 4 h 62"/>
                <a:gd name="T56" fmla="*/ 0 w 80"/>
                <a:gd name="T57" fmla="*/ 5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69" name="Freeform 398">
              <a:extLst>
                <a:ext uri="{FF2B5EF4-FFF2-40B4-BE49-F238E27FC236}">
                  <a16:creationId xmlns:a16="http://schemas.microsoft.com/office/drawing/2014/main" id="{A3597669-4A55-4141-97F1-C2EDEB4B8537}"/>
                </a:ext>
              </a:extLst>
            </p:cNvPr>
            <p:cNvSpPr>
              <a:spLocks/>
            </p:cNvSpPr>
            <p:nvPr/>
          </p:nvSpPr>
          <p:spPr bwMode="auto">
            <a:xfrm>
              <a:off x="1583" y="1674"/>
              <a:ext cx="30" cy="16"/>
            </a:xfrm>
            <a:custGeom>
              <a:avLst/>
              <a:gdLst>
                <a:gd name="T0" fmla="*/ 8 w 106"/>
                <a:gd name="T1" fmla="*/ 1 h 49"/>
                <a:gd name="T2" fmla="*/ 7 w 106"/>
                <a:gd name="T3" fmla="*/ 1 h 49"/>
                <a:gd name="T4" fmla="*/ 7 w 106"/>
                <a:gd name="T5" fmla="*/ 1 h 49"/>
                <a:gd name="T6" fmla="*/ 6 w 106"/>
                <a:gd name="T7" fmla="*/ 1 h 49"/>
                <a:gd name="T8" fmla="*/ 5 w 106"/>
                <a:gd name="T9" fmla="*/ 1 h 49"/>
                <a:gd name="T10" fmla="*/ 5 w 106"/>
                <a:gd name="T11" fmla="*/ 0 h 49"/>
                <a:gd name="T12" fmla="*/ 4 w 106"/>
                <a:gd name="T13" fmla="*/ 0 h 49"/>
                <a:gd name="T14" fmla="*/ 3 w 106"/>
                <a:gd name="T15" fmla="*/ 0 h 49"/>
                <a:gd name="T16" fmla="*/ 2 w 106"/>
                <a:gd name="T17" fmla="*/ 0 h 49"/>
                <a:gd name="T18" fmla="*/ 2 w 106"/>
                <a:gd name="T19" fmla="*/ 0 h 49"/>
                <a:gd name="T20" fmla="*/ 0 w 106"/>
                <a:gd name="T21" fmla="*/ 0 h 49"/>
                <a:gd name="T22" fmla="*/ 1 w 106"/>
                <a:gd name="T23" fmla="*/ 1 h 49"/>
                <a:gd name="T24" fmla="*/ 2 w 106"/>
                <a:gd name="T25" fmla="*/ 2 h 49"/>
                <a:gd name="T26" fmla="*/ 2 w 106"/>
                <a:gd name="T27" fmla="*/ 3 h 49"/>
                <a:gd name="T28" fmla="*/ 3 w 106"/>
                <a:gd name="T29" fmla="*/ 4 h 49"/>
                <a:gd name="T30" fmla="*/ 4 w 106"/>
                <a:gd name="T31" fmla="*/ 5 h 49"/>
                <a:gd name="T32" fmla="*/ 5 w 106"/>
                <a:gd name="T33" fmla="*/ 5 h 49"/>
                <a:gd name="T34" fmla="*/ 6 w 106"/>
                <a:gd name="T35" fmla="*/ 5 h 49"/>
                <a:gd name="T36" fmla="*/ 7 w 106"/>
                <a:gd name="T37" fmla="*/ 5 h 49"/>
                <a:gd name="T38" fmla="*/ 8 w 106"/>
                <a:gd name="T39" fmla="*/ 5 h 49"/>
                <a:gd name="T40" fmla="*/ 8 w 106"/>
                <a:gd name="T41" fmla="*/ 5 h 49"/>
                <a:gd name="T42" fmla="*/ 9 w 106"/>
                <a:gd name="T43" fmla="*/ 4 h 49"/>
                <a:gd name="T44" fmla="*/ 10 w 106"/>
                <a:gd name="T45" fmla="*/ 3 h 49"/>
                <a:gd name="T46" fmla="*/ 10 w 106"/>
                <a:gd name="T47" fmla="*/ 3 h 49"/>
                <a:gd name="T48" fmla="*/ 10 w 106"/>
                <a:gd name="T49" fmla="*/ 3 h 49"/>
                <a:gd name="T50" fmla="*/ 9 w 106"/>
                <a:gd name="T51" fmla="*/ 3 h 49"/>
                <a:gd name="T52" fmla="*/ 9 w 106"/>
                <a:gd name="T53" fmla="*/ 2 h 49"/>
                <a:gd name="T54" fmla="*/ 8 w 106"/>
                <a:gd name="T55" fmla="*/ 2 h 49"/>
                <a:gd name="T56" fmla="*/ 8 w 106"/>
                <a:gd name="T57" fmla="*/ 2 h 49"/>
                <a:gd name="T58" fmla="*/ 8 w 106"/>
                <a:gd name="T59" fmla="*/ 2 h 49"/>
                <a:gd name="T60" fmla="*/ 8 w 106"/>
                <a:gd name="T61" fmla="*/ 1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70" name="Freeform 399">
              <a:extLst>
                <a:ext uri="{FF2B5EF4-FFF2-40B4-BE49-F238E27FC236}">
                  <a16:creationId xmlns:a16="http://schemas.microsoft.com/office/drawing/2014/main" id="{2B617058-E3CB-4486-849C-ACBA8BF9E6D6}"/>
                </a:ext>
              </a:extLst>
            </p:cNvPr>
            <p:cNvSpPr>
              <a:spLocks/>
            </p:cNvSpPr>
            <p:nvPr/>
          </p:nvSpPr>
          <p:spPr bwMode="auto">
            <a:xfrm>
              <a:off x="1599" y="1713"/>
              <a:ext cx="15" cy="7"/>
            </a:xfrm>
            <a:custGeom>
              <a:avLst/>
              <a:gdLst>
                <a:gd name="T0" fmla="*/ 0 w 47"/>
                <a:gd name="T1" fmla="*/ 2 h 22"/>
                <a:gd name="T2" fmla="*/ 1 w 47"/>
                <a:gd name="T3" fmla="*/ 2 h 22"/>
                <a:gd name="T4" fmla="*/ 1 w 47"/>
                <a:gd name="T5" fmla="*/ 2 h 22"/>
                <a:gd name="T6" fmla="*/ 2 w 47"/>
                <a:gd name="T7" fmla="*/ 2 h 22"/>
                <a:gd name="T8" fmla="*/ 3 w 47"/>
                <a:gd name="T9" fmla="*/ 2 h 22"/>
                <a:gd name="T10" fmla="*/ 4 w 47"/>
                <a:gd name="T11" fmla="*/ 2 h 22"/>
                <a:gd name="T12" fmla="*/ 4 w 47"/>
                <a:gd name="T13" fmla="*/ 2 h 22"/>
                <a:gd name="T14" fmla="*/ 4 w 47"/>
                <a:gd name="T15" fmla="*/ 1 h 22"/>
                <a:gd name="T16" fmla="*/ 4 w 47"/>
                <a:gd name="T17" fmla="*/ 1 h 22"/>
                <a:gd name="T18" fmla="*/ 4 w 47"/>
                <a:gd name="T19" fmla="*/ 1 h 22"/>
                <a:gd name="T20" fmla="*/ 5 w 47"/>
                <a:gd name="T21" fmla="*/ 0 h 22"/>
                <a:gd name="T22" fmla="*/ 0 w 47"/>
                <a:gd name="T23" fmla="*/ 2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71" name="Freeform 400">
              <a:extLst>
                <a:ext uri="{FF2B5EF4-FFF2-40B4-BE49-F238E27FC236}">
                  <a16:creationId xmlns:a16="http://schemas.microsoft.com/office/drawing/2014/main" id="{121366A6-28F0-479F-B526-772051EB1B39}"/>
                </a:ext>
              </a:extLst>
            </p:cNvPr>
            <p:cNvSpPr>
              <a:spLocks/>
            </p:cNvSpPr>
            <p:nvPr/>
          </p:nvSpPr>
          <p:spPr bwMode="auto">
            <a:xfrm>
              <a:off x="1608" y="1742"/>
              <a:ext cx="17" cy="16"/>
            </a:xfrm>
            <a:custGeom>
              <a:avLst/>
              <a:gdLst>
                <a:gd name="T0" fmla="*/ 5 w 53"/>
                <a:gd name="T1" fmla="*/ 0 h 32"/>
                <a:gd name="T2" fmla="*/ 4 w 53"/>
                <a:gd name="T3" fmla="*/ 1 h 32"/>
                <a:gd name="T4" fmla="*/ 2 w 53"/>
                <a:gd name="T5" fmla="*/ 2 h 32"/>
                <a:gd name="T6" fmla="*/ 1 w 53"/>
                <a:gd name="T7" fmla="*/ 3 h 32"/>
                <a:gd name="T8" fmla="*/ 0 w 53"/>
                <a:gd name="T9" fmla="*/ 4 h 32"/>
                <a:gd name="T10" fmla="*/ 1 w 53"/>
                <a:gd name="T11" fmla="*/ 4 h 32"/>
                <a:gd name="T12" fmla="*/ 3 w 53"/>
                <a:gd name="T13" fmla="*/ 4 h 32"/>
                <a:gd name="T14" fmla="*/ 4 w 53"/>
                <a:gd name="T15" fmla="*/ 4 h 32"/>
                <a:gd name="T16" fmla="*/ 5 w 53"/>
                <a:gd name="T17" fmla="*/ 4 h 32"/>
                <a:gd name="T18" fmla="*/ 5 w 53"/>
                <a:gd name="T19" fmla="*/ 3 h 32"/>
                <a:gd name="T20" fmla="*/ 5 w 53"/>
                <a:gd name="T21" fmla="*/ 2 h 32"/>
                <a:gd name="T22" fmla="*/ 5 w 53"/>
                <a:gd name="T23" fmla="*/ 1 h 32"/>
                <a:gd name="T24" fmla="*/ 5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72" name="Freeform 401">
              <a:extLst>
                <a:ext uri="{FF2B5EF4-FFF2-40B4-BE49-F238E27FC236}">
                  <a16:creationId xmlns:a16="http://schemas.microsoft.com/office/drawing/2014/main" id="{39977E80-0DDA-493C-BB65-18671DC50BE5}"/>
                </a:ext>
              </a:extLst>
            </p:cNvPr>
            <p:cNvSpPr>
              <a:spLocks/>
            </p:cNvSpPr>
            <p:nvPr/>
          </p:nvSpPr>
          <p:spPr bwMode="auto">
            <a:xfrm>
              <a:off x="1449" y="1438"/>
              <a:ext cx="15" cy="17"/>
            </a:xfrm>
            <a:custGeom>
              <a:avLst/>
              <a:gdLst>
                <a:gd name="T0" fmla="*/ 2 w 46"/>
                <a:gd name="T1" fmla="*/ 0 h 34"/>
                <a:gd name="T2" fmla="*/ 0 w 46"/>
                <a:gd name="T3" fmla="*/ 2 h 34"/>
                <a:gd name="T4" fmla="*/ 0 w 46"/>
                <a:gd name="T5" fmla="*/ 4 h 34"/>
                <a:gd name="T6" fmla="*/ 2 w 46"/>
                <a:gd name="T7" fmla="*/ 4 h 34"/>
                <a:gd name="T8" fmla="*/ 3 w 46"/>
                <a:gd name="T9" fmla="*/ 4 h 34"/>
                <a:gd name="T10" fmla="*/ 3 w 46"/>
                <a:gd name="T11" fmla="*/ 4 h 34"/>
                <a:gd name="T12" fmla="*/ 4 w 46"/>
                <a:gd name="T13" fmla="*/ 3 h 34"/>
                <a:gd name="T14" fmla="*/ 4 w 46"/>
                <a:gd name="T15" fmla="*/ 2 h 34"/>
                <a:gd name="T16" fmla="*/ 4 w 46"/>
                <a:gd name="T17" fmla="*/ 2 h 34"/>
                <a:gd name="T18" fmla="*/ 4 w 46"/>
                <a:gd name="T19" fmla="*/ 2 h 34"/>
                <a:gd name="T20" fmla="*/ 4 w 46"/>
                <a:gd name="T21" fmla="*/ 1 h 34"/>
                <a:gd name="T22" fmla="*/ 4 w 46"/>
                <a:gd name="T23" fmla="*/ 0 h 34"/>
                <a:gd name="T24" fmla="*/ 4 w 46"/>
                <a:gd name="T25" fmla="*/ 0 h 34"/>
                <a:gd name="T26" fmla="*/ 4 w 46"/>
                <a:gd name="T27" fmla="*/ 0 h 34"/>
                <a:gd name="T28" fmla="*/ 4 w 46"/>
                <a:gd name="T29" fmla="*/ 0 h 34"/>
                <a:gd name="T30" fmla="*/ 4 w 46"/>
                <a:gd name="T31" fmla="*/ 0 h 34"/>
                <a:gd name="T32" fmla="*/ 3 w 46"/>
                <a:gd name="T33" fmla="*/ 0 h 34"/>
                <a:gd name="T34" fmla="*/ 2 w 46"/>
                <a:gd name="T35" fmla="*/ 0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73" name="Freeform 402">
              <a:extLst>
                <a:ext uri="{FF2B5EF4-FFF2-40B4-BE49-F238E27FC236}">
                  <a16:creationId xmlns:a16="http://schemas.microsoft.com/office/drawing/2014/main" id="{E7F24080-EEFD-48D0-9245-349919D6C3E7}"/>
                </a:ext>
              </a:extLst>
            </p:cNvPr>
            <p:cNvSpPr>
              <a:spLocks/>
            </p:cNvSpPr>
            <p:nvPr/>
          </p:nvSpPr>
          <p:spPr bwMode="auto">
            <a:xfrm>
              <a:off x="1304" y="1224"/>
              <a:ext cx="17" cy="8"/>
            </a:xfrm>
            <a:custGeom>
              <a:avLst/>
              <a:gdLst>
                <a:gd name="T0" fmla="*/ 0 w 48"/>
                <a:gd name="T1" fmla="*/ 3 h 25"/>
                <a:gd name="T2" fmla="*/ 2 w 48"/>
                <a:gd name="T3" fmla="*/ 3 h 25"/>
                <a:gd name="T4" fmla="*/ 3 w 48"/>
                <a:gd name="T5" fmla="*/ 3 h 25"/>
                <a:gd name="T6" fmla="*/ 3 w 48"/>
                <a:gd name="T7" fmla="*/ 3 h 25"/>
                <a:gd name="T8" fmla="*/ 4 w 48"/>
                <a:gd name="T9" fmla="*/ 2 h 25"/>
                <a:gd name="T10" fmla="*/ 4 w 48"/>
                <a:gd name="T11" fmla="*/ 2 h 25"/>
                <a:gd name="T12" fmla="*/ 4 w 48"/>
                <a:gd name="T13" fmla="*/ 2 h 25"/>
                <a:gd name="T14" fmla="*/ 5 w 48"/>
                <a:gd name="T15" fmla="*/ 1 h 25"/>
                <a:gd name="T16" fmla="*/ 5 w 48"/>
                <a:gd name="T17" fmla="*/ 0 h 25"/>
                <a:gd name="T18" fmla="*/ 4 w 48"/>
                <a:gd name="T19" fmla="*/ 0 h 25"/>
                <a:gd name="T20" fmla="*/ 4 w 48"/>
                <a:gd name="T21" fmla="*/ 0 h 25"/>
                <a:gd name="T22" fmla="*/ 3 w 48"/>
                <a:gd name="T23" fmla="*/ 1 h 25"/>
                <a:gd name="T24" fmla="*/ 2 w 48"/>
                <a:gd name="T25" fmla="*/ 1 h 25"/>
                <a:gd name="T26" fmla="*/ 1 w 48"/>
                <a:gd name="T27" fmla="*/ 2 h 25"/>
                <a:gd name="T28" fmla="*/ 0 w 48"/>
                <a:gd name="T29" fmla="*/ 3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74" name="Freeform 403">
              <a:extLst>
                <a:ext uri="{FF2B5EF4-FFF2-40B4-BE49-F238E27FC236}">
                  <a16:creationId xmlns:a16="http://schemas.microsoft.com/office/drawing/2014/main" id="{613F5E54-239C-4E6C-BB5B-0C8DA371FC40}"/>
                </a:ext>
              </a:extLst>
            </p:cNvPr>
            <p:cNvSpPr>
              <a:spLocks/>
            </p:cNvSpPr>
            <p:nvPr/>
          </p:nvSpPr>
          <p:spPr bwMode="auto">
            <a:xfrm>
              <a:off x="1343" y="1188"/>
              <a:ext cx="8" cy="11"/>
            </a:xfrm>
            <a:custGeom>
              <a:avLst/>
              <a:gdLst>
                <a:gd name="T0" fmla="*/ 0 w 30"/>
                <a:gd name="T1" fmla="*/ 0 h 37"/>
                <a:gd name="T2" fmla="*/ 0 w 30"/>
                <a:gd name="T3" fmla="*/ 3 h 37"/>
                <a:gd name="T4" fmla="*/ 1 w 30"/>
                <a:gd name="T5" fmla="*/ 3 h 37"/>
                <a:gd name="T6" fmla="*/ 1 w 30"/>
                <a:gd name="T7" fmla="*/ 3 h 37"/>
                <a:gd name="T8" fmla="*/ 2 w 30"/>
                <a:gd name="T9" fmla="*/ 3 h 37"/>
                <a:gd name="T10" fmla="*/ 2 w 30"/>
                <a:gd name="T11" fmla="*/ 3 h 37"/>
                <a:gd name="T12" fmla="*/ 2 w 30"/>
                <a:gd name="T13" fmla="*/ 3 h 37"/>
                <a:gd name="T14" fmla="*/ 2 w 30"/>
                <a:gd name="T15" fmla="*/ 2 h 37"/>
                <a:gd name="T16" fmla="*/ 2 w 30"/>
                <a:gd name="T17" fmla="*/ 2 h 37"/>
                <a:gd name="T18" fmla="*/ 2 w 30"/>
                <a:gd name="T19" fmla="*/ 1 h 37"/>
                <a:gd name="T20" fmla="*/ 2 w 30"/>
                <a:gd name="T21" fmla="*/ 1 h 37"/>
                <a:gd name="T22" fmla="*/ 2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75" name="Freeform 404">
              <a:extLst>
                <a:ext uri="{FF2B5EF4-FFF2-40B4-BE49-F238E27FC236}">
                  <a16:creationId xmlns:a16="http://schemas.microsoft.com/office/drawing/2014/main" id="{591E99EB-FD7D-44CC-8293-9DC30D8B9B7B}"/>
                </a:ext>
              </a:extLst>
            </p:cNvPr>
            <p:cNvSpPr>
              <a:spLocks/>
            </p:cNvSpPr>
            <p:nvPr/>
          </p:nvSpPr>
          <p:spPr bwMode="auto">
            <a:xfrm>
              <a:off x="1333" y="1208"/>
              <a:ext cx="37" cy="21"/>
            </a:xfrm>
            <a:custGeom>
              <a:avLst/>
              <a:gdLst>
                <a:gd name="T0" fmla="*/ 4 w 113"/>
                <a:gd name="T1" fmla="*/ 0 h 46"/>
                <a:gd name="T2" fmla="*/ 2 w 113"/>
                <a:gd name="T3" fmla="*/ 0 h 46"/>
                <a:gd name="T4" fmla="*/ 1 w 113"/>
                <a:gd name="T5" fmla="*/ 1 h 46"/>
                <a:gd name="T6" fmla="*/ 1 w 113"/>
                <a:gd name="T7" fmla="*/ 1 h 46"/>
                <a:gd name="T8" fmla="*/ 0 w 113"/>
                <a:gd name="T9" fmla="*/ 1 h 46"/>
                <a:gd name="T10" fmla="*/ 0 w 113"/>
                <a:gd name="T11" fmla="*/ 2 h 46"/>
                <a:gd name="T12" fmla="*/ 0 w 113"/>
                <a:gd name="T13" fmla="*/ 2 h 46"/>
                <a:gd name="T14" fmla="*/ 1 w 113"/>
                <a:gd name="T15" fmla="*/ 3 h 46"/>
                <a:gd name="T16" fmla="*/ 1 w 113"/>
                <a:gd name="T17" fmla="*/ 4 h 46"/>
                <a:gd name="T18" fmla="*/ 2 w 113"/>
                <a:gd name="T19" fmla="*/ 5 h 46"/>
                <a:gd name="T20" fmla="*/ 2 w 113"/>
                <a:gd name="T21" fmla="*/ 5 h 46"/>
                <a:gd name="T22" fmla="*/ 3 w 113"/>
                <a:gd name="T23" fmla="*/ 5 h 46"/>
                <a:gd name="T24" fmla="*/ 3 w 113"/>
                <a:gd name="T25" fmla="*/ 6 h 46"/>
                <a:gd name="T26" fmla="*/ 4 w 113"/>
                <a:gd name="T27" fmla="*/ 6 h 46"/>
                <a:gd name="T28" fmla="*/ 4 w 113"/>
                <a:gd name="T29" fmla="*/ 6 h 46"/>
                <a:gd name="T30" fmla="*/ 6 w 113"/>
                <a:gd name="T31" fmla="*/ 6 h 46"/>
                <a:gd name="T32" fmla="*/ 7 w 113"/>
                <a:gd name="T33" fmla="*/ 5 h 46"/>
                <a:gd name="T34" fmla="*/ 8 w 113"/>
                <a:gd name="T35" fmla="*/ 5 h 46"/>
                <a:gd name="T36" fmla="*/ 8 w 113"/>
                <a:gd name="T37" fmla="*/ 5 h 46"/>
                <a:gd name="T38" fmla="*/ 9 w 113"/>
                <a:gd name="T39" fmla="*/ 5 h 46"/>
                <a:gd name="T40" fmla="*/ 9 w 113"/>
                <a:gd name="T41" fmla="*/ 4 h 46"/>
                <a:gd name="T42" fmla="*/ 10 w 113"/>
                <a:gd name="T43" fmla="*/ 3 h 46"/>
                <a:gd name="T44" fmla="*/ 11 w 113"/>
                <a:gd name="T45" fmla="*/ 2 h 46"/>
                <a:gd name="T46" fmla="*/ 11 w 113"/>
                <a:gd name="T47" fmla="*/ 1 h 46"/>
                <a:gd name="T48" fmla="*/ 11 w 113"/>
                <a:gd name="T49" fmla="*/ 0 h 46"/>
                <a:gd name="T50" fmla="*/ 10 w 113"/>
                <a:gd name="T51" fmla="*/ 0 h 46"/>
                <a:gd name="T52" fmla="*/ 9 w 113"/>
                <a:gd name="T53" fmla="*/ 0 h 46"/>
                <a:gd name="T54" fmla="*/ 8 w 113"/>
                <a:gd name="T55" fmla="*/ 0 h 46"/>
                <a:gd name="T56" fmla="*/ 7 w 113"/>
                <a:gd name="T57" fmla="*/ 0 h 46"/>
                <a:gd name="T58" fmla="*/ 5 w 113"/>
                <a:gd name="T59" fmla="*/ 0 h 46"/>
                <a:gd name="T60" fmla="*/ 4 w 113"/>
                <a:gd name="T61" fmla="*/ 0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76" name="Freeform 405">
              <a:extLst>
                <a:ext uri="{FF2B5EF4-FFF2-40B4-BE49-F238E27FC236}">
                  <a16:creationId xmlns:a16="http://schemas.microsoft.com/office/drawing/2014/main" id="{8C2DB977-3B3F-4552-B1FC-48C375FDB1D2}"/>
                </a:ext>
              </a:extLst>
            </p:cNvPr>
            <p:cNvSpPr>
              <a:spLocks/>
            </p:cNvSpPr>
            <p:nvPr/>
          </p:nvSpPr>
          <p:spPr bwMode="auto">
            <a:xfrm>
              <a:off x="1362" y="1201"/>
              <a:ext cx="48" cy="28"/>
            </a:xfrm>
            <a:custGeom>
              <a:avLst/>
              <a:gdLst>
                <a:gd name="T0" fmla="*/ 0 w 153"/>
                <a:gd name="T1" fmla="*/ 9 h 82"/>
                <a:gd name="T2" fmla="*/ 0 w 153"/>
                <a:gd name="T3" fmla="*/ 10 h 82"/>
                <a:gd name="T4" fmla="*/ 1 w 153"/>
                <a:gd name="T5" fmla="*/ 10 h 82"/>
                <a:gd name="T6" fmla="*/ 1 w 153"/>
                <a:gd name="T7" fmla="*/ 10 h 82"/>
                <a:gd name="T8" fmla="*/ 1 w 153"/>
                <a:gd name="T9" fmla="*/ 10 h 82"/>
                <a:gd name="T10" fmla="*/ 2 w 153"/>
                <a:gd name="T11" fmla="*/ 9 h 82"/>
                <a:gd name="T12" fmla="*/ 4 w 153"/>
                <a:gd name="T13" fmla="*/ 9 h 82"/>
                <a:gd name="T14" fmla="*/ 4 w 153"/>
                <a:gd name="T15" fmla="*/ 9 h 82"/>
                <a:gd name="T16" fmla="*/ 5 w 153"/>
                <a:gd name="T17" fmla="*/ 9 h 82"/>
                <a:gd name="T18" fmla="*/ 6 w 153"/>
                <a:gd name="T19" fmla="*/ 9 h 82"/>
                <a:gd name="T20" fmla="*/ 7 w 153"/>
                <a:gd name="T21" fmla="*/ 9 h 82"/>
                <a:gd name="T22" fmla="*/ 9 w 153"/>
                <a:gd name="T23" fmla="*/ 8 h 82"/>
                <a:gd name="T24" fmla="*/ 11 w 153"/>
                <a:gd name="T25" fmla="*/ 7 h 82"/>
                <a:gd name="T26" fmla="*/ 12 w 153"/>
                <a:gd name="T27" fmla="*/ 6 h 82"/>
                <a:gd name="T28" fmla="*/ 12 w 153"/>
                <a:gd name="T29" fmla="*/ 6 h 82"/>
                <a:gd name="T30" fmla="*/ 13 w 153"/>
                <a:gd name="T31" fmla="*/ 5 h 82"/>
                <a:gd name="T32" fmla="*/ 14 w 153"/>
                <a:gd name="T33" fmla="*/ 4 h 82"/>
                <a:gd name="T34" fmla="*/ 14 w 153"/>
                <a:gd name="T35" fmla="*/ 4 h 82"/>
                <a:gd name="T36" fmla="*/ 15 w 153"/>
                <a:gd name="T37" fmla="*/ 3 h 82"/>
                <a:gd name="T38" fmla="*/ 15 w 153"/>
                <a:gd name="T39" fmla="*/ 2 h 82"/>
                <a:gd name="T40" fmla="*/ 16 w 153"/>
                <a:gd name="T41" fmla="*/ 1 h 82"/>
                <a:gd name="T42" fmla="*/ 14 w 153"/>
                <a:gd name="T43" fmla="*/ 1 h 82"/>
                <a:gd name="T44" fmla="*/ 12 w 153"/>
                <a:gd name="T45" fmla="*/ 0 h 82"/>
                <a:gd name="T46" fmla="*/ 10 w 153"/>
                <a:gd name="T47" fmla="*/ 0 h 82"/>
                <a:gd name="T48" fmla="*/ 8 w 153"/>
                <a:gd name="T49" fmla="*/ 0 h 82"/>
                <a:gd name="T50" fmla="*/ 7 w 153"/>
                <a:gd name="T51" fmla="*/ 0 h 82"/>
                <a:gd name="T52" fmla="*/ 6 w 153"/>
                <a:gd name="T53" fmla="*/ 0 h 82"/>
                <a:gd name="T54" fmla="*/ 5 w 153"/>
                <a:gd name="T55" fmla="*/ 0 h 82"/>
                <a:gd name="T56" fmla="*/ 4 w 153"/>
                <a:gd name="T57" fmla="*/ 0 h 82"/>
                <a:gd name="T58" fmla="*/ 4 w 153"/>
                <a:gd name="T59" fmla="*/ 1 h 82"/>
                <a:gd name="T60" fmla="*/ 4 w 153"/>
                <a:gd name="T61" fmla="*/ 1 h 82"/>
                <a:gd name="T62" fmla="*/ 3 w 153"/>
                <a:gd name="T63" fmla="*/ 2 h 82"/>
                <a:gd name="T64" fmla="*/ 3 w 153"/>
                <a:gd name="T65" fmla="*/ 2 h 82"/>
                <a:gd name="T66" fmla="*/ 3 w 153"/>
                <a:gd name="T67" fmla="*/ 3 h 82"/>
                <a:gd name="T68" fmla="*/ 4 w 153"/>
                <a:gd name="T69" fmla="*/ 3 h 82"/>
                <a:gd name="T70" fmla="*/ 4 w 153"/>
                <a:gd name="T71" fmla="*/ 4 h 82"/>
                <a:gd name="T72" fmla="*/ 4 w 153"/>
                <a:gd name="T73" fmla="*/ 4 h 82"/>
                <a:gd name="T74" fmla="*/ 4 w 153"/>
                <a:gd name="T75" fmla="*/ 4 h 82"/>
                <a:gd name="T76" fmla="*/ 5 w 153"/>
                <a:gd name="T77" fmla="*/ 4 h 82"/>
                <a:gd name="T78" fmla="*/ 4 w 153"/>
                <a:gd name="T79" fmla="*/ 5 h 82"/>
                <a:gd name="T80" fmla="*/ 4 w 153"/>
                <a:gd name="T81" fmla="*/ 5 h 82"/>
                <a:gd name="T82" fmla="*/ 3 w 153"/>
                <a:gd name="T83" fmla="*/ 6 h 82"/>
                <a:gd name="T84" fmla="*/ 2 w 153"/>
                <a:gd name="T85" fmla="*/ 6 h 82"/>
                <a:gd name="T86" fmla="*/ 2 w 153"/>
                <a:gd name="T87" fmla="*/ 8 h 82"/>
                <a:gd name="T88" fmla="*/ 1 w 153"/>
                <a:gd name="T89" fmla="*/ 8 h 82"/>
                <a:gd name="T90" fmla="*/ 1 w 153"/>
                <a:gd name="T91" fmla="*/ 9 h 82"/>
                <a:gd name="T92" fmla="*/ 0 w 153"/>
                <a:gd name="T93" fmla="*/ 9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77" name="Freeform 406">
              <a:extLst>
                <a:ext uri="{FF2B5EF4-FFF2-40B4-BE49-F238E27FC236}">
                  <a16:creationId xmlns:a16="http://schemas.microsoft.com/office/drawing/2014/main" id="{AC76816E-E716-4A54-9438-6A66C742F4EB}"/>
                </a:ext>
              </a:extLst>
            </p:cNvPr>
            <p:cNvSpPr>
              <a:spLocks/>
            </p:cNvSpPr>
            <p:nvPr/>
          </p:nvSpPr>
          <p:spPr bwMode="auto">
            <a:xfrm>
              <a:off x="1410" y="1217"/>
              <a:ext cx="29" cy="22"/>
            </a:xfrm>
            <a:custGeom>
              <a:avLst/>
              <a:gdLst>
                <a:gd name="T0" fmla="*/ 0 w 86"/>
                <a:gd name="T1" fmla="*/ 4 h 50"/>
                <a:gd name="T2" fmla="*/ 1 w 86"/>
                <a:gd name="T3" fmla="*/ 5 h 50"/>
                <a:gd name="T4" fmla="*/ 1 w 86"/>
                <a:gd name="T5" fmla="*/ 5 h 50"/>
                <a:gd name="T6" fmla="*/ 2 w 86"/>
                <a:gd name="T7" fmla="*/ 5 h 50"/>
                <a:gd name="T8" fmla="*/ 3 w 86"/>
                <a:gd name="T9" fmla="*/ 5 h 50"/>
                <a:gd name="T10" fmla="*/ 4 w 86"/>
                <a:gd name="T11" fmla="*/ 6 h 50"/>
                <a:gd name="T12" fmla="*/ 5 w 86"/>
                <a:gd name="T13" fmla="*/ 6 h 50"/>
                <a:gd name="T14" fmla="*/ 7 w 86"/>
                <a:gd name="T15" fmla="*/ 6 h 50"/>
                <a:gd name="T16" fmla="*/ 8 w 86"/>
                <a:gd name="T17" fmla="*/ 5 h 50"/>
                <a:gd name="T18" fmla="*/ 8 w 86"/>
                <a:gd name="T19" fmla="*/ 5 h 50"/>
                <a:gd name="T20" fmla="*/ 9 w 86"/>
                <a:gd name="T21" fmla="*/ 5 h 50"/>
                <a:gd name="T22" fmla="*/ 9 w 86"/>
                <a:gd name="T23" fmla="*/ 5 h 50"/>
                <a:gd name="T24" fmla="*/ 9 w 86"/>
                <a:gd name="T25" fmla="*/ 4 h 50"/>
                <a:gd name="T26" fmla="*/ 10 w 86"/>
                <a:gd name="T27" fmla="*/ 4 h 50"/>
                <a:gd name="T28" fmla="*/ 10 w 86"/>
                <a:gd name="T29" fmla="*/ 3 h 50"/>
                <a:gd name="T30" fmla="*/ 10 w 86"/>
                <a:gd name="T31" fmla="*/ 2 h 50"/>
                <a:gd name="T32" fmla="*/ 9 w 86"/>
                <a:gd name="T33" fmla="*/ 1 h 50"/>
                <a:gd name="T34" fmla="*/ 9 w 86"/>
                <a:gd name="T35" fmla="*/ 1 h 50"/>
                <a:gd name="T36" fmla="*/ 9 w 86"/>
                <a:gd name="T37" fmla="*/ 1 h 50"/>
                <a:gd name="T38" fmla="*/ 9 w 86"/>
                <a:gd name="T39" fmla="*/ 0 h 50"/>
                <a:gd name="T40" fmla="*/ 8 w 86"/>
                <a:gd name="T41" fmla="*/ 0 h 50"/>
                <a:gd name="T42" fmla="*/ 0 w 86"/>
                <a:gd name="T43" fmla="*/ 4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78" name="Freeform 407">
              <a:extLst>
                <a:ext uri="{FF2B5EF4-FFF2-40B4-BE49-F238E27FC236}">
                  <a16:creationId xmlns:a16="http://schemas.microsoft.com/office/drawing/2014/main" id="{75CCAB52-C173-4399-A7E3-5D51595541E3}"/>
                </a:ext>
              </a:extLst>
            </p:cNvPr>
            <p:cNvSpPr>
              <a:spLocks/>
            </p:cNvSpPr>
            <p:nvPr/>
          </p:nvSpPr>
          <p:spPr bwMode="auto">
            <a:xfrm>
              <a:off x="1379" y="1163"/>
              <a:ext cx="55" cy="25"/>
            </a:xfrm>
            <a:custGeom>
              <a:avLst/>
              <a:gdLst>
                <a:gd name="T0" fmla="*/ 12 w 172"/>
                <a:gd name="T1" fmla="*/ 7 h 74"/>
                <a:gd name="T2" fmla="*/ 11 w 172"/>
                <a:gd name="T3" fmla="*/ 7 h 74"/>
                <a:gd name="T4" fmla="*/ 10 w 172"/>
                <a:gd name="T5" fmla="*/ 7 h 74"/>
                <a:gd name="T6" fmla="*/ 9 w 172"/>
                <a:gd name="T7" fmla="*/ 7 h 74"/>
                <a:gd name="T8" fmla="*/ 8 w 172"/>
                <a:gd name="T9" fmla="*/ 7 h 74"/>
                <a:gd name="T10" fmla="*/ 6 w 172"/>
                <a:gd name="T11" fmla="*/ 8 h 74"/>
                <a:gd name="T12" fmla="*/ 4 w 172"/>
                <a:gd name="T13" fmla="*/ 8 h 74"/>
                <a:gd name="T14" fmla="*/ 4 w 172"/>
                <a:gd name="T15" fmla="*/ 7 h 74"/>
                <a:gd name="T16" fmla="*/ 4 w 172"/>
                <a:gd name="T17" fmla="*/ 6 h 74"/>
                <a:gd name="T18" fmla="*/ 3 w 172"/>
                <a:gd name="T19" fmla="*/ 6 h 74"/>
                <a:gd name="T20" fmla="*/ 2 w 172"/>
                <a:gd name="T21" fmla="*/ 5 h 74"/>
                <a:gd name="T22" fmla="*/ 2 w 172"/>
                <a:gd name="T23" fmla="*/ 5 h 74"/>
                <a:gd name="T24" fmla="*/ 1 w 172"/>
                <a:gd name="T25" fmla="*/ 5 h 74"/>
                <a:gd name="T26" fmla="*/ 1 w 172"/>
                <a:gd name="T27" fmla="*/ 5 h 74"/>
                <a:gd name="T28" fmla="*/ 0 w 172"/>
                <a:gd name="T29" fmla="*/ 4 h 74"/>
                <a:gd name="T30" fmla="*/ 0 w 172"/>
                <a:gd name="T31" fmla="*/ 4 h 74"/>
                <a:gd name="T32" fmla="*/ 0 w 172"/>
                <a:gd name="T33" fmla="*/ 3 h 74"/>
                <a:gd name="T34" fmla="*/ 0 w 172"/>
                <a:gd name="T35" fmla="*/ 3 h 74"/>
                <a:gd name="T36" fmla="*/ 0 w 172"/>
                <a:gd name="T37" fmla="*/ 2 h 74"/>
                <a:gd name="T38" fmla="*/ 1 w 172"/>
                <a:gd name="T39" fmla="*/ 2 h 74"/>
                <a:gd name="T40" fmla="*/ 1 w 172"/>
                <a:gd name="T41" fmla="*/ 2 h 74"/>
                <a:gd name="T42" fmla="*/ 1 w 172"/>
                <a:gd name="T43" fmla="*/ 1 h 74"/>
                <a:gd name="T44" fmla="*/ 2 w 172"/>
                <a:gd name="T45" fmla="*/ 1 h 74"/>
                <a:gd name="T46" fmla="*/ 3 w 172"/>
                <a:gd name="T47" fmla="*/ 1 h 74"/>
                <a:gd name="T48" fmla="*/ 3 w 172"/>
                <a:gd name="T49" fmla="*/ 0 h 74"/>
                <a:gd name="T50" fmla="*/ 4 w 172"/>
                <a:gd name="T51" fmla="*/ 0 h 74"/>
                <a:gd name="T52" fmla="*/ 6 w 172"/>
                <a:gd name="T53" fmla="*/ 0 h 74"/>
                <a:gd name="T54" fmla="*/ 7 w 172"/>
                <a:gd name="T55" fmla="*/ 0 h 74"/>
                <a:gd name="T56" fmla="*/ 8 w 172"/>
                <a:gd name="T57" fmla="*/ 0 h 74"/>
                <a:gd name="T58" fmla="*/ 10 w 172"/>
                <a:gd name="T59" fmla="*/ 0 h 74"/>
                <a:gd name="T60" fmla="*/ 11 w 172"/>
                <a:gd name="T61" fmla="*/ 0 h 74"/>
                <a:gd name="T62" fmla="*/ 12 w 172"/>
                <a:gd name="T63" fmla="*/ 1 h 74"/>
                <a:gd name="T64" fmla="*/ 13 w 172"/>
                <a:gd name="T65" fmla="*/ 1 h 74"/>
                <a:gd name="T66" fmla="*/ 14 w 172"/>
                <a:gd name="T67" fmla="*/ 2 h 74"/>
                <a:gd name="T68" fmla="*/ 15 w 172"/>
                <a:gd name="T69" fmla="*/ 2 h 74"/>
                <a:gd name="T70" fmla="*/ 16 w 172"/>
                <a:gd name="T71" fmla="*/ 3 h 74"/>
                <a:gd name="T72" fmla="*/ 18 w 172"/>
                <a:gd name="T73" fmla="*/ 3 h 74"/>
                <a:gd name="T74" fmla="*/ 18 w 172"/>
                <a:gd name="T75" fmla="*/ 5 h 74"/>
                <a:gd name="T76" fmla="*/ 17 w 172"/>
                <a:gd name="T77" fmla="*/ 5 h 74"/>
                <a:gd name="T78" fmla="*/ 17 w 172"/>
                <a:gd name="T79" fmla="*/ 6 h 74"/>
                <a:gd name="T80" fmla="*/ 16 w 172"/>
                <a:gd name="T81" fmla="*/ 6 h 74"/>
                <a:gd name="T82" fmla="*/ 16 w 172"/>
                <a:gd name="T83" fmla="*/ 7 h 74"/>
                <a:gd name="T84" fmla="*/ 16 w 172"/>
                <a:gd name="T85" fmla="*/ 7 h 74"/>
                <a:gd name="T86" fmla="*/ 15 w 172"/>
                <a:gd name="T87" fmla="*/ 7 h 74"/>
                <a:gd name="T88" fmla="*/ 15 w 172"/>
                <a:gd name="T89" fmla="*/ 7 h 74"/>
                <a:gd name="T90" fmla="*/ 14 w 172"/>
                <a:gd name="T91" fmla="*/ 7 h 74"/>
                <a:gd name="T92" fmla="*/ 13 w 172"/>
                <a:gd name="T93" fmla="*/ 7 h 74"/>
                <a:gd name="T94" fmla="*/ 12 w 172"/>
                <a:gd name="T95" fmla="*/ 7 h 74"/>
                <a:gd name="T96" fmla="*/ 12 w 172"/>
                <a:gd name="T97" fmla="*/ 7 h 74"/>
                <a:gd name="T98" fmla="*/ 10 w 172"/>
                <a:gd name="T99" fmla="*/ 6 h 74"/>
                <a:gd name="T100" fmla="*/ 11 w 172"/>
                <a:gd name="T101" fmla="*/ 6 h 74"/>
                <a:gd name="T102" fmla="*/ 12 w 172"/>
                <a:gd name="T103" fmla="*/ 7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79" name="Freeform 408">
              <a:extLst>
                <a:ext uri="{FF2B5EF4-FFF2-40B4-BE49-F238E27FC236}">
                  <a16:creationId xmlns:a16="http://schemas.microsoft.com/office/drawing/2014/main" id="{5CD51CA8-2685-42F7-9CC8-E79CA6149057}"/>
                </a:ext>
              </a:extLst>
            </p:cNvPr>
            <p:cNvSpPr>
              <a:spLocks/>
            </p:cNvSpPr>
            <p:nvPr/>
          </p:nvSpPr>
          <p:spPr bwMode="auto">
            <a:xfrm>
              <a:off x="1449" y="1171"/>
              <a:ext cx="38" cy="22"/>
            </a:xfrm>
            <a:custGeom>
              <a:avLst/>
              <a:gdLst>
                <a:gd name="T0" fmla="*/ 3 w 120"/>
                <a:gd name="T1" fmla="*/ 6 h 49"/>
                <a:gd name="T2" fmla="*/ 5 w 120"/>
                <a:gd name="T3" fmla="*/ 6 h 49"/>
                <a:gd name="T4" fmla="*/ 6 w 120"/>
                <a:gd name="T5" fmla="*/ 6 h 49"/>
                <a:gd name="T6" fmla="*/ 8 w 120"/>
                <a:gd name="T7" fmla="*/ 6 h 49"/>
                <a:gd name="T8" fmla="*/ 9 w 120"/>
                <a:gd name="T9" fmla="*/ 5 h 49"/>
                <a:gd name="T10" fmla="*/ 10 w 120"/>
                <a:gd name="T11" fmla="*/ 5 h 49"/>
                <a:gd name="T12" fmla="*/ 10 w 120"/>
                <a:gd name="T13" fmla="*/ 5 h 49"/>
                <a:gd name="T14" fmla="*/ 10 w 120"/>
                <a:gd name="T15" fmla="*/ 4 h 49"/>
                <a:gd name="T16" fmla="*/ 11 w 120"/>
                <a:gd name="T17" fmla="*/ 4 h 49"/>
                <a:gd name="T18" fmla="*/ 11 w 120"/>
                <a:gd name="T19" fmla="*/ 3 h 49"/>
                <a:gd name="T20" fmla="*/ 12 w 120"/>
                <a:gd name="T21" fmla="*/ 1 h 49"/>
                <a:gd name="T22" fmla="*/ 10 w 120"/>
                <a:gd name="T23" fmla="*/ 1 h 49"/>
                <a:gd name="T24" fmla="*/ 9 w 120"/>
                <a:gd name="T25" fmla="*/ 0 h 49"/>
                <a:gd name="T26" fmla="*/ 7 w 120"/>
                <a:gd name="T27" fmla="*/ 0 h 49"/>
                <a:gd name="T28" fmla="*/ 5 w 120"/>
                <a:gd name="T29" fmla="*/ 0 h 49"/>
                <a:gd name="T30" fmla="*/ 3 w 120"/>
                <a:gd name="T31" fmla="*/ 0 h 49"/>
                <a:gd name="T32" fmla="*/ 2 w 120"/>
                <a:gd name="T33" fmla="*/ 0 h 49"/>
                <a:gd name="T34" fmla="*/ 1 w 120"/>
                <a:gd name="T35" fmla="*/ 0 h 49"/>
                <a:gd name="T36" fmla="*/ 0 w 120"/>
                <a:gd name="T37" fmla="*/ 1 h 49"/>
                <a:gd name="T38" fmla="*/ 0 w 120"/>
                <a:gd name="T39" fmla="*/ 3 h 49"/>
                <a:gd name="T40" fmla="*/ 0 w 120"/>
                <a:gd name="T41" fmla="*/ 4 h 49"/>
                <a:gd name="T42" fmla="*/ 1 w 120"/>
                <a:gd name="T43" fmla="*/ 5 h 49"/>
                <a:gd name="T44" fmla="*/ 1 w 120"/>
                <a:gd name="T45" fmla="*/ 5 h 49"/>
                <a:gd name="T46" fmla="*/ 1 w 120"/>
                <a:gd name="T47" fmla="*/ 6 h 49"/>
                <a:gd name="T48" fmla="*/ 2 w 120"/>
                <a:gd name="T49" fmla="*/ 6 h 49"/>
                <a:gd name="T50" fmla="*/ 3 w 120"/>
                <a:gd name="T51" fmla="*/ 6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80" name="Freeform 409">
              <a:extLst>
                <a:ext uri="{FF2B5EF4-FFF2-40B4-BE49-F238E27FC236}">
                  <a16:creationId xmlns:a16="http://schemas.microsoft.com/office/drawing/2014/main" id="{9F3659EF-B898-4E05-B987-0065DF87EC82}"/>
                </a:ext>
              </a:extLst>
            </p:cNvPr>
            <p:cNvSpPr>
              <a:spLocks/>
            </p:cNvSpPr>
            <p:nvPr/>
          </p:nvSpPr>
          <p:spPr bwMode="auto">
            <a:xfrm>
              <a:off x="1439" y="1194"/>
              <a:ext cx="28" cy="19"/>
            </a:xfrm>
            <a:custGeom>
              <a:avLst/>
              <a:gdLst>
                <a:gd name="T0" fmla="*/ 3 w 85"/>
                <a:gd name="T1" fmla="*/ 0 h 61"/>
                <a:gd name="T2" fmla="*/ 2 w 85"/>
                <a:gd name="T3" fmla="*/ 1 h 61"/>
                <a:gd name="T4" fmla="*/ 1 w 85"/>
                <a:gd name="T5" fmla="*/ 1 h 61"/>
                <a:gd name="T6" fmla="*/ 1 w 85"/>
                <a:gd name="T7" fmla="*/ 2 h 61"/>
                <a:gd name="T8" fmla="*/ 0 w 85"/>
                <a:gd name="T9" fmla="*/ 2 h 61"/>
                <a:gd name="T10" fmla="*/ 0 w 85"/>
                <a:gd name="T11" fmla="*/ 2 h 61"/>
                <a:gd name="T12" fmla="*/ 0 w 85"/>
                <a:gd name="T13" fmla="*/ 3 h 61"/>
                <a:gd name="T14" fmla="*/ 0 w 85"/>
                <a:gd name="T15" fmla="*/ 3 h 61"/>
                <a:gd name="T16" fmla="*/ 0 w 85"/>
                <a:gd name="T17" fmla="*/ 4 h 61"/>
                <a:gd name="T18" fmla="*/ 0 w 85"/>
                <a:gd name="T19" fmla="*/ 4 h 61"/>
                <a:gd name="T20" fmla="*/ 1 w 85"/>
                <a:gd name="T21" fmla="*/ 4 h 61"/>
                <a:gd name="T22" fmla="*/ 1 w 85"/>
                <a:gd name="T23" fmla="*/ 5 h 61"/>
                <a:gd name="T24" fmla="*/ 2 w 85"/>
                <a:gd name="T25" fmla="*/ 5 h 61"/>
                <a:gd name="T26" fmla="*/ 2 w 85"/>
                <a:gd name="T27" fmla="*/ 5 h 61"/>
                <a:gd name="T28" fmla="*/ 3 w 85"/>
                <a:gd name="T29" fmla="*/ 6 h 61"/>
                <a:gd name="T30" fmla="*/ 4 w 85"/>
                <a:gd name="T31" fmla="*/ 6 h 61"/>
                <a:gd name="T32" fmla="*/ 5 w 85"/>
                <a:gd name="T33" fmla="*/ 6 h 61"/>
                <a:gd name="T34" fmla="*/ 5 w 85"/>
                <a:gd name="T35" fmla="*/ 6 h 61"/>
                <a:gd name="T36" fmla="*/ 6 w 85"/>
                <a:gd name="T37" fmla="*/ 6 h 61"/>
                <a:gd name="T38" fmla="*/ 6 w 85"/>
                <a:gd name="T39" fmla="*/ 6 h 61"/>
                <a:gd name="T40" fmla="*/ 6 w 85"/>
                <a:gd name="T41" fmla="*/ 6 h 61"/>
                <a:gd name="T42" fmla="*/ 7 w 85"/>
                <a:gd name="T43" fmla="*/ 5 h 61"/>
                <a:gd name="T44" fmla="*/ 7 w 85"/>
                <a:gd name="T45" fmla="*/ 5 h 61"/>
                <a:gd name="T46" fmla="*/ 7 w 85"/>
                <a:gd name="T47" fmla="*/ 4 h 61"/>
                <a:gd name="T48" fmla="*/ 8 w 85"/>
                <a:gd name="T49" fmla="*/ 3 h 61"/>
                <a:gd name="T50" fmla="*/ 8 w 85"/>
                <a:gd name="T51" fmla="*/ 2 h 61"/>
                <a:gd name="T52" fmla="*/ 8 w 85"/>
                <a:gd name="T53" fmla="*/ 2 h 61"/>
                <a:gd name="T54" fmla="*/ 3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81" name="Freeform 410">
              <a:extLst>
                <a:ext uri="{FF2B5EF4-FFF2-40B4-BE49-F238E27FC236}">
                  <a16:creationId xmlns:a16="http://schemas.microsoft.com/office/drawing/2014/main" id="{A58142E1-BD50-468E-B70F-EFB1CAE817BC}"/>
                </a:ext>
              </a:extLst>
            </p:cNvPr>
            <p:cNvSpPr>
              <a:spLocks/>
            </p:cNvSpPr>
            <p:nvPr/>
          </p:nvSpPr>
          <p:spPr bwMode="auto">
            <a:xfrm>
              <a:off x="1254" y="1188"/>
              <a:ext cx="31" cy="6"/>
            </a:xfrm>
            <a:custGeom>
              <a:avLst/>
              <a:gdLst>
                <a:gd name="T0" fmla="*/ 0 w 100"/>
                <a:gd name="T1" fmla="*/ 1 h 19"/>
                <a:gd name="T2" fmla="*/ 1 w 100"/>
                <a:gd name="T3" fmla="*/ 1 h 19"/>
                <a:gd name="T4" fmla="*/ 1 w 100"/>
                <a:gd name="T5" fmla="*/ 2 h 19"/>
                <a:gd name="T6" fmla="*/ 2 w 100"/>
                <a:gd name="T7" fmla="*/ 2 h 19"/>
                <a:gd name="T8" fmla="*/ 2 w 100"/>
                <a:gd name="T9" fmla="*/ 2 h 19"/>
                <a:gd name="T10" fmla="*/ 10 w 100"/>
                <a:gd name="T11" fmla="*/ 1 h 19"/>
                <a:gd name="T12" fmla="*/ 7 w 100"/>
                <a:gd name="T13" fmla="*/ 0 h 19"/>
                <a:gd name="T14" fmla="*/ 5 w 100"/>
                <a:gd name="T15" fmla="*/ 0 h 19"/>
                <a:gd name="T16" fmla="*/ 3 w 100"/>
                <a:gd name="T17" fmla="*/ 0 h 19"/>
                <a:gd name="T18" fmla="*/ 2 w 100"/>
                <a:gd name="T19" fmla="*/ 0 h 19"/>
                <a:gd name="T20" fmla="*/ 1 w 100"/>
                <a:gd name="T21" fmla="*/ 0 h 19"/>
                <a:gd name="T22" fmla="*/ 0 w 100"/>
                <a:gd name="T23" fmla="*/ 1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82" name="Freeform 411">
              <a:extLst>
                <a:ext uri="{FF2B5EF4-FFF2-40B4-BE49-F238E27FC236}">
                  <a16:creationId xmlns:a16="http://schemas.microsoft.com/office/drawing/2014/main" id="{D919F637-D741-4773-AD18-840E00CC0715}"/>
                </a:ext>
              </a:extLst>
            </p:cNvPr>
            <p:cNvSpPr>
              <a:spLocks/>
            </p:cNvSpPr>
            <p:nvPr/>
          </p:nvSpPr>
          <p:spPr bwMode="auto">
            <a:xfrm>
              <a:off x="1272" y="1168"/>
              <a:ext cx="51" cy="20"/>
            </a:xfrm>
            <a:custGeom>
              <a:avLst/>
              <a:gdLst>
                <a:gd name="T0" fmla="*/ 0 w 166"/>
                <a:gd name="T1" fmla="*/ 3 h 45"/>
                <a:gd name="T2" fmla="*/ 0 w 166"/>
                <a:gd name="T3" fmla="*/ 3 h 45"/>
                <a:gd name="T4" fmla="*/ 0 w 166"/>
                <a:gd name="T5" fmla="*/ 3 h 45"/>
                <a:gd name="T6" fmla="*/ 1 w 166"/>
                <a:gd name="T7" fmla="*/ 4 h 45"/>
                <a:gd name="T8" fmla="*/ 1 w 166"/>
                <a:gd name="T9" fmla="*/ 4 h 45"/>
                <a:gd name="T10" fmla="*/ 3 w 166"/>
                <a:gd name="T11" fmla="*/ 4 h 45"/>
                <a:gd name="T12" fmla="*/ 4 w 166"/>
                <a:gd name="T13" fmla="*/ 5 h 45"/>
                <a:gd name="T14" fmla="*/ 8 w 166"/>
                <a:gd name="T15" fmla="*/ 5 h 45"/>
                <a:gd name="T16" fmla="*/ 9 w 166"/>
                <a:gd name="T17" fmla="*/ 5 h 45"/>
                <a:gd name="T18" fmla="*/ 17 w 166"/>
                <a:gd name="T19" fmla="*/ 3 h 45"/>
                <a:gd name="T20" fmla="*/ 16 w 166"/>
                <a:gd name="T21" fmla="*/ 3 h 45"/>
                <a:gd name="T22" fmla="*/ 14 w 166"/>
                <a:gd name="T23" fmla="*/ 2 h 45"/>
                <a:gd name="T24" fmla="*/ 11 w 166"/>
                <a:gd name="T25" fmla="*/ 1 h 45"/>
                <a:gd name="T26" fmla="*/ 8 w 166"/>
                <a:gd name="T27" fmla="*/ 0 h 45"/>
                <a:gd name="T28" fmla="*/ 7 w 166"/>
                <a:gd name="T29" fmla="*/ 0 h 45"/>
                <a:gd name="T30" fmla="*/ 5 w 166"/>
                <a:gd name="T31" fmla="*/ 0 h 45"/>
                <a:gd name="T32" fmla="*/ 4 w 166"/>
                <a:gd name="T33" fmla="*/ 0 h 45"/>
                <a:gd name="T34" fmla="*/ 3 w 166"/>
                <a:gd name="T35" fmla="*/ 0 h 45"/>
                <a:gd name="T36" fmla="*/ 2 w 166"/>
                <a:gd name="T37" fmla="*/ 0 h 45"/>
                <a:gd name="T38" fmla="*/ 1 w 166"/>
                <a:gd name="T39" fmla="*/ 1 h 45"/>
                <a:gd name="T40" fmla="*/ 1 w 166"/>
                <a:gd name="T41" fmla="*/ 1 h 45"/>
                <a:gd name="T42" fmla="*/ 1 w 166"/>
                <a:gd name="T43" fmla="*/ 1 h 45"/>
                <a:gd name="T44" fmla="*/ 0 w 166"/>
                <a:gd name="T45" fmla="*/ 1 h 45"/>
                <a:gd name="T46" fmla="*/ 0 w 166"/>
                <a:gd name="T47" fmla="*/ 2 h 45"/>
                <a:gd name="T48" fmla="*/ 0 w 166"/>
                <a:gd name="T49" fmla="*/ 2 h 45"/>
                <a:gd name="T50" fmla="*/ 0 w 166"/>
                <a:gd name="T51" fmla="*/ 3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83" name="Freeform 412">
              <a:extLst>
                <a:ext uri="{FF2B5EF4-FFF2-40B4-BE49-F238E27FC236}">
                  <a16:creationId xmlns:a16="http://schemas.microsoft.com/office/drawing/2014/main" id="{3484A44B-4BA4-4043-9DFE-DCFFB6B04CFE}"/>
                </a:ext>
              </a:extLst>
            </p:cNvPr>
            <p:cNvSpPr>
              <a:spLocks/>
            </p:cNvSpPr>
            <p:nvPr/>
          </p:nvSpPr>
          <p:spPr bwMode="auto">
            <a:xfrm>
              <a:off x="1487" y="1422"/>
              <a:ext cx="10" cy="8"/>
            </a:xfrm>
            <a:custGeom>
              <a:avLst/>
              <a:gdLst>
                <a:gd name="T0" fmla="*/ 0 w 33"/>
                <a:gd name="T1" fmla="*/ 0 h 25"/>
                <a:gd name="T2" fmla="*/ 0 w 33"/>
                <a:gd name="T3" fmla="*/ 1 h 25"/>
                <a:gd name="T4" fmla="*/ 0 w 33"/>
                <a:gd name="T5" fmla="*/ 2 h 25"/>
                <a:gd name="T6" fmla="*/ 1 w 33"/>
                <a:gd name="T7" fmla="*/ 2 h 25"/>
                <a:gd name="T8" fmla="*/ 1 w 33"/>
                <a:gd name="T9" fmla="*/ 2 h 25"/>
                <a:gd name="T10" fmla="*/ 2 w 33"/>
                <a:gd name="T11" fmla="*/ 3 h 25"/>
                <a:gd name="T12" fmla="*/ 2 w 33"/>
                <a:gd name="T13" fmla="*/ 3 h 25"/>
                <a:gd name="T14" fmla="*/ 3 w 33"/>
                <a:gd name="T15" fmla="*/ 3 h 25"/>
                <a:gd name="T16" fmla="*/ 4 w 33"/>
                <a:gd name="T17" fmla="*/ 3 h 25"/>
                <a:gd name="T18" fmla="*/ 4 w 33"/>
                <a:gd name="T19" fmla="*/ 0 h 25"/>
                <a:gd name="T20" fmla="*/ 3 w 33"/>
                <a:gd name="T21" fmla="*/ 0 h 25"/>
                <a:gd name="T22" fmla="*/ 2 w 33"/>
                <a:gd name="T23" fmla="*/ 0 h 25"/>
                <a:gd name="T24" fmla="*/ 1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84" name="Freeform 413">
              <a:extLst>
                <a:ext uri="{FF2B5EF4-FFF2-40B4-BE49-F238E27FC236}">
                  <a16:creationId xmlns:a16="http://schemas.microsoft.com/office/drawing/2014/main" id="{4CCFA78B-5357-44C0-892B-E08EB441171C}"/>
                </a:ext>
              </a:extLst>
            </p:cNvPr>
            <p:cNvSpPr>
              <a:spLocks/>
            </p:cNvSpPr>
            <p:nvPr/>
          </p:nvSpPr>
          <p:spPr bwMode="auto">
            <a:xfrm>
              <a:off x="1603" y="1729"/>
              <a:ext cx="18" cy="20"/>
            </a:xfrm>
            <a:custGeom>
              <a:avLst/>
              <a:gdLst>
                <a:gd name="T0" fmla="*/ 0 w 48"/>
                <a:gd name="T1" fmla="*/ 6 h 62"/>
                <a:gd name="T2" fmla="*/ 1 w 48"/>
                <a:gd name="T3" fmla="*/ 6 h 62"/>
                <a:gd name="T4" fmla="*/ 2 w 48"/>
                <a:gd name="T5" fmla="*/ 5 h 62"/>
                <a:gd name="T6" fmla="*/ 3 w 48"/>
                <a:gd name="T7" fmla="*/ 5 h 62"/>
                <a:gd name="T8" fmla="*/ 4 w 48"/>
                <a:gd name="T9" fmla="*/ 4 h 62"/>
                <a:gd name="T10" fmla="*/ 5 w 48"/>
                <a:gd name="T11" fmla="*/ 3 h 62"/>
                <a:gd name="T12" fmla="*/ 5 w 48"/>
                <a:gd name="T13" fmla="*/ 2 h 62"/>
                <a:gd name="T14" fmla="*/ 5 w 48"/>
                <a:gd name="T15" fmla="*/ 1 h 62"/>
                <a:gd name="T16" fmla="*/ 5 w 48"/>
                <a:gd name="T17" fmla="*/ 0 h 62"/>
                <a:gd name="T18" fmla="*/ 4 w 48"/>
                <a:gd name="T19" fmla="*/ 0 h 62"/>
                <a:gd name="T20" fmla="*/ 4 w 48"/>
                <a:gd name="T21" fmla="*/ 1 h 62"/>
                <a:gd name="T22" fmla="*/ 3 w 48"/>
                <a:gd name="T23" fmla="*/ 1 h 62"/>
                <a:gd name="T24" fmla="*/ 2 w 48"/>
                <a:gd name="T25" fmla="*/ 2 h 62"/>
                <a:gd name="T26" fmla="*/ 1 w 48"/>
                <a:gd name="T27" fmla="*/ 2 h 62"/>
                <a:gd name="T28" fmla="*/ 1 w 48"/>
                <a:gd name="T29" fmla="*/ 3 h 62"/>
                <a:gd name="T30" fmla="*/ 0 w 48"/>
                <a:gd name="T31" fmla="*/ 3 h 62"/>
                <a:gd name="T32" fmla="*/ 0 w 48"/>
                <a:gd name="T33" fmla="*/ 4 h 62"/>
                <a:gd name="T34" fmla="*/ 0 w 48"/>
                <a:gd name="T35" fmla="*/ 4 h 62"/>
                <a:gd name="T36" fmla="*/ 0 w 48"/>
                <a:gd name="T37" fmla="*/ 5 h 62"/>
                <a:gd name="T38" fmla="*/ 0 w 48"/>
                <a:gd name="T39" fmla="*/ 5 h 62"/>
                <a:gd name="T40" fmla="*/ 0 w 48"/>
                <a:gd name="T41" fmla="*/ 6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85" name="Freeform 414">
              <a:extLst>
                <a:ext uri="{FF2B5EF4-FFF2-40B4-BE49-F238E27FC236}">
                  <a16:creationId xmlns:a16="http://schemas.microsoft.com/office/drawing/2014/main" id="{FE2A4BC4-4542-46FC-A3EF-3C198ED58F3F}"/>
                </a:ext>
              </a:extLst>
            </p:cNvPr>
            <p:cNvSpPr>
              <a:spLocks/>
            </p:cNvSpPr>
            <p:nvPr/>
          </p:nvSpPr>
          <p:spPr bwMode="auto">
            <a:xfrm>
              <a:off x="1554" y="1729"/>
              <a:ext cx="36" cy="20"/>
            </a:xfrm>
            <a:custGeom>
              <a:avLst/>
              <a:gdLst>
                <a:gd name="T0" fmla="*/ 5 w 113"/>
                <a:gd name="T1" fmla="*/ 0 h 62"/>
                <a:gd name="T2" fmla="*/ 4 w 113"/>
                <a:gd name="T3" fmla="*/ 1 h 62"/>
                <a:gd name="T4" fmla="*/ 2 w 113"/>
                <a:gd name="T5" fmla="*/ 2 h 62"/>
                <a:gd name="T6" fmla="*/ 1 w 113"/>
                <a:gd name="T7" fmla="*/ 3 h 62"/>
                <a:gd name="T8" fmla="*/ 0 w 113"/>
                <a:gd name="T9" fmla="*/ 4 h 62"/>
                <a:gd name="T10" fmla="*/ 2 w 113"/>
                <a:gd name="T11" fmla="*/ 5 h 62"/>
                <a:gd name="T12" fmla="*/ 4 w 113"/>
                <a:gd name="T13" fmla="*/ 5 h 62"/>
                <a:gd name="T14" fmla="*/ 5 w 113"/>
                <a:gd name="T15" fmla="*/ 6 h 62"/>
                <a:gd name="T16" fmla="*/ 6 w 113"/>
                <a:gd name="T17" fmla="*/ 6 h 62"/>
                <a:gd name="T18" fmla="*/ 7 w 113"/>
                <a:gd name="T19" fmla="*/ 6 h 62"/>
                <a:gd name="T20" fmla="*/ 9 w 113"/>
                <a:gd name="T21" fmla="*/ 6 h 62"/>
                <a:gd name="T22" fmla="*/ 10 w 113"/>
                <a:gd name="T23" fmla="*/ 6 h 62"/>
                <a:gd name="T24" fmla="*/ 11 w 113"/>
                <a:gd name="T25" fmla="*/ 6 h 62"/>
                <a:gd name="T26" fmla="*/ 11 w 113"/>
                <a:gd name="T27" fmla="*/ 6 h 62"/>
                <a:gd name="T28" fmla="*/ 11 w 113"/>
                <a:gd name="T29" fmla="*/ 5 h 62"/>
                <a:gd name="T30" fmla="*/ 11 w 113"/>
                <a:gd name="T31" fmla="*/ 5 h 62"/>
                <a:gd name="T32" fmla="*/ 11 w 113"/>
                <a:gd name="T33" fmla="*/ 5 h 62"/>
                <a:gd name="T34" fmla="*/ 9 w 113"/>
                <a:gd name="T35" fmla="*/ 4 h 62"/>
                <a:gd name="T36" fmla="*/ 7 w 113"/>
                <a:gd name="T37" fmla="*/ 3 h 62"/>
                <a:gd name="T38" fmla="*/ 7 w 113"/>
                <a:gd name="T39" fmla="*/ 3 h 62"/>
                <a:gd name="T40" fmla="*/ 6 w 113"/>
                <a:gd name="T41" fmla="*/ 3 h 62"/>
                <a:gd name="T42" fmla="*/ 6 w 113"/>
                <a:gd name="T43" fmla="*/ 2 h 62"/>
                <a:gd name="T44" fmla="*/ 5 w 113"/>
                <a:gd name="T45" fmla="*/ 2 h 62"/>
                <a:gd name="T46" fmla="*/ 5 w 113"/>
                <a:gd name="T47" fmla="*/ 2 h 62"/>
                <a:gd name="T48" fmla="*/ 5 w 113"/>
                <a:gd name="T49" fmla="*/ 1 h 62"/>
                <a:gd name="T50" fmla="*/ 5 w 113"/>
                <a:gd name="T51" fmla="*/ 1 h 62"/>
                <a:gd name="T52" fmla="*/ 5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86" name="Freeform 415">
              <a:extLst>
                <a:ext uri="{FF2B5EF4-FFF2-40B4-BE49-F238E27FC236}">
                  <a16:creationId xmlns:a16="http://schemas.microsoft.com/office/drawing/2014/main" id="{109A37E5-1EAC-4752-B938-A4E1F07B5FCA}"/>
                </a:ext>
              </a:extLst>
            </p:cNvPr>
            <p:cNvSpPr>
              <a:spLocks/>
            </p:cNvSpPr>
            <p:nvPr/>
          </p:nvSpPr>
          <p:spPr bwMode="auto">
            <a:xfrm>
              <a:off x="1748" y="1188"/>
              <a:ext cx="29" cy="15"/>
            </a:xfrm>
            <a:custGeom>
              <a:avLst/>
              <a:gdLst>
                <a:gd name="T0" fmla="*/ 0 w 93"/>
                <a:gd name="T1" fmla="*/ 0 h 50"/>
                <a:gd name="T2" fmla="*/ 2 w 93"/>
                <a:gd name="T3" fmla="*/ 0 h 50"/>
                <a:gd name="T4" fmla="*/ 3 w 93"/>
                <a:gd name="T5" fmla="*/ 0 h 50"/>
                <a:gd name="T6" fmla="*/ 4 w 93"/>
                <a:gd name="T7" fmla="*/ 0 h 50"/>
                <a:gd name="T8" fmla="*/ 6 w 93"/>
                <a:gd name="T9" fmla="*/ 1 h 50"/>
                <a:gd name="T10" fmla="*/ 6 w 93"/>
                <a:gd name="T11" fmla="*/ 1 h 50"/>
                <a:gd name="T12" fmla="*/ 7 w 93"/>
                <a:gd name="T13" fmla="*/ 1 h 50"/>
                <a:gd name="T14" fmla="*/ 7 w 93"/>
                <a:gd name="T15" fmla="*/ 1 h 50"/>
                <a:gd name="T16" fmla="*/ 8 w 93"/>
                <a:gd name="T17" fmla="*/ 2 h 50"/>
                <a:gd name="T18" fmla="*/ 8 w 93"/>
                <a:gd name="T19" fmla="*/ 2 h 50"/>
                <a:gd name="T20" fmla="*/ 9 w 93"/>
                <a:gd name="T21" fmla="*/ 2 h 50"/>
                <a:gd name="T22" fmla="*/ 9 w 93"/>
                <a:gd name="T23" fmla="*/ 3 h 50"/>
                <a:gd name="T24" fmla="*/ 9 w 93"/>
                <a:gd name="T25" fmla="*/ 3 h 50"/>
                <a:gd name="T26" fmla="*/ 8 w 93"/>
                <a:gd name="T27" fmla="*/ 3 h 50"/>
                <a:gd name="T28" fmla="*/ 7 w 93"/>
                <a:gd name="T29" fmla="*/ 4 h 50"/>
                <a:gd name="T30" fmla="*/ 6 w 93"/>
                <a:gd name="T31" fmla="*/ 4 h 50"/>
                <a:gd name="T32" fmla="*/ 5 w 93"/>
                <a:gd name="T33" fmla="*/ 4 h 50"/>
                <a:gd name="T34" fmla="*/ 4 w 93"/>
                <a:gd name="T35" fmla="*/ 4 h 50"/>
                <a:gd name="T36" fmla="*/ 3 w 93"/>
                <a:gd name="T37" fmla="*/ 5 h 50"/>
                <a:gd name="T38" fmla="*/ 3 w 93"/>
                <a:gd name="T39" fmla="*/ 5 h 50"/>
                <a:gd name="T40" fmla="*/ 3 w 93"/>
                <a:gd name="T41" fmla="*/ 4 h 50"/>
                <a:gd name="T42" fmla="*/ 2 w 93"/>
                <a:gd name="T43" fmla="*/ 4 h 50"/>
                <a:gd name="T44" fmla="*/ 2 w 93"/>
                <a:gd name="T45" fmla="*/ 4 h 50"/>
                <a:gd name="T46" fmla="*/ 2 w 93"/>
                <a:gd name="T47" fmla="*/ 4 h 50"/>
                <a:gd name="T48" fmla="*/ 2 w 93"/>
                <a:gd name="T49" fmla="*/ 3 h 50"/>
                <a:gd name="T50" fmla="*/ 2 w 93"/>
                <a:gd name="T51" fmla="*/ 3 h 50"/>
                <a:gd name="T52" fmla="*/ 2 w 93"/>
                <a:gd name="T53" fmla="*/ 2 h 50"/>
                <a:gd name="T54" fmla="*/ 2 w 93"/>
                <a:gd name="T55" fmla="*/ 2 h 50"/>
                <a:gd name="T56" fmla="*/ 2 w 93"/>
                <a:gd name="T57" fmla="*/ 2 h 50"/>
                <a:gd name="T58" fmla="*/ 0 w 93"/>
                <a:gd name="T59" fmla="*/ 2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87" name="Freeform 416">
              <a:extLst>
                <a:ext uri="{FF2B5EF4-FFF2-40B4-BE49-F238E27FC236}">
                  <a16:creationId xmlns:a16="http://schemas.microsoft.com/office/drawing/2014/main" id="{5826E004-1BDA-4A89-B34E-84AC1F243FF5}"/>
                </a:ext>
              </a:extLst>
            </p:cNvPr>
            <p:cNvSpPr>
              <a:spLocks/>
            </p:cNvSpPr>
            <p:nvPr/>
          </p:nvSpPr>
          <p:spPr bwMode="auto">
            <a:xfrm>
              <a:off x="1436" y="1246"/>
              <a:ext cx="331" cy="200"/>
            </a:xfrm>
            <a:custGeom>
              <a:avLst/>
              <a:gdLst>
                <a:gd name="T0" fmla="*/ 2 w 1029"/>
                <a:gd name="T1" fmla="*/ 12 h 604"/>
                <a:gd name="T2" fmla="*/ 7 w 1029"/>
                <a:gd name="T3" fmla="*/ 7 h 604"/>
                <a:gd name="T4" fmla="*/ 28 w 1029"/>
                <a:gd name="T5" fmla="*/ 0 h 604"/>
                <a:gd name="T6" fmla="*/ 21 w 1029"/>
                <a:gd name="T7" fmla="*/ 5 h 604"/>
                <a:gd name="T8" fmla="*/ 19 w 1029"/>
                <a:gd name="T9" fmla="*/ 11 h 604"/>
                <a:gd name="T10" fmla="*/ 28 w 1029"/>
                <a:gd name="T11" fmla="*/ 7 h 604"/>
                <a:gd name="T12" fmla="*/ 41 w 1029"/>
                <a:gd name="T13" fmla="*/ 2 h 604"/>
                <a:gd name="T14" fmla="*/ 45 w 1029"/>
                <a:gd name="T15" fmla="*/ 3 h 604"/>
                <a:gd name="T16" fmla="*/ 45 w 1029"/>
                <a:gd name="T17" fmla="*/ 8 h 604"/>
                <a:gd name="T18" fmla="*/ 60 w 1029"/>
                <a:gd name="T19" fmla="*/ 9 h 604"/>
                <a:gd name="T20" fmla="*/ 70 w 1029"/>
                <a:gd name="T21" fmla="*/ 10 h 604"/>
                <a:gd name="T22" fmla="*/ 78 w 1029"/>
                <a:gd name="T23" fmla="*/ 12 h 604"/>
                <a:gd name="T24" fmla="*/ 78 w 1029"/>
                <a:gd name="T25" fmla="*/ 14 h 604"/>
                <a:gd name="T26" fmla="*/ 74 w 1029"/>
                <a:gd name="T27" fmla="*/ 20 h 604"/>
                <a:gd name="T28" fmla="*/ 83 w 1029"/>
                <a:gd name="T29" fmla="*/ 18 h 604"/>
                <a:gd name="T30" fmla="*/ 90 w 1029"/>
                <a:gd name="T31" fmla="*/ 21 h 604"/>
                <a:gd name="T32" fmla="*/ 88 w 1029"/>
                <a:gd name="T33" fmla="*/ 26 h 604"/>
                <a:gd name="T34" fmla="*/ 81 w 1029"/>
                <a:gd name="T35" fmla="*/ 27 h 604"/>
                <a:gd name="T36" fmla="*/ 89 w 1029"/>
                <a:gd name="T37" fmla="*/ 30 h 604"/>
                <a:gd name="T38" fmla="*/ 93 w 1029"/>
                <a:gd name="T39" fmla="*/ 35 h 604"/>
                <a:gd name="T40" fmla="*/ 101 w 1029"/>
                <a:gd name="T41" fmla="*/ 35 h 604"/>
                <a:gd name="T42" fmla="*/ 106 w 1029"/>
                <a:gd name="T43" fmla="*/ 38 h 604"/>
                <a:gd name="T44" fmla="*/ 97 w 1029"/>
                <a:gd name="T45" fmla="*/ 44 h 604"/>
                <a:gd name="T46" fmla="*/ 93 w 1029"/>
                <a:gd name="T47" fmla="*/ 45 h 604"/>
                <a:gd name="T48" fmla="*/ 90 w 1029"/>
                <a:gd name="T49" fmla="*/ 48 h 604"/>
                <a:gd name="T50" fmla="*/ 86 w 1029"/>
                <a:gd name="T51" fmla="*/ 45 h 604"/>
                <a:gd name="T52" fmla="*/ 88 w 1029"/>
                <a:gd name="T53" fmla="*/ 42 h 604"/>
                <a:gd name="T54" fmla="*/ 82 w 1029"/>
                <a:gd name="T55" fmla="*/ 41 h 604"/>
                <a:gd name="T56" fmla="*/ 78 w 1029"/>
                <a:gd name="T57" fmla="*/ 39 h 604"/>
                <a:gd name="T58" fmla="*/ 77 w 1029"/>
                <a:gd name="T59" fmla="*/ 42 h 604"/>
                <a:gd name="T60" fmla="*/ 77 w 1029"/>
                <a:gd name="T61" fmla="*/ 48 h 604"/>
                <a:gd name="T62" fmla="*/ 82 w 1029"/>
                <a:gd name="T63" fmla="*/ 56 h 604"/>
                <a:gd name="T64" fmla="*/ 80 w 1029"/>
                <a:gd name="T65" fmla="*/ 59 h 604"/>
                <a:gd name="T66" fmla="*/ 73 w 1029"/>
                <a:gd name="T67" fmla="*/ 60 h 604"/>
                <a:gd name="T68" fmla="*/ 64 w 1029"/>
                <a:gd name="T69" fmla="*/ 55 h 604"/>
                <a:gd name="T70" fmla="*/ 69 w 1029"/>
                <a:gd name="T71" fmla="*/ 61 h 604"/>
                <a:gd name="T72" fmla="*/ 69 w 1029"/>
                <a:gd name="T73" fmla="*/ 65 h 604"/>
                <a:gd name="T74" fmla="*/ 54 w 1029"/>
                <a:gd name="T75" fmla="*/ 61 h 604"/>
                <a:gd name="T76" fmla="*/ 49 w 1029"/>
                <a:gd name="T77" fmla="*/ 56 h 604"/>
                <a:gd name="T78" fmla="*/ 42 w 1029"/>
                <a:gd name="T79" fmla="*/ 51 h 604"/>
                <a:gd name="T80" fmla="*/ 38 w 1029"/>
                <a:gd name="T81" fmla="*/ 49 h 604"/>
                <a:gd name="T82" fmla="*/ 41 w 1029"/>
                <a:gd name="T83" fmla="*/ 47 h 604"/>
                <a:gd name="T84" fmla="*/ 48 w 1029"/>
                <a:gd name="T85" fmla="*/ 43 h 604"/>
                <a:gd name="T86" fmla="*/ 52 w 1029"/>
                <a:gd name="T87" fmla="*/ 41 h 604"/>
                <a:gd name="T88" fmla="*/ 60 w 1029"/>
                <a:gd name="T89" fmla="*/ 41 h 604"/>
                <a:gd name="T90" fmla="*/ 64 w 1029"/>
                <a:gd name="T91" fmla="*/ 42 h 604"/>
                <a:gd name="T92" fmla="*/ 71 w 1029"/>
                <a:gd name="T93" fmla="*/ 42 h 604"/>
                <a:gd name="T94" fmla="*/ 60 w 1029"/>
                <a:gd name="T95" fmla="*/ 38 h 604"/>
                <a:gd name="T96" fmla="*/ 56 w 1029"/>
                <a:gd name="T97" fmla="*/ 39 h 604"/>
                <a:gd name="T98" fmla="*/ 56 w 1029"/>
                <a:gd name="T99" fmla="*/ 38 h 604"/>
                <a:gd name="T100" fmla="*/ 60 w 1029"/>
                <a:gd name="T101" fmla="*/ 33 h 604"/>
                <a:gd name="T102" fmla="*/ 60 w 1029"/>
                <a:gd name="T103" fmla="*/ 30 h 604"/>
                <a:gd name="T104" fmla="*/ 54 w 1029"/>
                <a:gd name="T105" fmla="*/ 27 h 604"/>
                <a:gd name="T106" fmla="*/ 49 w 1029"/>
                <a:gd name="T107" fmla="*/ 21 h 604"/>
                <a:gd name="T108" fmla="*/ 45 w 1029"/>
                <a:gd name="T109" fmla="*/ 18 h 604"/>
                <a:gd name="T110" fmla="*/ 42 w 1029"/>
                <a:gd name="T111" fmla="*/ 17 h 604"/>
                <a:gd name="T112" fmla="*/ 39 w 1029"/>
                <a:gd name="T113" fmla="*/ 22 h 604"/>
                <a:gd name="T114" fmla="*/ 22 w 1029"/>
                <a:gd name="T115" fmla="*/ 19 h 604"/>
                <a:gd name="T116" fmla="*/ 12 w 1029"/>
                <a:gd name="T117" fmla="*/ 20 h 604"/>
                <a:gd name="T118" fmla="*/ 8 w 1029"/>
                <a:gd name="T119" fmla="*/ 20 h 604"/>
                <a:gd name="T120" fmla="*/ 2 w 1029"/>
                <a:gd name="T121" fmla="*/ 19 h 604"/>
                <a:gd name="T122" fmla="*/ 1 w 1029"/>
                <a:gd name="T123" fmla="*/ 17 h 604"/>
                <a:gd name="T124" fmla="*/ 8 w 1029"/>
                <a:gd name="T125" fmla="*/ 16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88" name="Freeform 417">
              <a:extLst>
                <a:ext uri="{FF2B5EF4-FFF2-40B4-BE49-F238E27FC236}">
                  <a16:creationId xmlns:a16="http://schemas.microsoft.com/office/drawing/2014/main" id="{E8088468-4EDC-4221-9EDE-AFB9237F772D}"/>
                </a:ext>
              </a:extLst>
            </p:cNvPr>
            <p:cNvSpPr>
              <a:spLocks/>
            </p:cNvSpPr>
            <p:nvPr/>
          </p:nvSpPr>
          <p:spPr bwMode="auto">
            <a:xfrm>
              <a:off x="1526" y="1110"/>
              <a:ext cx="406" cy="105"/>
            </a:xfrm>
            <a:custGeom>
              <a:avLst/>
              <a:gdLst>
                <a:gd name="T0" fmla="*/ 83 w 1268"/>
                <a:gd name="T1" fmla="*/ 4 h 321"/>
                <a:gd name="T2" fmla="*/ 85 w 1268"/>
                <a:gd name="T3" fmla="*/ 2 h 321"/>
                <a:gd name="T4" fmla="*/ 88 w 1268"/>
                <a:gd name="T5" fmla="*/ 1 h 321"/>
                <a:gd name="T6" fmla="*/ 90 w 1268"/>
                <a:gd name="T7" fmla="*/ 3 h 321"/>
                <a:gd name="T8" fmla="*/ 98 w 1268"/>
                <a:gd name="T9" fmla="*/ 2 h 321"/>
                <a:gd name="T10" fmla="*/ 106 w 1268"/>
                <a:gd name="T11" fmla="*/ 0 h 321"/>
                <a:gd name="T12" fmla="*/ 113 w 1268"/>
                <a:gd name="T13" fmla="*/ 2 h 321"/>
                <a:gd name="T14" fmla="*/ 118 w 1268"/>
                <a:gd name="T15" fmla="*/ 2 h 321"/>
                <a:gd name="T16" fmla="*/ 132 w 1268"/>
                <a:gd name="T17" fmla="*/ 3 h 321"/>
                <a:gd name="T18" fmla="*/ 129 w 1268"/>
                <a:gd name="T19" fmla="*/ 5 h 321"/>
                <a:gd name="T20" fmla="*/ 121 w 1268"/>
                <a:gd name="T21" fmla="*/ 7 h 321"/>
                <a:gd name="T22" fmla="*/ 110 w 1268"/>
                <a:gd name="T23" fmla="*/ 8 h 321"/>
                <a:gd name="T24" fmla="*/ 107 w 1268"/>
                <a:gd name="T25" fmla="*/ 10 h 321"/>
                <a:gd name="T26" fmla="*/ 104 w 1268"/>
                <a:gd name="T27" fmla="*/ 11 h 321"/>
                <a:gd name="T28" fmla="*/ 98 w 1268"/>
                <a:gd name="T29" fmla="*/ 11 h 321"/>
                <a:gd name="T30" fmla="*/ 97 w 1268"/>
                <a:gd name="T31" fmla="*/ 13 h 321"/>
                <a:gd name="T32" fmla="*/ 78 w 1268"/>
                <a:gd name="T33" fmla="*/ 14 h 321"/>
                <a:gd name="T34" fmla="*/ 69 w 1268"/>
                <a:gd name="T35" fmla="*/ 17 h 321"/>
                <a:gd name="T36" fmla="*/ 66 w 1268"/>
                <a:gd name="T37" fmla="*/ 19 h 321"/>
                <a:gd name="T38" fmla="*/ 62 w 1268"/>
                <a:gd name="T39" fmla="*/ 18 h 321"/>
                <a:gd name="T40" fmla="*/ 59 w 1268"/>
                <a:gd name="T41" fmla="*/ 19 h 321"/>
                <a:gd name="T42" fmla="*/ 61 w 1268"/>
                <a:gd name="T43" fmla="*/ 22 h 321"/>
                <a:gd name="T44" fmla="*/ 57 w 1268"/>
                <a:gd name="T45" fmla="*/ 26 h 321"/>
                <a:gd name="T46" fmla="*/ 50 w 1268"/>
                <a:gd name="T47" fmla="*/ 25 h 321"/>
                <a:gd name="T48" fmla="*/ 42 w 1268"/>
                <a:gd name="T49" fmla="*/ 26 h 321"/>
                <a:gd name="T50" fmla="*/ 42 w 1268"/>
                <a:gd name="T51" fmla="*/ 27 h 321"/>
                <a:gd name="T52" fmla="*/ 41 w 1268"/>
                <a:gd name="T53" fmla="*/ 31 h 321"/>
                <a:gd name="T54" fmla="*/ 35 w 1268"/>
                <a:gd name="T55" fmla="*/ 34 h 321"/>
                <a:gd name="T56" fmla="*/ 30 w 1268"/>
                <a:gd name="T57" fmla="*/ 32 h 321"/>
                <a:gd name="T58" fmla="*/ 26 w 1268"/>
                <a:gd name="T59" fmla="*/ 30 h 321"/>
                <a:gd name="T60" fmla="*/ 10 w 1268"/>
                <a:gd name="T61" fmla="*/ 29 h 321"/>
                <a:gd name="T62" fmla="*/ 0 w 1268"/>
                <a:gd name="T63" fmla="*/ 30 h 321"/>
                <a:gd name="T64" fmla="*/ 1 w 1268"/>
                <a:gd name="T65" fmla="*/ 28 h 321"/>
                <a:gd name="T66" fmla="*/ 6 w 1268"/>
                <a:gd name="T67" fmla="*/ 26 h 321"/>
                <a:gd name="T68" fmla="*/ 15 w 1268"/>
                <a:gd name="T69" fmla="*/ 25 h 321"/>
                <a:gd name="T70" fmla="*/ 18 w 1268"/>
                <a:gd name="T71" fmla="*/ 24 h 321"/>
                <a:gd name="T72" fmla="*/ 20 w 1268"/>
                <a:gd name="T73" fmla="*/ 23 h 321"/>
                <a:gd name="T74" fmla="*/ 23 w 1268"/>
                <a:gd name="T75" fmla="*/ 25 h 321"/>
                <a:gd name="T76" fmla="*/ 26 w 1268"/>
                <a:gd name="T77" fmla="*/ 26 h 321"/>
                <a:gd name="T78" fmla="*/ 22 w 1268"/>
                <a:gd name="T79" fmla="*/ 22 h 321"/>
                <a:gd name="T80" fmla="*/ 20 w 1268"/>
                <a:gd name="T81" fmla="*/ 21 h 321"/>
                <a:gd name="T82" fmla="*/ 21 w 1268"/>
                <a:gd name="T83" fmla="*/ 19 h 321"/>
                <a:gd name="T84" fmla="*/ 25 w 1268"/>
                <a:gd name="T85" fmla="*/ 19 h 321"/>
                <a:gd name="T86" fmla="*/ 38 w 1268"/>
                <a:gd name="T87" fmla="*/ 20 h 321"/>
                <a:gd name="T88" fmla="*/ 44 w 1268"/>
                <a:gd name="T89" fmla="*/ 19 h 321"/>
                <a:gd name="T90" fmla="*/ 34 w 1268"/>
                <a:gd name="T91" fmla="*/ 18 h 321"/>
                <a:gd name="T92" fmla="*/ 31 w 1268"/>
                <a:gd name="T93" fmla="*/ 16 h 321"/>
                <a:gd name="T94" fmla="*/ 39 w 1268"/>
                <a:gd name="T95" fmla="*/ 15 h 321"/>
                <a:gd name="T96" fmla="*/ 45 w 1268"/>
                <a:gd name="T97" fmla="*/ 17 h 321"/>
                <a:gd name="T98" fmla="*/ 50 w 1268"/>
                <a:gd name="T99" fmla="*/ 13 h 321"/>
                <a:gd name="T100" fmla="*/ 69 w 1268"/>
                <a:gd name="T101" fmla="*/ 9 h 321"/>
                <a:gd name="T102" fmla="*/ 61 w 1268"/>
                <a:gd name="T103" fmla="*/ 12 h 321"/>
                <a:gd name="T104" fmla="*/ 47 w 1268"/>
                <a:gd name="T105" fmla="*/ 12 h 321"/>
                <a:gd name="T106" fmla="*/ 33 w 1268"/>
                <a:gd name="T107" fmla="*/ 12 h 321"/>
                <a:gd name="T108" fmla="*/ 26 w 1268"/>
                <a:gd name="T109" fmla="*/ 11 h 321"/>
                <a:gd name="T110" fmla="*/ 23 w 1268"/>
                <a:gd name="T111" fmla="*/ 9 h 321"/>
                <a:gd name="T112" fmla="*/ 26 w 1268"/>
                <a:gd name="T113" fmla="*/ 8 h 321"/>
                <a:gd name="T114" fmla="*/ 46 w 1268"/>
                <a:gd name="T115" fmla="*/ 5 h 321"/>
                <a:gd name="T116" fmla="*/ 64 w 1268"/>
                <a:gd name="T117" fmla="*/ 3 h 321"/>
                <a:gd name="T118" fmla="*/ 70 w 1268"/>
                <a:gd name="T119" fmla="*/ 2 h 321"/>
                <a:gd name="T120" fmla="*/ 79 w 1268"/>
                <a:gd name="T121" fmla="*/ 3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89" name="Freeform 418">
              <a:extLst>
                <a:ext uri="{FF2B5EF4-FFF2-40B4-BE49-F238E27FC236}">
                  <a16:creationId xmlns:a16="http://schemas.microsoft.com/office/drawing/2014/main" id="{2DF0911C-213A-43E4-95AA-1CAE786D64FD}"/>
                </a:ext>
              </a:extLst>
            </p:cNvPr>
            <p:cNvSpPr>
              <a:spLocks/>
            </p:cNvSpPr>
            <p:nvPr/>
          </p:nvSpPr>
          <p:spPr bwMode="auto">
            <a:xfrm>
              <a:off x="551" y="1660"/>
              <a:ext cx="48" cy="38"/>
            </a:xfrm>
            <a:custGeom>
              <a:avLst/>
              <a:gdLst>
                <a:gd name="T0" fmla="*/ 0 w 160"/>
                <a:gd name="T1" fmla="*/ 0 h 117"/>
                <a:gd name="T2" fmla="*/ 0 w 160"/>
                <a:gd name="T3" fmla="*/ 1 h 117"/>
                <a:gd name="T4" fmla="*/ 0 w 160"/>
                <a:gd name="T5" fmla="*/ 2 h 117"/>
                <a:gd name="T6" fmla="*/ 1 w 160"/>
                <a:gd name="T7" fmla="*/ 3 h 117"/>
                <a:gd name="T8" fmla="*/ 2 w 160"/>
                <a:gd name="T9" fmla="*/ 4 h 117"/>
                <a:gd name="T10" fmla="*/ 2 w 160"/>
                <a:gd name="T11" fmla="*/ 5 h 117"/>
                <a:gd name="T12" fmla="*/ 3 w 160"/>
                <a:gd name="T13" fmla="*/ 6 h 117"/>
                <a:gd name="T14" fmla="*/ 4 w 160"/>
                <a:gd name="T15" fmla="*/ 7 h 117"/>
                <a:gd name="T16" fmla="*/ 5 w 160"/>
                <a:gd name="T17" fmla="*/ 8 h 117"/>
                <a:gd name="T18" fmla="*/ 6 w 160"/>
                <a:gd name="T19" fmla="*/ 9 h 117"/>
                <a:gd name="T20" fmla="*/ 7 w 160"/>
                <a:gd name="T21" fmla="*/ 10 h 117"/>
                <a:gd name="T22" fmla="*/ 9 w 160"/>
                <a:gd name="T23" fmla="*/ 10 h 117"/>
                <a:gd name="T24" fmla="*/ 10 w 160"/>
                <a:gd name="T25" fmla="*/ 11 h 117"/>
                <a:gd name="T26" fmla="*/ 11 w 160"/>
                <a:gd name="T27" fmla="*/ 12 h 117"/>
                <a:gd name="T28" fmla="*/ 12 w 160"/>
                <a:gd name="T29" fmla="*/ 12 h 117"/>
                <a:gd name="T30" fmla="*/ 13 w 160"/>
                <a:gd name="T31" fmla="*/ 12 h 117"/>
                <a:gd name="T32" fmla="*/ 13 w 160"/>
                <a:gd name="T33" fmla="*/ 12 h 117"/>
                <a:gd name="T34" fmla="*/ 14 w 160"/>
                <a:gd name="T35" fmla="*/ 12 h 117"/>
                <a:gd name="T36" fmla="*/ 15 w 160"/>
                <a:gd name="T37" fmla="*/ 12 h 117"/>
                <a:gd name="T38" fmla="*/ 16 w 160"/>
                <a:gd name="T39" fmla="*/ 12 h 117"/>
                <a:gd name="T40" fmla="*/ 16 w 160"/>
                <a:gd name="T41" fmla="*/ 11 h 117"/>
                <a:gd name="T42" fmla="*/ 15 w 160"/>
                <a:gd name="T43" fmla="*/ 10 h 117"/>
                <a:gd name="T44" fmla="*/ 14 w 160"/>
                <a:gd name="T45" fmla="*/ 8 h 117"/>
                <a:gd name="T46" fmla="*/ 14 w 160"/>
                <a:gd name="T47" fmla="*/ 8 h 117"/>
                <a:gd name="T48" fmla="*/ 14 w 160"/>
                <a:gd name="T49" fmla="*/ 7 h 117"/>
                <a:gd name="T50" fmla="*/ 13 w 160"/>
                <a:gd name="T51" fmla="*/ 6 h 117"/>
                <a:gd name="T52" fmla="*/ 13 w 160"/>
                <a:gd name="T53" fmla="*/ 5 h 117"/>
                <a:gd name="T54" fmla="*/ 13 w 160"/>
                <a:gd name="T55" fmla="*/ 5 h 117"/>
                <a:gd name="T56" fmla="*/ 12 w 160"/>
                <a:gd name="T57" fmla="*/ 5 h 117"/>
                <a:gd name="T58" fmla="*/ 11 w 160"/>
                <a:gd name="T59" fmla="*/ 4 h 117"/>
                <a:gd name="T60" fmla="*/ 10 w 160"/>
                <a:gd name="T61" fmla="*/ 4 h 117"/>
                <a:gd name="T62" fmla="*/ 9 w 160"/>
                <a:gd name="T63" fmla="*/ 3 h 117"/>
                <a:gd name="T64" fmla="*/ 8 w 160"/>
                <a:gd name="T65" fmla="*/ 2 h 117"/>
                <a:gd name="T66" fmla="*/ 8 w 160"/>
                <a:gd name="T67" fmla="*/ 2 h 117"/>
                <a:gd name="T68" fmla="*/ 7 w 160"/>
                <a:gd name="T69" fmla="*/ 1 h 117"/>
                <a:gd name="T70" fmla="*/ 7 w 160"/>
                <a:gd name="T71" fmla="*/ 1 h 117"/>
                <a:gd name="T72" fmla="*/ 7 w 160"/>
                <a:gd name="T73" fmla="*/ 1 h 117"/>
                <a:gd name="T74" fmla="*/ 6 w 160"/>
                <a:gd name="T75" fmla="*/ 1 h 117"/>
                <a:gd name="T76" fmla="*/ 5 w 160"/>
                <a:gd name="T77" fmla="*/ 1 h 117"/>
                <a:gd name="T78" fmla="*/ 4 w 160"/>
                <a:gd name="T79" fmla="*/ 0 h 117"/>
                <a:gd name="T80" fmla="*/ 4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90" name="Freeform 419">
              <a:extLst>
                <a:ext uri="{FF2B5EF4-FFF2-40B4-BE49-F238E27FC236}">
                  <a16:creationId xmlns:a16="http://schemas.microsoft.com/office/drawing/2014/main" id="{1802B22A-413F-4722-9200-C0853286CD5F}"/>
                </a:ext>
              </a:extLst>
            </p:cNvPr>
            <p:cNvSpPr>
              <a:spLocks/>
            </p:cNvSpPr>
            <p:nvPr/>
          </p:nvSpPr>
          <p:spPr bwMode="auto">
            <a:xfrm>
              <a:off x="527" y="1592"/>
              <a:ext cx="26" cy="46"/>
            </a:xfrm>
            <a:custGeom>
              <a:avLst/>
              <a:gdLst>
                <a:gd name="T0" fmla="*/ 4 w 80"/>
                <a:gd name="T1" fmla="*/ 13 h 141"/>
                <a:gd name="T2" fmla="*/ 8 w 80"/>
                <a:gd name="T3" fmla="*/ 4 h 141"/>
                <a:gd name="T4" fmla="*/ 8 w 80"/>
                <a:gd name="T5" fmla="*/ 2 h 141"/>
                <a:gd name="T6" fmla="*/ 7 w 80"/>
                <a:gd name="T7" fmla="*/ 2 h 141"/>
                <a:gd name="T8" fmla="*/ 6 w 80"/>
                <a:gd name="T9" fmla="*/ 2 h 141"/>
                <a:gd name="T10" fmla="*/ 6 w 80"/>
                <a:gd name="T11" fmla="*/ 2 h 141"/>
                <a:gd name="T12" fmla="*/ 5 w 80"/>
                <a:gd name="T13" fmla="*/ 1 h 141"/>
                <a:gd name="T14" fmla="*/ 5 w 80"/>
                <a:gd name="T15" fmla="*/ 1 h 141"/>
                <a:gd name="T16" fmla="*/ 5 w 80"/>
                <a:gd name="T17" fmla="*/ 1 h 141"/>
                <a:gd name="T18" fmla="*/ 4 w 80"/>
                <a:gd name="T19" fmla="*/ 0 h 141"/>
                <a:gd name="T20" fmla="*/ 4 w 80"/>
                <a:gd name="T21" fmla="*/ 0 h 141"/>
                <a:gd name="T22" fmla="*/ 0 w 80"/>
                <a:gd name="T23" fmla="*/ 0 h 141"/>
                <a:gd name="T24" fmla="*/ 0 w 80"/>
                <a:gd name="T25" fmla="*/ 3 h 141"/>
                <a:gd name="T26" fmla="*/ 0 w 80"/>
                <a:gd name="T27" fmla="*/ 4 h 141"/>
                <a:gd name="T28" fmla="*/ 0 w 80"/>
                <a:gd name="T29" fmla="*/ 6 h 141"/>
                <a:gd name="T30" fmla="*/ 0 w 80"/>
                <a:gd name="T31" fmla="*/ 7 h 141"/>
                <a:gd name="T32" fmla="*/ 0 w 80"/>
                <a:gd name="T33" fmla="*/ 8 h 141"/>
                <a:gd name="T34" fmla="*/ 0 w 80"/>
                <a:gd name="T35" fmla="*/ 8 h 141"/>
                <a:gd name="T36" fmla="*/ 1 w 80"/>
                <a:gd name="T37" fmla="*/ 9 h 141"/>
                <a:gd name="T38" fmla="*/ 1 w 80"/>
                <a:gd name="T39" fmla="*/ 10 h 141"/>
                <a:gd name="T40" fmla="*/ 2 w 80"/>
                <a:gd name="T41" fmla="*/ 13 h 141"/>
                <a:gd name="T42" fmla="*/ 3 w 80"/>
                <a:gd name="T43" fmla="*/ 15 h 141"/>
                <a:gd name="T44" fmla="*/ 3 w 80"/>
                <a:gd name="T45" fmla="*/ 14 h 141"/>
                <a:gd name="T46" fmla="*/ 4 w 80"/>
                <a:gd name="T47" fmla="*/ 14 h 141"/>
                <a:gd name="T48" fmla="*/ 4 w 80"/>
                <a:gd name="T49" fmla="*/ 13 h 141"/>
                <a:gd name="T50" fmla="*/ 4 w 80"/>
                <a:gd name="T51" fmla="*/ 13 h 141"/>
                <a:gd name="T52" fmla="*/ 4 w 80"/>
                <a:gd name="T53" fmla="*/ 13 h 141"/>
                <a:gd name="T54" fmla="*/ 4 w 80"/>
                <a:gd name="T55" fmla="*/ 13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91" name="Freeform 420">
              <a:extLst>
                <a:ext uri="{FF2B5EF4-FFF2-40B4-BE49-F238E27FC236}">
                  <a16:creationId xmlns:a16="http://schemas.microsoft.com/office/drawing/2014/main" id="{317DC80B-AFB9-4181-AFC6-AD13711A4F53}"/>
                </a:ext>
              </a:extLst>
            </p:cNvPr>
            <p:cNvSpPr>
              <a:spLocks/>
            </p:cNvSpPr>
            <p:nvPr/>
          </p:nvSpPr>
          <p:spPr bwMode="auto">
            <a:xfrm>
              <a:off x="1379" y="1383"/>
              <a:ext cx="83" cy="41"/>
            </a:xfrm>
            <a:custGeom>
              <a:avLst/>
              <a:gdLst>
                <a:gd name="T0" fmla="*/ 0 w 259"/>
                <a:gd name="T1" fmla="*/ 10 h 124"/>
                <a:gd name="T2" fmla="*/ 0 w 259"/>
                <a:gd name="T3" fmla="*/ 11 h 124"/>
                <a:gd name="T4" fmla="*/ 0 w 259"/>
                <a:gd name="T5" fmla="*/ 11 h 124"/>
                <a:gd name="T6" fmla="*/ 0 w 259"/>
                <a:gd name="T7" fmla="*/ 11 h 124"/>
                <a:gd name="T8" fmla="*/ 1 w 259"/>
                <a:gd name="T9" fmla="*/ 12 h 124"/>
                <a:gd name="T10" fmla="*/ 1 w 259"/>
                <a:gd name="T11" fmla="*/ 12 h 124"/>
                <a:gd name="T12" fmla="*/ 2 w 259"/>
                <a:gd name="T13" fmla="*/ 13 h 124"/>
                <a:gd name="T14" fmla="*/ 3 w 259"/>
                <a:gd name="T15" fmla="*/ 13 h 124"/>
                <a:gd name="T16" fmla="*/ 4 w 259"/>
                <a:gd name="T17" fmla="*/ 13 h 124"/>
                <a:gd name="T18" fmla="*/ 5 w 259"/>
                <a:gd name="T19" fmla="*/ 14 h 124"/>
                <a:gd name="T20" fmla="*/ 6 w 259"/>
                <a:gd name="T21" fmla="*/ 14 h 124"/>
                <a:gd name="T22" fmla="*/ 7 w 259"/>
                <a:gd name="T23" fmla="*/ 14 h 124"/>
                <a:gd name="T24" fmla="*/ 8 w 259"/>
                <a:gd name="T25" fmla="*/ 14 h 124"/>
                <a:gd name="T26" fmla="*/ 8 w 259"/>
                <a:gd name="T27" fmla="*/ 13 h 124"/>
                <a:gd name="T28" fmla="*/ 9 w 259"/>
                <a:gd name="T29" fmla="*/ 13 h 124"/>
                <a:gd name="T30" fmla="*/ 10 w 259"/>
                <a:gd name="T31" fmla="*/ 13 h 124"/>
                <a:gd name="T32" fmla="*/ 11 w 259"/>
                <a:gd name="T33" fmla="*/ 12 h 124"/>
                <a:gd name="T34" fmla="*/ 12 w 259"/>
                <a:gd name="T35" fmla="*/ 11 h 124"/>
                <a:gd name="T36" fmla="*/ 13 w 259"/>
                <a:gd name="T37" fmla="*/ 11 h 124"/>
                <a:gd name="T38" fmla="*/ 13 w 259"/>
                <a:gd name="T39" fmla="*/ 11 h 124"/>
                <a:gd name="T40" fmla="*/ 14 w 259"/>
                <a:gd name="T41" fmla="*/ 10 h 124"/>
                <a:gd name="T42" fmla="*/ 15 w 259"/>
                <a:gd name="T43" fmla="*/ 10 h 124"/>
                <a:gd name="T44" fmla="*/ 16 w 259"/>
                <a:gd name="T45" fmla="*/ 10 h 124"/>
                <a:gd name="T46" fmla="*/ 17 w 259"/>
                <a:gd name="T47" fmla="*/ 10 h 124"/>
                <a:gd name="T48" fmla="*/ 18 w 259"/>
                <a:gd name="T49" fmla="*/ 11 h 124"/>
                <a:gd name="T50" fmla="*/ 19 w 259"/>
                <a:gd name="T51" fmla="*/ 11 h 124"/>
                <a:gd name="T52" fmla="*/ 19 w 259"/>
                <a:gd name="T53" fmla="*/ 11 h 124"/>
                <a:gd name="T54" fmla="*/ 21 w 259"/>
                <a:gd name="T55" fmla="*/ 12 h 124"/>
                <a:gd name="T56" fmla="*/ 22 w 259"/>
                <a:gd name="T57" fmla="*/ 13 h 124"/>
                <a:gd name="T58" fmla="*/ 27 w 259"/>
                <a:gd name="T59" fmla="*/ 13 h 124"/>
                <a:gd name="T60" fmla="*/ 27 w 259"/>
                <a:gd name="T61" fmla="*/ 11 h 124"/>
                <a:gd name="T62" fmla="*/ 26 w 259"/>
                <a:gd name="T63" fmla="*/ 11 h 124"/>
                <a:gd name="T64" fmla="*/ 25 w 259"/>
                <a:gd name="T65" fmla="*/ 11 h 124"/>
                <a:gd name="T66" fmla="*/ 24 w 259"/>
                <a:gd name="T67" fmla="*/ 10 h 124"/>
                <a:gd name="T68" fmla="*/ 23 w 259"/>
                <a:gd name="T69" fmla="*/ 10 h 124"/>
                <a:gd name="T70" fmla="*/ 24 w 259"/>
                <a:gd name="T71" fmla="*/ 9 h 124"/>
                <a:gd name="T72" fmla="*/ 24 w 259"/>
                <a:gd name="T73" fmla="*/ 9 h 124"/>
                <a:gd name="T74" fmla="*/ 25 w 259"/>
                <a:gd name="T75" fmla="*/ 8 h 124"/>
                <a:gd name="T76" fmla="*/ 25 w 259"/>
                <a:gd name="T77" fmla="*/ 8 h 124"/>
                <a:gd name="T78" fmla="*/ 24 w 259"/>
                <a:gd name="T79" fmla="*/ 7 h 124"/>
                <a:gd name="T80" fmla="*/ 24 w 259"/>
                <a:gd name="T81" fmla="*/ 6 h 124"/>
                <a:gd name="T82" fmla="*/ 23 w 259"/>
                <a:gd name="T83" fmla="*/ 6 h 124"/>
                <a:gd name="T84" fmla="*/ 22 w 259"/>
                <a:gd name="T85" fmla="*/ 5 h 124"/>
                <a:gd name="T86" fmla="*/ 20 w 259"/>
                <a:gd name="T87" fmla="*/ 4 h 124"/>
                <a:gd name="T88" fmla="*/ 19 w 259"/>
                <a:gd name="T89" fmla="*/ 3 h 124"/>
                <a:gd name="T90" fmla="*/ 17 w 259"/>
                <a:gd name="T91" fmla="*/ 3 h 124"/>
                <a:gd name="T92" fmla="*/ 16 w 259"/>
                <a:gd name="T93" fmla="*/ 2 h 124"/>
                <a:gd name="T94" fmla="*/ 15 w 259"/>
                <a:gd name="T95" fmla="*/ 1 h 124"/>
                <a:gd name="T96" fmla="*/ 14 w 259"/>
                <a:gd name="T97" fmla="*/ 1 h 124"/>
                <a:gd name="T98" fmla="*/ 14 w 259"/>
                <a:gd name="T99" fmla="*/ 1 h 124"/>
                <a:gd name="T100" fmla="*/ 13 w 259"/>
                <a:gd name="T101" fmla="*/ 0 h 124"/>
                <a:gd name="T102" fmla="*/ 13 w 259"/>
                <a:gd name="T103" fmla="*/ 0 h 124"/>
                <a:gd name="T104" fmla="*/ 12 w 259"/>
                <a:gd name="T105" fmla="*/ 1 h 124"/>
                <a:gd name="T106" fmla="*/ 11 w 259"/>
                <a:gd name="T107" fmla="*/ 1 h 124"/>
                <a:gd name="T108" fmla="*/ 10 w 259"/>
                <a:gd name="T109" fmla="*/ 2 h 124"/>
                <a:gd name="T110" fmla="*/ 8 w 259"/>
                <a:gd name="T111" fmla="*/ 3 h 124"/>
                <a:gd name="T112" fmla="*/ 6 w 259"/>
                <a:gd name="T113" fmla="*/ 5 h 124"/>
                <a:gd name="T114" fmla="*/ 4 w 259"/>
                <a:gd name="T115" fmla="*/ 6 h 124"/>
                <a:gd name="T116" fmla="*/ 2 w 259"/>
                <a:gd name="T117" fmla="*/ 8 h 124"/>
                <a:gd name="T118" fmla="*/ 1 w 259"/>
                <a:gd name="T119" fmla="*/ 9 h 124"/>
                <a:gd name="T120" fmla="*/ 0 w 259"/>
                <a:gd name="T121" fmla="*/ 10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92" name="Freeform 421">
              <a:extLst>
                <a:ext uri="{FF2B5EF4-FFF2-40B4-BE49-F238E27FC236}">
                  <a16:creationId xmlns:a16="http://schemas.microsoft.com/office/drawing/2014/main" id="{8E5A3945-4C3F-4B1B-8130-C2954C63DF8C}"/>
                </a:ext>
              </a:extLst>
            </p:cNvPr>
            <p:cNvSpPr>
              <a:spLocks/>
            </p:cNvSpPr>
            <p:nvPr/>
          </p:nvSpPr>
          <p:spPr bwMode="auto">
            <a:xfrm>
              <a:off x="1507" y="1389"/>
              <a:ext cx="38" cy="22"/>
            </a:xfrm>
            <a:custGeom>
              <a:avLst/>
              <a:gdLst>
                <a:gd name="T0" fmla="*/ 0 w 119"/>
                <a:gd name="T1" fmla="*/ 4 h 57"/>
                <a:gd name="T2" fmla="*/ 1 w 119"/>
                <a:gd name="T3" fmla="*/ 4 h 57"/>
                <a:gd name="T4" fmla="*/ 1 w 119"/>
                <a:gd name="T5" fmla="*/ 4 h 57"/>
                <a:gd name="T6" fmla="*/ 2 w 119"/>
                <a:gd name="T7" fmla="*/ 5 h 57"/>
                <a:gd name="T8" fmla="*/ 3 w 119"/>
                <a:gd name="T9" fmla="*/ 5 h 57"/>
                <a:gd name="T10" fmla="*/ 3 w 119"/>
                <a:gd name="T11" fmla="*/ 6 h 57"/>
                <a:gd name="T12" fmla="*/ 4 w 119"/>
                <a:gd name="T13" fmla="*/ 6 h 57"/>
                <a:gd name="T14" fmla="*/ 4 w 119"/>
                <a:gd name="T15" fmla="*/ 6 h 57"/>
                <a:gd name="T16" fmla="*/ 5 w 119"/>
                <a:gd name="T17" fmla="*/ 6 h 57"/>
                <a:gd name="T18" fmla="*/ 6 w 119"/>
                <a:gd name="T19" fmla="*/ 6 h 57"/>
                <a:gd name="T20" fmla="*/ 6 w 119"/>
                <a:gd name="T21" fmla="*/ 6 h 57"/>
                <a:gd name="T22" fmla="*/ 7 w 119"/>
                <a:gd name="T23" fmla="*/ 6 h 57"/>
                <a:gd name="T24" fmla="*/ 8 w 119"/>
                <a:gd name="T25" fmla="*/ 6 h 57"/>
                <a:gd name="T26" fmla="*/ 9 w 119"/>
                <a:gd name="T27" fmla="*/ 6 h 57"/>
                <a:gd name="T28" fmla="*/ 9 w 119"/>
                <a:gd name="T29" fmla="*/ 5 h 57"/>
                <a:gd name="T30" fmla="*/ 10 w 119"/>
                <a:gd name="T31" fmla="*/ 5 h 57"/>
                <a:gd name="T32" fmla="*/ 10 w 119"/>
                <a:gd name="T33" fmla="*/ 4 h 57"/>
                <a:gd name="T34" fmla="*/ 11 w 119"/>
                <a:gd name="T35" fmla="*/ 4 h 57"/>
                <a:gd name="T36" fmla="*/ 11 w 119"/>
                <a:gd name="T37" fmla="*/ 3 h 57"/>
                <a:gd name="T38" fmla="*/ 12 w 119"/>
                <a:gd name="T39" fmla="*/ 1 h 57"/>
                <a:gd name="T40" fmla="*/ 12 w 119"/>
                <a:gd name="T41" fmla="*/ 0 h 57"/>
                <a:gd name="T42" fmla="*/ 10 w 119"/>
                <a:gd name="T43" fmla="*/ 0 h 57"/>
                <a:gd name="T44" fmla="*/ 8 w 119"/>
                <a:gd name="T45" fmla="*/ 0 h 57"/>
                <a:gd name="T46" fmla="*/ 6 w 119"/>
                <a:gd name="T47" fmla="*/ 0 h 57"/>
                <a:gd name="T48" fmla="*/ 4 w 119"/>
                <a:gd name="T49" fmla="*/ 1 h 57"/>
                <a:gd name="T50" fmla="*/ 4 w 119"/>
                <a:gd name="T51" fmla="*/ 1 h 57"/>
                <a:gd name="T52" fmla="*/ 3 w 119"/>
                <a:gd name="T53" fmla="*/ 1 h 57"/>
                <a:gd name="T54" fmla="*/ 2 w 119"/>
                <a:gd name="T55" fmla="*/ 1 h 57"/>
                <a:gd name="T56" fmla="*/ 2 w 119"/>
                <a:gd name="T57" fmla="*/ 2 h 57"/>
                <a:gd name="T58" fmla="*/ 1 w 119"/>
                <a:gd name="T59" fmla="*/ 2 h 57"/>
                <a:gd name="T60" fmla="*/ 1 w 119"/>
                <a:gd name="T61" fmla="*/ 3 h 57"/>
                <a:gd name="T62" fmla="*/ 0 w 119"/>
                <a:gd name="T63" fmla="*/ 3 h 57"/>
                <a:gd name="T64" fmla="*/ 0 w 119"/>
                <a:gd name="T65" fmla="*/ 4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93" name="Freeform 422">
              <a:extLst>
                <a:ext uri="{FF2B5EF4-FFF2-40B4-BE49-F238E27FC236}">
                  <a16:creationId xmlns:a16="http://schemas.microsoft.com/office/drawing/2014/main" id="{74CEDD93-532F-45BE-B269-17B487275384}"/>
                </a:ext>
              </a:extLst>
            </p:cNvPr>
            <p:cNvSpPr>
              <a:spLocks/>
            </p:cNvSpPr>
            <p:nvPr/>
          </p:nvSpPr>
          <p:spPr bwMode="auto">
            <a:xfrm>
              <a:off x="1554" y="1335"/>
              <a:ext cx="30" cy="17"/>
            </a:xfrm>
            <a:custGeom>
              <a:avLst/>
              <a:gdLst>
                <a:gd name="T0" fmla="*/ 0 w 107"/>
                <a:gd name="T1" fmla="*/ 5 h 52"/>
                <a:gd name="T2" fmla="*/ 1 w 107"/>
                <a:gd name="T3" fmla="*/ 6 h 52"/>
                <a:gd name="T4" fmla="*/ 1 w 107"/>
                <a:gd name="T5" fmla="*/ 6 h 52"/>
                <a:gd name="T6" fmla="*/ 1 w 107"/>
                <a:gd name="T7" fmla="*/ 6 h 52"/>
                <a:gd name="T8" fmla="*/ 2 w 107"/>
                <a:gd name="T9" fmla="*/ 6 h 52"/>
                <a:gd name="T10" fmla="*/ 3 w 107"/>
                <a:gd name="T11" fmla="*/ 5 h 52"/>
                <a:gd name="T12" fmla="*/ 3 w 107"/>
                <a:gd name="T13" fmla="*/ 5 h 52"/>
                <a:gd name="T14" fmla="*/ 4 w 107"/>
                <a:gd name="T15" fmla="*/ 5 h 52"/>
                <a:gd name="T16" fmla="*/ 5 w 107"/>
                <a:gd name="T17" fmla="*/ 5 h 52"/>
                <a:gd name="T18" fmla="*/ 6 w 107"/>
                <a:gd name="T19" fmla="*/ 5 h 52"/>
                <a:gd name="T20" fmla="*/ 7 w 107"/>
                <a:gd name="T21" fmla="*/ 5 h 52"/>
                <a:gd name="T22" fmla="*/ 8 w 107"/>
                <a:gd name="T23" fmla="*/ 4 h 52"/>
                <a:gd name="T24" fmla="*/ 9 w 107"/>
                <a:gd name="T25" fmla="*/ 4 h 52"/>
                <a:gd name="T26" fmla="*/ 10 w 107"/>
                <a:gd name="T27" fmla="*/ 3 h 52"/>
                <a:gd name="T28" fmla="*/ 11 w 107"/>
                <a:gd name="T29" fmla="*/ 3 h 52"/>
                <a:gd name="T30" fmla="*/ 11 w 107"/>
                <a:gd name="T31" fmla="*/ 0 h 52"/>
                <a:gd name="T32" fmla="*/ 10 w 107"/>
                <a:gd name="T33" fmla="*/ 0 h 52"/>
                <a:gd name="T34" fmla="*/ 9 w 107"/>
                <a:gd name="T35" fmla="*/ 0 h 52"/>
                <a:gd name="T36" fmla="*/ 7 w 107"/>
                <a:gd name="T37" fmla="*/ 1 h 52"/>
                <a:gd name="T38" fmla="*/ 6 w 107"/>
                <a:gd name="T39" fmla="*/ 1 h 52"/>
                <a:gd name="T40" fmla="*/ 4 w 107"/>
                <a:gd name="T41" fmla="*/ 2 h 52"/>
                <a:gd name="T42" fmla="*/ 3 w 107"/>
                <a:gd name="T43" fmla="*/ 3 h 52"/>
                <a:gd name="T44" fmla="*/ 2 w 107"/>
                <a:gd name="T45" fmla="*/ 4 h 52"/>
                <a:gd name="T46" fmla="*/ 1 w 107"/>
                <a:gd name="T47" fmla="*/ 4 h 52"/>
                <a:gd name="T48" fmla="*/ 1 w 107"/>
                <a:gd name="T49" fmla="*/ 5 h 52"/>
                <a:gd name="T50" fmla="*/ 0 w 107"/>
                <a:gd name="T51" fmla="*/ 5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94" name="Freeform 423">
              <a:extLst>
                <a:ext uri="{FF2B5EF4-FFF2-40B4-BE49-F238E27FC236}">
                  <a16:creationId xmlns:a16="http://schemas.microsoft.com/office/drawing/2014/main" id="{7C0093FC-C3B3-41D6-A1D9-2E9122F8608A}"/>
                </a:ext>
              </a:extLst>
            </p:cNvPr>
            <p:cNvSpPr>
              <a:spLocks/>
            </p:cNvSpPr>
            <p:nvPr/>
          </p:nvSpPr>
          <p:spPr bwMode="auto">
            <a:xfrm>
              <a:off x="1381" y="1244"/>
              <a:ext cx="77" cy="32"/>
            </a:xfrm>
            <a:custGeom>
              <a:avLst/>
              <a:gdLst>
                <a:gd name="T0" fmla="*/ 3 w 246"/>
                <a:gd name="T1" fmla="*/ 10 h 99"/>
                <a:gd name="T2" fmla="*/ 2 w 246"/>
                <a:gd name="T3" fmla="*/ 10 h 99"/>
                <a:gd name="T4" fmla="*/ 2 w 246"/>
                <a:gd name="T5" fmla="*/ 10 h 99"/>
                <a:gd name="T6" fmla="*/ 1 w 246"/>
                <a:gd name="T7" fmla="*/ 10 h 99"/>
                <a:gd name="T8" fmla="*/ 1 w 246"/>
                <a:gd name="T9" fmla="*/ 9 h 99"/>
                <a:gd name="T10" fmla="*/ 1 w 246"/>
                <a:gd name="T11" fmla="*/ 9 h 99"/>
                <a:gd name="T12" fmla="*/ 0 w 246"/>
                <a:gd name="T13" fmla="*/ 9 h 99"/>
                <a:gd name="T14" fmla="*/ 0 w 246"/>
                <a:gd name="T15" fmla="*/ 8 h 99"/>
                <a:gd name="T16" fmla="*/ 0 w 246"/>
                <a:gd name="T17" fmla="*/ 8 h 99"/>
                <a:gd name="T18" fmla="*/ 0 w 246"/>
                <a:gd name="T19" fmla="*/ 7 h 99"/>
                <a:gd name="T20" fmla="*/ 0 w 246"/>
                <a:gd name="T21" fmla="*/ 7 h 99"/>
                <a:gd name="T22" fmla="*/ 0 w 246"/>
                <a:gd name="T23" fmla="*/ 6 h 99"/>
                <a:gd name="T24" fmla="*/ 1 w 246"/>
                <a:gd name="T25" fmla="*/ 6 h 99"/>
                <a:gd name="T26" fmla="*/ 1 w 246"/>
                <a:gd name="T27" fmla="*/ 5 h 99"/>
                <a:gd name="T28" fmla="*/ 2 w 246"/>
                <a:gd name="T29" fmla="*/ 4 h 99"/>
                <a:gd name="T30" fmla="*/ 3 w 246"/>
                <a:gd name="T31" fmla="*/ 4 h 99"/>
                <a:gd name="T32" fmla="*/ 4 w 246"/>
                <a:gd name="T33" fmla="*/ 3 h 99"/>
                <a:gd name="T34" fmla="*/ 5 w 246"/>
                <a:gd name="T35" fmla="*/ 2 h 99"/>
                <a:gd name="T36" fmla="*/ 6 w 246"/>
                <a:gd name="T37" fmla="*/ 2 h 99"/>
                <a:gd name="T38" fmla="*/ 7 w 246"/>
                <a:gd name="T39" fmla="*/ 2 h 99"/>
                <a:gd name="T40" fmla="*/ 8 w 246"/>
                <a:gd name="T41" fmla="*/ 1 h 99"/>
                <a:gd name="T42" fmla="*/ 10 w 246"/>
                <a:gd name="T43" fmla="*/ 1 h 99"/>
                <a:gd name="T44" fmla="*/ 11 w 246"/>
                <a:gd name="T45" fmla="*/ 0 h 99"/>
                <a:gd name="T46" fmla="*/ 13 w 246"/>
                <a:gd name="T47" fmla="*/ 0 h 99"/>
                <a:gd name="T48" fmla="*/ 14 w 246"/>
                <a:gd name="T49" fmla="*/ 0 h 99"/>
                <a:gd name="T50" fmla="*/ 17 w 246"/>
                <a:gd name="T51" fmla="*/ 0 h 99"/>
                <a:gd name="T52" fmla="*/ 20 w 246"/>
                <a:gd name="T53" fmla="*/ 0 h 99"/>
                <a:gd name="T54" fmla="*/ 22 w 246"/>
                <a:gd name="T55" fmla="*/ 0 h 99"/>
                <a:gd name="T56" fmla="*/ 25 w 246"/>
                <a:gd name="T57" fmla="*/ 1 h 99"/>
                <a:gd name="T58" fmla="*/ 25 w 246"/>
                <a:gd name="T59" fmla="*/ 1 h 99"/>
                <a:gd name="T60" fmla="*/ 25 w 246"/>
                <a:gd name="T61" fmla="*/ 2 h 99"/>
                <a:gd name="T62" fmla="*/ 24 w 246"/>
                <a:gd name="T63" fmla="*/ 2 h 99"/>
                <a:gd name="T64" fmla="*/ 24 w 246"/>
                <a:gd name="T65" fmla="*/ 3 h 99"/>
                <a:gd name="T66" fmla="*/ 22 w 246"/>
                <a:gd name="T67" fmla="*/ 4 h 99"/>
                <a:gd name="T68" fmla="*/ 21 w 246"/>
                <a:gd name="T69" fmla="*/ 5 h 99"/>
                <a:gd name="T70" fmla="*/ 19 w 246"/>
                <a:gd name="T71" fmla="*/ 6 h 99"/>
                <a:gd name="T72" fmla="*/ 17 w 246"/>
                <a:gd name="T73" fmla="*/ 6 h 99"/>
                <a:gd name="T74" fmla="*/ 16 w 246"/>
                <a:gd name="T75" fmla="*/ 7 h 99"/>
                <a:gd name="T76" fmla="*/ 15 w 246"/>
                <a:gd name="T77" fmla="*/ 7 h 99"/>
                <a:gd name="T78" fmla="*/ 14 w 246"/>
                <a:gd name="T79" fmla="*/ 7 h 99"/>
                <a:gd name="T80" fmla="*/ 13 w 246"/>
                <a:gd name="T81" fmla="*/ 7 h 99"/>
                <a:gd name="T82" fmla="*/ 13 w 246"/>
                <a:gd name="T83" fmla="*/ 7 h 99"/>
                <a:gd name="T84" fmla="*/ 11 w 246"/>
                <a:gd name="T85" fmla="*/ 7 h 99"/>
                <a:gd name="T86" fmla="*/ 10 w 246"/>
                <a:gd name="T87" fmla="*/ 7 h 99"/>
                <a:gd name="T88" fmla="*/ 10 w 246"/>
                <a:gd name="T89" fmla="*/ 7 h 99"/>
                <a:gd name="T90" fmla="*/ 9 w 246"/>
                <a:gd name="T91" fmla="*/ 7 h 99"/>
                <a:gd name="T92" fmla="*/ 8 w 246"/>
                <a:gd name="T93" fmla="*/ 7 h 99"/>
                <a:gd name="T94" fmla="*/ 7 w 246"/>
                <a:gd name="T95" fmla="*/ 8 h 99"/>
                <a:gd name="T96" fmla="*/ 6 w 246"/>
                <a:gd name="T97" fmla="*/ 9 h 99"/>
                <a:gd name="T98" fmla="*/ 5 w 246"/>
                <a:gd name="T99" fmla="*/ 9 h 99"/>
                <a:gd name="T100" fmla="*/ 4 w 246"/>
                <a:gd name="T101" fmla="*/ 10 h 99"/>
                <a:gd name="T102" fmla="*/ 4 w 246"/>
                <a:gd name="T103" fmla="*/ 10 h 99"/>
                <a:gd name="T104" fmla="*/ 3 w 246"/>
                <a:gd name="T105" fmla="*/ 10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95" name="Freeform 424">
              <a:extLst>
                <a:ext uri="{FF2B5EF4-FFF2-40B4-BE49-F238E27FC236}">
                  <a16:creationId xmlns:a16="http://schemas.microsoft.com/office/drawing/2014/main" id="{8A6E95D0-A230-402C-BDF0-E2E808AB898D}"/>
                </a:ext>
              </a:extLst>
            </p:cNvPr>
            <p:cNvSpPr>
              <a:spLocks/>
            </p:cNvSpPr>
            <p:nvPr/>
          </p:nvSpPr>
          <p:spPr bwMode="auto">
            <a:xfrm>
              <a:off x="1294" y="1248"/>
              <a:ext cx="76" cy="40"/>
            </a:xfrm>
            <a:custGeom>
              <a:avLst/>
              <a:gdLst>
                <a:gd name="T0" fmla="*/ 4 w 233"/>
                <a:gd name="T1" fmla="*/ 9 h 123"/>
                <a:gd name="T2" fmla="*/ 1 w 233"/>
                <a:gd name="T3" fmla="*/ 8 h 123"/>
                <a:gd name="T4" fmla="*/ 0 w 233"/>
                <a:gd name="T5" fmla="*/ 6 h 123"/>
                <a:gd name="T6" fmla="*/ 2 w 233"/>
                <a:gd name="T7" fmla="*/ 4 h 123"/>
                <a:gd name="T8" fmla="*/ 4 w 233"/>
                <a:gd name="T9" fmla="*/ 4 h 123"/>
                <a:gd name="T10" fmla="*/ 7 w 233"/>
                <a:gd name="T11" fmla="*/ 4 h 123"/>
                <a:gd name="T12" fmla="*/ 8 w 233"/>
                <a:gd name="T13" fmla="*/ 4 h 123"/>
                <a:gd name="T14" fmla="*/ 9 w 233"/>
                <a:gd name="T15" fmla="*/ 4 h 123"/>
                <a:gd name="T16" fmla="*/ 11 w 233"/>
                <a:gd name="T17" fmla="*/ 2 h 123"/>
                <a:gd name="T18" fmla="*/ 13 w 233"/>
                <a:gd name="T19" fmla="*/ 1 h 123"/>
                <a:gd name="T20" fmla="*/ 16 w 233"/>
                <a:gd name="T21" fmla="*/ 0 h 123"/>
                <a:gd name="T22" fmla="*/ 17 w 233"/>
                <a:gd name="T23" fmla="*/ 1 h 123"/>
                <a:gd name="T24" fmla="*/ 19 w 233"/>
                <a:gd name="T25" fmla="*/ 1 h 123"/>
                <a:gd name="T26" fmla="*/ 20 w 233"/>
                <a:gd name="T27" fmla="*/ 1 h 123"/>
                <a:gd name="T28" fmla="*/ 22 w 233"/>
                <a:gd name="T29" fmla="*/ 1 h 123"/>
                <a:gd name="T30" fmla="*/ 23 w 233"/>
                <a:gd name="T31" fmla="*/ 0 h 123"/>
                <a:gd name="T32" fmla="*/ 25 w 233"/>
                <a:gd name="T33" fmla="*/ 1 h 123"/>
                <a:gd name="T34" fmla="*/ 24 w 233"/>
                <a:gd name="T35" fmla="*/ 2 h 123"/>
                <a:gd name="T36" fmla="*/ 23 w 233"/>
                <a:gd name="T37" fmla="*/ 3 h 123"/>
                <a:gd name="T38" fmla="*/ 22 w 233"/>
                <a:gd name="T39" fmla="*/ 3 h 123"/>
                <a:gd name="T40" fmla="*/ 22 w 233"/>
                <a:gd name="T41" fmla="*/ 5 h 123"/>
                <a:gd name="T42" fmla="*/ 22 w 233"/>
                <a:gd name="T43" fmla="*/ 7 h 123"/>
                <a:gd name="T44" fmla="*/ 20 w 233"/>
                <a:gd name="T45" fmla="*/ 9 h 123"/>
                <a:gd name="T46" fmla="*/ 17 w 233"/>
                <a:gd name="T47" fmla="*/ 10 h 123"/>
                <a:gd name="T48" fmla="*/ 15 w 233"/>
                <a:gd name="T49" fmla="*/ 10 h 123"/>
                <a:gd name="T50" fmla="*/ 12 w 233"/>
                <a:gd name="T51" fmla="*/ 11 h 123"/>
                <a:gd name="T52" fmla="*/ 10 w 233"/>
                <a:gd name="T53" fmla="*/ 11 h 123"/>
                <a:gd name="T54" fmla="*/ 9 w 233"/>
                <a:gd name="T55" fmla="*/ 12 h 123"/>
                <a:gd name="T56" fmla="*/ 7 w 233"/>
                <a:gd name="T57" fmla="*/ 13 h 123"/>
                <a:gd name="T58" fmla="*/ 6 w 233"/>
                <a:gd name="T59" fmla="*/ 13 h 123"/>
                <a:gd name="T60" fmla="*/ 6 w 233"/>
                <a:gd name="T61" fmla="*/ 12 h 123"/>
                <a:gd name="T62" fmla="*/ 5 w 233"/>
                <a:gd name="T63" fmla="*/ 11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96" name="Freeform 425">
              <a:extLst>
                <a:ext uri="{FF2B5EF4-FFF2-40B4-BE49-F238E27FC236}">
                  <a16:creationId xmlns:a16="http://schemas.microsoft.com/office/drawing/2014/main" id="{D6D21FBE-8C11-4A44-8B0A-5CFAD3AFFA8C}"/>
                </a:ext>
              </a:extLst>
            </p:cNvPr>
            <p:cNvSpPr>
              <a:spLocks/>
            </p:cNvSpPr>
            <p:nvPr/>
          </p:nvSpPr>
          <p:spPr bwMode="auto">
            <a:xfrm>
              <a:off x="983" y="1236"/>
              <a:ext cx="157" cy="56"/>
            </a:xfrm>
            <a:custGeom>
              <a:avLst/>
              <a:gdLst>
                <a:gd name="T0" fmla="*/ 0 w 484"/>
                <a:gd name="T1" fmla="*/ 16 h 172"/>
                <a:gd name="T2" fmla="*/ 0 w 484"/>
                <a:gd name="T3" fmla="*/ 17 h 172"/>
                <a:gd name="T4" fmla="*/ 1 w 484"/>
                <a:gd name="T5" fmla="*/ 17 h 172"/>
                <a:gd name="T6" fmla="*/ 2 w 484"/>
                <a:gd name="T7" fmla="*/ 18 h 172"/>
                <a:gd name="T8" fmla="*/ 3 w 484"/>
                <a:gd name="T9" fmla="*/ 18 h 172"/>
                <a:gd name="T10" fmla="*/ 6 w 484"/>
                <a:gd name="T11" fmla="*/ 18 h 172"/>
                <a:gd name="T12" fmla="*/ 8 w 484"/>
                <a:gd name="T13" fmla="*/ 18 h 172"/>
                <a:gd name="T14" fmla="*/ 10 w 484"/>
                <a:gd name="T15" fmla="*/ 18 h 172"/>
                <a:gd name="T16" fmla="*/ 15 w 484"/>
                <a:gd name="T17" fmla="*/ 17 h 172"/>
                <a:gd name="T18" fmla="*/ 20 w 484"/>
                <a:gd name="T19" fmla="*/ 14 h 172"/>
                <a:gd name="T20" fmla="*/ 25 w 484"/>
                <a:gd name="T21" fmla="*/ 12 h 172"/>
                <a:gd name="T22" fmla="*/ 30 w 484"/>
                <a:gd name="T23" fmla="*/ 11 h 172"/>
                <a:gd name="T24" fmla="*/ 37 w 484"/>
                <a:gd name="T25" fmla="*/ 9 h 172"/>
                <a:gd name="T26" fmla="*/ 42 w 484"/>
                <a:gd name="T27" fmla="*/ 8 h 172"/>
                <a:gd name="T28" fmla="*/ 46 w 484"/>
                <a:gd name="T29" fmla="*/ 7 h 172"/>
                <a:gd name="T30" fmla="*/ 49 w 484"/>
                <a:gd name="T31" fmla="*/ 6 h 172"/>
                <a:gd name="T32" fmla="*/ 50 w 484"/>
                <a:gd name="T33" fmla="*/ 5 h 172"/>
                <a:gd name="T34" fmla="*/ 51 w 484"/>
                <a:gd name="T35" fmla="*/ 4 h 172"/>
                <a:gd name="T36" fmla="*/ 47 w 484"/>
                <a:gd name="T37" fmla="*/ 3 h 172"/>
                <a:gd name="T38" fmla="*/ 41 w 484"/>
                <a:gd name="T39" fmla="*/ 2 h 172"/>
                <a:gd name="T40" fmla="*/ 35 w 484"/>
                <a:gd name="T41" fmla="*/ 1 h 172"/>
                <a:gd name="T42" fmla="*/ 29 w 484"/>
                <a:gd name="T43" fmla="*/ 0 h 172"/>
                <a:gd name="T44" fmla="*/ 24 w 484"/>
                <a:gd name="T45" fmla="*/ 0 h 172"/>
                <a:gd name="T46" fmla="*/ 21 w 484"/>
                <a:gd name="T47" fmla="*/ 0 h 172"/>
                <a:gd name="T48" fmla="*/ 19 w 484"/>
                <a:gd name="T49" fmla="*/ 1 h 172"/>
                <a:gd name="T50" fmla="*/ 18 w 484"/>
                <a:gd name="T51" fmla="*/ 1 h 172"/>
                <a:gd name="T52" fmla="*/ 18 w 484"/>
                <a:gd name="T53" fmla="*/ 0 h 172"/>
                <a:gd name="T54" fmla="*/ 18 w 484"/>
                <a:gd name="T55" fmla="*/ 1 h 172"/>
                <a:gd name="T56" fmla="*/ 17 w 484"/>
                <a:gd name="T57" fmla="*/ 3 h 172"/>
                <a:gd name="T58" fmla="*/ 16 w 484"/>
                <a:gd name="T59" fmla="*/ 4 h 172"/>
                <a:gd name="T60" fmla="*/ 15 w 484"/>
                <a:gd name="T61" fmla="*/ 5 h 172"/>
                <a:gd name="T62" fmla="*/ 13 w 484"/>
                <a:gd name="T63" fmla="*/ 6 h 172"/>
                <a:gd name="T64" fmla="*/ 10 w 484"/>
                <a:gd name="T65" fmla="*/ 7 h 172"/>
                <a:gd name="T66" fmla="*/ 7 w 484"/>
                <a:gd name="T67" fmla="*/ 8 h 172"/>
                <a:gd name="T68" fmla="*/ 4 w 484"/>
                <a:gd name="T69" fmla="*/ 9 h 172"/>
                <a:gd name="T70" fmla="*/ 2 w 484"/>
                <a:gd name="T71" fmla="*/ 10 h 172"/>
                <a:gd name="T72" fmla="*/ 1 w 484"/>
                <a:gd name="T73" fmla="*/ 11 h 172"/>
                <a:gd name="T74" fmla="*/ 0 w 484"/>
                <a:gd name="T75" fmla="*/ 13 h 172"/>
                <a:gd name="T76" fmla="*/ 0 w 484"/>
                <a:gd name="T77" fmla="*/ 14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97" name="Freeform 426">
              <a:extLst>
                <a:ext uri="{FF2B5EF4-FFF2-40B4-BE49-F238E27FC236}">
                  <a16:creationId xmlns:a16="http://schemas.microsoft.com/office/drawing/2014/main" id="{8AE3C0BB-6D06-402C-9F07-C52719C6944F}"/>
                </a:ext>
              </a:extLst>
            </p:cNvPr>
            <p:cNvSpPr>
              <a:spLocks/>
            </p:cNvSpPr>
            <p:nvPr/>
          </p:nvSpPr>
          <p:spPr bwMode="auto">
            <a:xfrm>
              <a:off x="1043" y="1255"/>
              <a:ext cx="221" cy="79"/>
            </a:xfrm>
            <a:custGeom>
              <a:avLst/>
              <a:gdLst>
                <a:gd name="T0" fmla="*/ 33 w 684"/>
                <a:gd name="T1" fmla="*/ 1 h 240"/>
                <a:gd name="T2" fmla="*/ 32 w 684"/>
                <a:gd name="T3" fmla="*/ 3 h 240"/>
                <a:gd name="T4" fmla="*/ 31 w 684"/>
                <a:gd name="T5" fmla="*/ 4 h 240"/>
                <a:gd name="T6" fmla="*/ 31 w 684"/>
                <a:gd name="T7" fmla="*/ 5 h 240"/>
                <a:gd name="T8" fmla="*/ 35 w 684"/>
                <a:gd name="T9" fmla="*/ 4 h 240"/>
                <a:gd name="T10" fmla="*/ 39 w 684"/>
                <a:gd name="T11" fmla="*/ 2 h 240"/>
                <a:gd name="T12" fmla="*/ 39 w 684"/>
                <a:gd name="T13" fmla="*/ 4 h 240"/>
                <a:gd name="T14" fmla="*/ 39 w 684"/>
                <a:gd name="T15" fmla="*/ 6 h 240"/>
                <a:gd name="T16" fmla="*/ 42 w 684"/>
                <a:gd name="T17" fmla="*/ 8 h 240"/>
                <a:gd name="T18" fmla="*/ 53 w 684"/>
                <a:gd name="T19" fmla="*/ 6 h 240"/>
                <a:gd name="T20" fmla="*/ 54 w 684"/>
                <a:gd name="T21" fmla="*/ 8 h 240"/>
                <a:gd name="T22" fmla="*/ 57 w 684"/>
                <a:gd name="T23" fmla="*/ 7 h 240"/>
                <a:gd name="T24" fmla="*/ 58 w 684"/>
                <a:gd name="T25" fmla="*/ 5 h 240"/>
                <a:gd name="T26" fmla="*/ 58 w 684"/>
                <a:gd name="T27" fmla="*/ 2 h 240"/>
                <a:gd name="T28" fmla="*/ 59 w 684"/>
                <a:gd name="T29" fmla="*/ 1 h 240"/>
                <a:gd name="T30" fmla="*/ 60 w 684"/>
                <a:gd name="T31" fmla="*/ 0 h 240"/>
                <a:gd name="T32" fmla="*/ 65 w 684"/>
                <a:gd name="T33" fmla="*/ 0 h 240"/>
                <a:gd name="T34" fmla="*/ 67 w 684"/>
                <a:gd name="T35" fmla="*/ 0 h 240"/>
                <a:gd name="T36" fmla="*/ 68 w 684"/>
                <a:gd name="T37" fmla="*/ 4 h 240"/>
                <a:gd name="T38" fmla="*/ 68 w 684"/>
                <a:gd name="T39" fmla="*/ 8 h 240"/>
                <a:gd name="T40" fmla="*/ 67 w 684"/>
                <a:gd name="T41" fmla="*/ 11 h 240"/>
                <a:gd name="T42" fmla="*/ 65 w 684"/>
                <a:gd name="T43" fmla="*/ 13 h 240"/>
                <a:gd name="T44" fmla="*/ 68 w 684"/>
                <a:gd name="T45" fmla="*/ 15 h 240"/>
                <a:gd name="T46" fmla="*/ 70 w 684"/>
                <a:gd name="T47" fmla="*/ 16 h 240"/>
                <a:gd name="T48" fmla="*/ 71 w 684"/>
                <a:gd name="T49" fmla="*/ 19 h 240"/>
                <a:gd name="T50" fmla="*/ 67 w 684"/>
                <a:gd name="T51" fmla="*/ 20 h 240"/>
                <a:gd name="T52" fmla="*/ 63 w 684"/>
                <a:gd name="T53" fmla="*/ 20 h 240"/>
                <a:gd name="T54" fmla="*/ 60 w 684"/>
                <a:gd name="T55" fmla="*/ 19 h 240"/>
                <a:gd name="T56" fmla="*/ 59 w 684"/>
                <a:gd name="T57" fmla="*/ 20 h 240"/>
                <a:gd name="T58" fmla="*/ 57 w 684"/>
                <a:gd name="T59" fmla="*/ 22 h 240"/>
                <a:gd name="T60" fmla="*/ 55 w 684"/>
                <a:gd name="T61" fmla="*/ 23 h 240"/>
                <a:gd name="T62" fmla="*/ 51 w 684"/>
                <a:gd name="T63" fmla="*/ 23 h 240"/>
                <a:gd name="T64" fmla="*/ 47 w 684"/>
                <a:gd name="T65" fmla="*/ 22 h 240"/>
                <a:gd name="T66" fmla="*/ 44 w 684"/>
                <a:gd name="T67" fmla="*/ 21 h 240"/>
                <a:gd name="T68" fmla="*/ 35 w 684"/>
                <a:gd name="T69" fmla="*/ 23 h 240"/>
                <a:gd name="T70" fmla="*/ 24 w 684"/>
                <a:gd name="T71" fmla="*/ 25 h 240"/>
                <a:gd name="T72" fmla="*/ 18 w 684"/>
                <a:gd name="T73" fmla="*/ 26 h 240"/>
                <a:gd name="T74" fmla="*/ 13 w 684"/>
                <a:gd name="T75" fmla="*/ 26 h 240"/>
                <a:gd name="T76" fmla="*/ 10 w 684"/>
                <a:gd name="T77" fmla="*/ 25 h 240"/>
                <a:gd name="T78" fmla="*/ 7 w 684"/>
                <a:gd name="T79" fmla="*/ 22 h 240"/>
                <a:gd name="T80" fmla="*/ 3 w 684"/>
                <a:gd name="T81" fmla="*/ 21 h 240"/>
                <a:gd name="T82" fmla="*/ 0 w 684"/>
                <a:gd name="T83" fmla="*/ 19 h 240"/>
                <a:gd name="T84" fmla="*/ 7 w 684"/>
                <a:gd name="T85" fmla="*/ 17 h 240"/>
                <a:gd name="T86" fmla="*/ 10 w 684"/>
                <a:gd name="T87" fmla="*/ 17 h 240"/>
                <a:gd name="T88" fmla="*/ 16 w 684"/>
                <a:gd name="T89" fmla="*/ 17 h 240"/>
                <a:gd name="T90" fmla="*/ 21 w 684"/>
                <a:gd name="T91" fmla="*/ 18 h 240"/>
                <a:gd name="T92" fmla="*/ 23 w 684"/>
                <a:gd name="T93" fmla="*/ 17 h 240"/>
                <a:gd name="T94" fmla="*/ 3 w 684"/>
                <a:gd name="T95" fmla="*/ 15 h 240"/>
                <a:gd name="T96" fmla="*/ 5 w 684"/>
                <a:gd name="T97" fmla="*/ 14 h 240"/>
                <a:gd name="T98" fmla="*/ 11 w 684"/>
                <a:gd name="T99" fmla="*/ 13 h 240"/>
                <a:gd name="T100" fmla="*/ 17 w 684"/>
                <a:gd name="T101" fmla="*/ 12 h 240"/>
                <a:gd name="T102" fmla="*/ 19 w 684"/>
                <a:gd name="T103" fmla="*/ 11 h 240"/>
                <a:gd name="T104" fmla="*/ 17 w 684"/>
                <a:gd name="T105" fmla="*/ 10 h 240"/>
                <a:gd name="T106" fmla="*/ 13 w 684"/>
                <a:gd name="T107" fmla="*/ 11 h 240"/>
                <a:gd name="T108" fmla="*/ 7 w 684"/>
                <a:gd name="T109" fmla="*/ 12 h 240"/>
                <a:gd name="T110" fmla="*/ 5 w 684"/>
                <a:gd name="T111" fmla="*/ 12 h 240"/>
                <a:gd name="T112" fmla="*/ 6 w 684"/>
                <a:gd name="T113" fmla="*/ 10 h 240"/>
                <a:gd name="T114" fmla="*/ 5 w 684"/>
                <a:gd name="T115" fmla="*/ 9 h 240"/>
                <a:gd name="T116" fmla="*/ 6 w 684"/>
                <a:gd name="T117" fmla="*/ 9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98" name="Freeform 427">
              <a:extLst>
                <a:ext uri="{FF2B5EF4-FFF2-40B4-BE49-F238E27FC236}">
                  <a16:creationId xmlns:a16="http://schemas.microsoft.com/office/drawing/2014/main" id="{03E182DE-E211-4F66-B3E9-E9DF28E0F77F}"/>
                </a:ext>
              </a:extLst>
            </p:cNvPr>
            <p:cNvSpPr>
              <a:spLocks/>
            </p:cNvSpPr>
            <p:nvPr/>
          </p:nvSpPr>
          <p:spPr bwMode="auto">
            <a:xfrm>
              <a:off x="1642" y="1643"/>
              <a:ext cx="106" cy="93"/>
            </a:xfrm>
            <a:custGeom>
              <a:avLst/>
              <a:gdLst>
                <a:gd name="T0" fmla="*/ 19 w 332"/>
                <a:gd name="T1" fmla="*/ 4 h 287"/>
                <a:gd name="T2" fmla="*/ 21 w 332"/>
                <a:gd name="T3" fmla="*/ 3 h 287"/>
                <a:gd name="T4" fmla="*/ 24 w 332"/>
                <a:gd name="T5" fmla="*/ 1 h 287"/>
                <a:gd name="T6" fmla="*/ 25 w 332"/>
                <a:gd name="T7" fmla="*/ 0 h 287"/>
                <a:gd name="T8" fmla="*/ 26 w 332"/>
                <a:gd name="T9" fmla="*/ 0 h 287"/>
                <a:gd name="T10" fmla="*/ 26 w 332"/>
                <a:gd name="T11" fmla="*/ 1 h 287"/>
                <a:gd name="T12" fmla="*/ 25 w 332"/>
                <a:gd name="T13" fmla="*/ 4 h 287"/>
                <a:gd name="T14" fmla="*/ 23 w 332"/>
                <a:gd name="T15" fmla="*/ 6 h 287"/>
                <a:gd name="T16" fmla="*/ 21 w 332"/>
                <a:gd name="T17" fmla="*/ 7 h 287"/>
                <a:gd name="T18" fmla="*/ 20 w 332"/>
                <a:gd name="T19" fmla="*/ 7 h 287"/>
                <a:gd name="T20" fmla="*/ 20 w 332"/>
                <a:gd name="T21" fmla="*/ 8 h 287"/>
                <a:gd name="T22" fmla="*/ 21 w 332"/>
                <a:gd name="T23" fmla="*/ 8 h 287"/>
                <a:gd name="T24" fmla="*/ 23 w 332"/>
                <a:gd name="T25" fmla="*/ 7 h 287"/>
                <a:gd name="T26" fmla="*/ 24 w 332"/>
                <a:gd name="T27" fmla="*/ 8 h 287"/>
                <a:gd name="T28" fmla="*/ 23 w 332"/>
                <a:gd name="T29" fmla="*/ 9 h 287"/>
                <a:gd name="T30" fmla="*/ 23 w 332"/>
                <a:gd name="T31" fmla="*/ 10 h 287"/>
                <a:gd name="T32" fmla="*/ 23 w 332"/>
                <a:gd name="T33" fmla="*/ 11 h 287"/>
                <a:gd name="T34" fmla="*/ 26 w 332"/>
                <a:gd name="T35" fmla="*/ 12 h 287"/>
                <a:gd name="T36" fmla="*/ 33 w 332"/>
                <a:gd name="T37" fmla="*/ 13 h 287"/>
                <a:gd name="T38" fmla="*/ 34 w 332"/>
                <a:gd name="T39" fmla="*/ 14 h 287"/>
                <a:gd name="T40" fmla="*/ 33 w 332"/>
                <a:gd name="T41" fmla="*/ 15 h 287"/>
                <a:gd name="T42" fmla="*/ 32 w 332"/>
                <a:gd name="T43" fmla="*/ 16 h 287"/>
                <a:gd name="T44" fmla="*/ 32 w 332"/>
                <a:gd name="T45" fmla="*/ 16 h 287"/>
                <a:gd name="T46" fmla="*/ 32 w 332"/>
                <a:gd name="T47" fmla="*/ 17 h 287"/>
                <a:gd name="T48" fmla="*/ 33 w 332"/>
                <a:gd name="T49" fmla="*/ 17 h 287"/>
                <a:gd name="T50" fmla="*/ 34 w 332"/>
                <a:gd name="T51" fmla="*/ 18 h 287"/>
                <a:gd name="T52" fmla="*/ 35 w 332"/>
                <a:gd name="T53" fmla="*/ 19 h 287"/>
                <a:gd name="T54" fmla="*/ 31 w 332"/>
                <a:gd name="T55" fmla="*/ 22 h 287"/>
                <a:gd name="T56" fmla="*/ 25 w 332"/>
                <a:gd name="T57" fmla="*/ 25 h 287"/>
                <a:gd name="T58" fmla="*/ 22 w 332"/>
                <a:gd name="T59" fmla="*/ 28 h 287"/>
                <a:gd name="T60" fmla="*/ 18 w 332"/>
                <a:gd name="T61" fmla="*/ 26 h 287"/>
                <a:gd name="T62" fmla="*/ 19 w 332"/>
                <a:gd name="T63" fmla="*/ 26 h 287"/>
                <a:gd name="T64" fmla="*/ 20 w 332"/>
                <a:gd name="T65" fmla="*/ 25 h 287"/>
                <a:gd name="T66" fmla="*/ 21 w 332"/>
                <a:gd name="T67" fmla="*/ 24 h 287"/>
                <a:gd name="T68" fmla="*/ 16 w 332"/>
                <a:gd name="T69" fmla="*/ 24 h 287"/>
                <a:gd name="T70" fmla="*/ 11 w 332"/>
                <a:gd name="T71" fmla="*/ 24 h 287"/>
                <a:gd name="T72" fmla="*/ 6 w 332"/>
                <a:gd name="T73" fmla="*/ 24 h 287"/>
                <a:gd name="T74" fmla="*/ 3 w 332"/>
                <a:gd name="T75" fmla="*/ 24 h 287"/>
                <a:gd name="T76" fmla="*/ 1 w 332"/>
                <a:gd name="T77" fmla="*/ 24 h 287"/>
                <a:gd name="T78" fmla="*/ 0 w 332"/>
                <a:gd name="T79" fmla="*/ 23 h 287"/>
                <a:gd name="T80" fmla="*/ 0 w 332"/>
                <a:gd name="T81" fmla="*/ 22 h 287"/>
                <a:gd name="T82" fmla="*/ 0 w 332"/>
                <a:gd name="T83" fmla="*/ 21 h 287"/>
                <a:gd name="T84" fmla="*/ 1 w 332"/>
                <a:gd name="T85" fmla="*/ 21 h 287"/>
                <a:gd name="T86" fmla="*/ 4 w 332"/>
                <a:gd name="T87" fmla="*/ 19 h 287"/>
                <a:gd name="T88" fmla="*/ 8 w 332"/>
                <a:gd name="T89" fmla="*/ 17 h 287"/>
                <a:gd name="T90" fmla="*/ 9 w 332"/>
                <a:gd name="T91" fmla="*/ 16 h 287"/>
                <a:gd name="T92" fmla="*/ 10 w 332"/>
                <a:gd name="T93" fmla="*/ 15 h 287"/>
                <a:gd name="T94" fmla="*/ 11 w 332"/>
                <a:gd name="T95" fmla="*/ 14 h 287"/>
                <a:gd name="T96" fmla="*/ 12 w 332"/>
                <a:gd name="T97" fmla="*/ 12 h 287"/>
                <a:gd name="T98" fmla="*/ 14 w 332"/>
                <a:gd name="T99" fmla="*/ 8 h 287"/>
                <a:gd name="T100" fmla="*/ 15 w 332"/>
                <a:gd name="T101" fmla="*/ 7 h 287"/>
                <a:gd name="T102" fmla="*/ 16 w 332"/>
                <a:gd name="T103" fmla="*/ 6 h 287"/>
                <a:gd name="T104" fmla="*/ 17 w 332"/>
                <a:gd name="T105" fmla="*/ 5 h 287"/>
                <a:gd name="T106" fmla="*/ 18 w 332"/>
                <a:gd name="T107" fmla="*/ 4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99" name="Freeform 428">
              <a:extLst>
                <a:ext uri="{FF2B5EF4-FFF2-40B4-BE49-F238E27FC236}">
                  <a16:creationId xmlns:a16="http://schemas.microsoft.com/office/drawing/2014/main" id="{D06BEC28-5D30-4F84-BD17-66C9B1499FDE}"/>
                </a:ext>
              </a:extLst>
            </p:cNvPr>
            <p:cNvSpPr>
              <a:spLocks/>
            </p:cNvSpPr>
            <p:nvPr/>
          </p:nvSpPr>
          <p:spPr bwMode="auto">
            <a:xfrm>
              <a:off x="1101" y="1190"/>
              <a:ext cx="112" cy="22"/>
            </a:xfrm>
            <a:custGeom>
              <a:avLst/>
              <a:gdLst>
                <a:gd name="T0" fmla="*/ 11 w 345"/>
                <a:gd name="T1" fmla="*/ 8 h 86"/>
                <a:gd name="T2" fmla="*/ 12 w 345"/>
                <a:gd name="T3" fmla="*/ 8 h 86"/>
                <a:gd name="T4" fmla="*/ 14 w 345"/>
                <a:gd name="T5" fmla="*/ 8 h 86"/>
                <a:gd name="T6" fmla="*/ 15 w 345"/>
                <a:gd name="T7" fmla="*/ 7 h 86"/>
                <a:gd name="T8" fmla="*/ 17 w 345"/>
                <a:gd name="T9" fmla="*/ 7 h 86"/>
                <a:gd name="T10" fmla="*/ 20 w 345"/>
                <a:gd name="T11" fmla="*/ 6 h 86"/>
                <a:gd name="T12" fmla="*/ 24 w 345"/>
                <a:gd name="T13" fmla="*/ 6 h 86"/>
                <a:gd name="T14" fmla="*/ 25 w 345"/>
                <a:gd name="T15" fmla="*/ 5 h 86"/>
                <a:gd name="T16" fmla="*/ 27 w 345"/>
                <a:gd name="T17" fmla="*/ 5 h 86"/>
                <a:gd name="T18" fmla="*/ 29 w 345"/>
                <a:gd name="T19" fmla="*/ 4 h 86"/>
                <a:gd name="T20" fmla="*/ 31 w 345"/>
                <a:gd name="T21" fmla="*/ 4 h 86"/>
                <a:gd name="T22" fmla="*/ 32 w 345"/>
                <a:gd name="T23" fmla="*/ 3 h 86"/>
                <a:gd name="T24" fmla="*/ 33 w 345"/>
                <a:gd name="T25" fmla="*/ 3 h 86"/>
                <a:gd name="T26" fmla="*/ 34 w 345"/>
                <a:gd name="T27" fmla="*/ 2 h 86"/>
                <a:gd name="T28" fmla="*/ 36 w 345"/>
                <a:gd name="T29" fmla="*/ 1 h 86"/>
                <a:gd name="T30" fmla="*/ 35 w 345"/>
                <a:gd name="T31" fmla="*/ 1 h 86"/>
                <a:gd name="T32" fmla="*/ 34 w 345"/>
                <a:gd name="T33" fmla="*/ 1 h 86"/>
                <a:gd name="T34" fmla="*/ 33 w 345"/>
                <a:gd name="T35" fmla="*/ 1 h 86"/>
                <a:gd name="T36" fmla="*/ 32 w 345"/>
                <a:gd name="T37" fmla="*/ 1 h 86"/>
                <a:gd name="T38" fmla="*/ 31 w 345"/>
                <a:gd name="T39" fmla="*/ 0 h 86"/>
                <a:gd name="T40" fmla="*/ 30 w 345"/>
                <a:gd name="T41" fmla="*/ 0 h 86"/>
                <a:gd name="T42" fmla="*/ 29 w 345"/>
                <a:gd name="T43" fmla="*/ 0 h 86"/>
                <a:gd name="T44" fmla="*/ 28 w 345"/>
                <a:gd name="T45" fmla="*/ 0 h 86"/>
                <a:gd name="T46" fmla="*/ 27 w 345"/>
                <a:gd name="T47" fmla="*/ 0 h 86"/>
                <a:gd name="T48" fmla="*/ 25 w 345"/>
                <a:gd name="T49" fmla="*/ 0 h 86"/>
                <a:gd name="T50" fmla="*/ 23 w 345"/>
                <a:gd name="T51" fmla="*/ 1 h 86"/>
                <a:gd name="T52" fmla="*/ 22 w 345"/>
                <a:gd name="T53" fmla="*/ 1 h 86"/>
                <a:gd name="T54" fmla="*/ 17 w 345"/>
                <a:gd name="T55" fmla="*/ 2 h 86"/>
                <a:gd name="T56" fmla="*/ 13 w 345"/>
                <a:gd name="T57" fmla="*/ 3 h 86"/>
                <a:gd name="T58" fmla="*/ 11 w 345"/>
                <a:gd name="T59" fmla="*/ 3 h 86"/>
                <a:gd name="T60" fmla="*/ 9 w 345"/>
                <a:gd name="T61" fmla="*/ 4 h 86"/>
                <a:gd name="T62" fmla="*/ 7 w 345"/>
                <a:gd name="T63" fmla="*/ 5 h 86"/>
                <a:gd name="T64" fmla="*/ 5 w 345"/>
                <a:gd name="T65" fmla="*/ 6 h 86"/>
                <a:gd name="T66" fmla="*/ 3 w 345"/>
                <a:gd name="T67" fmla="*/ 6 h 86"/>
                <a:gd name="T68" fmla="*/ 2 w 345"/>
                <a:gd name="T69" fmla="*/ 7 h 86"/>
                <a:gd name="T70" fmla="*/ 1 w 345"/>
                <a:gd name="T71" fmla="*/ 8 h 86"/>
                <a:gd name="T72" fmla="*/ 0 w 345"/>
                <a:gd name="T73" fmla="*/ 8 h 86"/>
                <a:gd name="T74" fmla="*/ 11 w 345"/>
                <a:gd name="T75" fmla="*/ 8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00" name="Freeform 429">
              <a:extLst>
                <a:ext uri="{FF2B5EF4-FFF2-40B4-BE49-F238E27FC236}">
                  <a16:creationId xmlns:a16="http://schemas.microsoft.com/office/drawing/2014/main" id="{CDCEBA8B-5052-4271-9B83-58F8029BDB21}"/>
                </a:ext>
              </a:extLst>
            </p:cNvPr>
            <p:cNvSpPr>
              <a:spLocks/>
            </p:cNvSpPr>
            <p:nvPr/>
          </p:nvSpPr>
          <p:spPr bwMode="auto">
            <a:xfrm>
              <a:off x="1158" y="1199"/>
              <a:ext cx="146" cy="43"/>
            </a:xfrm>
            <a:custGeom>
              <a:avLst/>
              <a:gdLst>
                <a:gd name="T0" fmla="*/ 2 w 464"/>
                <a:gd name="T1" fmla="*/ 9 h 130"/>
                <a:gd name="T2" fmla="*/ 8 w 464"/>
                <a:gd name="T3" fmla="*/ 9 h 130"/>
                <a:gd name="T4" fmla="*/ 11 w 464"/>
                <a:gd name="T5" fmla="*/ 9 h 130"/>
                <a:gd name="T6" fmla="*/ 10 w 464"/>
                <a:gd name="T7" fmla="*/ 10 h 130"/>
                <a:gd name="T8" fmla="*/ 8 w 464"/>
                <a:gd name="T9" fmla="*/ 11 h 130"/>
                <a:gd name="T10" fmla="*/ 7 w 464"/>
                <a:gd name="T11" fmla="*/ 12 h 130"/>
                <a:gd name="T12" fmla="*/ 7 w 464"/>
                <a:gd name="T13" fmla="*/ 13 h 130"/>
                <a:gd name="T14" fmla="*/ 8 w 464"/>
                <a:gd name="T15" fmla="*/ 14 h 130"/>
                <a:gd name="T16" fmla="*/ 10 w 464"/>
                <a:gd name="T17" fmla="*/ 14 h 130"/>
                <a:gd name="T18" fmla="*/ 11 w 464"/>
                <a:gd name="T19" fmla="*/ 14 h 130"/>
                <a:gd name="T20" fmla="*/ 13 w 464"/>
                <a:gd name="T21" fmla="*/ 14 h 130"/>
                <a:gd name="T22" fmla="*/ 16 w 464"/>
                <a:gd name="T23" fmla="*/ 13 h 130"/>
                <a:gd name="T24" fmla="*/ 20 w 464"/>
                <a:gd name="T25" fmla="*/ 12 h 130"/>
                <a:gd name="T26" fmla="*/ 23 w 464"/>
                <a:gd name="T27" fmla="*/ 11 h 130"/>
                <a:gd name="T28" fmla="*/ 26 w 464"/>
                <a:gd name="T29" fmla="*/ 11 h 130"/>
                <a:gd name="T30" fmla="*/ 27 w 464"/>
                <a:gd name="T31" fmla="*/ 11 h 130"/>
                <a:gd name="T32" fmla="*/ 31 w 464"/>
                <a:gd name="T33" fmla="*/ 11 h 130"/>
                <a:gd name="T34" fmla="*/ 34 w 464"/>
                <a:gd name="T35" fmla="*/ 11 h 130"/>
                <a:gd name="T36" fmla="*/ 39 w 464"/>
                <a:gd name="T37" fmla="*/ 10 h 130"/>
                <a:gd name="T38" fmla="*/ 43 w 464"/>
                <a:gd name="T39" fmla="*/ 9 h 130"/>
                <a:gd name="T40" fmla="*/ 46 w 464"/>
                <a:gd name="T41" fmla="*/ 7 h 130"/>
                <a:gd name="T42" fmla="*/ 47 w 464"/>
                <a:gd name="T43" fmla="*/ 6 h 130"/>
                <a:gd name="T44" fmla="*/ 45 w 464"/>
                <a:gd name="T45" fmla="*/ 5 h 130"/>
                <a:gd name="T46" fmla="*/ 43 w 464"/>
                <a:gd name="T47" fmla="*/ 5 h 130"/>
                <a:gd name="T48" fmla="*/ 41 w 464"/>
                <a:gd name="T49" fmla="*/ 5 h 130"/>
                <a:gd name="T50" fmla="*/ 42 w 464"/>
                <a:gd name="T51" fmla="*/ 4 h 130"/>
                <a:gd name="T52" fmla="*/ 43 w 464"/>
                <a:gd name="T53" fmla="*/ 2 h 130"/>
                <a:gd name="T54" fmla="*/ 43 w 464"/>
                <a:gd name="T55" fmla="*/ 1 h 130"/>
                <a:gd name="T56" fmla="*/ 39 w 464"/>
                <a:gd name="T57" fmla="*/ 0 h 130"/>
                <a:gd name="T58" fmla="*/ 37 w 464"/>
                <a:gd name="T59" fmla="*/ 2 h 130"/>
                <a:gd name="T60" fmla="*/ 35 w 464"/>
                <a:gd name="T61" fmla="*/ 5 h 130"/>
                <a:gd name="T62" fmla="*/ 33 w 464"/>
                <a:gd name="T63" fmla="*/ 7 h 130"/>
                <a:gd name="T64" fmla="*/ 32 w 464"/>
                <a:gd name="T65" fmla="*/ 7 h 130"/>
                <a:gd name="T66" fmla="*/ 31 w 464"/>
                <a:gd name="T67" fmla="*/ 7 h 130"/>
                <a:gd name="T68" fmla="*/ 29 w 464"/>
                <a:gd name="T69" fmla="*/ 7 h 130"/>
                <a:gd name="T70" fmla="*/ 27 w 464"/>
                <a:gd name="T71" fmla="*/ 7 h 130"/>
                <a:gd name="T72" fmla="*/ 25 w 464"/>
                <a:gd name="T73" fmla="*/ 6 h 130"/>
                <a:gd name="T74" fmla="*/ 21 w 464"/>
                <a:gd name="T75" fmla="*/ 3 h 130"/>
                <a:gd name="T76" fmla="*/ 19 w 464"/>
                <a:gd name="T77" fmla="*/ 3 h 130"/>
                <a:gd name="T78" fmla="*/ 15 w 464"/>
                <a:gd name="T79" fmla="*/ 3 h 130"/>
                <a:gd name="T80" fmla="*/ 12 w 464"/>
                <a:gd name="T81" fmla="*/ 4 h 130"/>
                <a:gd name="T82" fmla="*/ 9 w 464"/>
                <a:gd name="T83" fmla="*/ 5 h 130"/>
                <a:gd name="T84" fmla="*/ 5 w 464"/>
                <a:gd name="T85" fmla="*/ 6 h 130"/>
                <a:gd name="T86" fmla="*/ 3 w 464"/>
                <a:gd name="T87" fmla="*/ 7 h 130"/>
                <a:gd name="T88" fmla="*/ 1 w 464"/>
                <a:gd name="T89" fmla="*/ 8 h 130"/>
                <a:gd name="T90" fmla="*/ 0 w 464"/>
                <a:gd name="T91" fmla="*/ 9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01" name="Freeform 430">
              <a:extLst>
                <a:ext uri="{FF2B5EF4-FFF2-40B4-BE49-F238E27FC236}">
                  <a16:creationId xmlns:a16="http://schemas.microsoft.com/office/drawing/2014/main" id="{27AC31F1-D6B8-4C44-9B84-701496CA31A0}"/>
                </a:ext>
              </a:extLst>
            </p:cNvPr>
            <p:cNvSpPr>
              <a:spLocks/>
            </p:cNvSpPr>
            <p:nvPr/>
          </p:nvSpPr>
          <p:spPr bwMode="auto">
            <a:xfrm>
              <a:off x="1468" y="1205"/>
              <a:ext cx="155" cy="31"/>
            </a:xfrm>
            <a:custGeom>
              <a:avLst/>
              <a:gdLst>
                <a:gd name="T0" fmla="*/ 6 w 472"/>
                <a:gd name="T1" fmla="*/ 0 h 92"/>
                <a:gd name="T2" fmla="*/ 5 w 472"/>
                <a:gd name="T3" fmla="*/ 0 h 92"/>
                <a:gd name="T4" fmla="*/ 3 w 472"/>
                <a:gd name="T5" fmla="*/ 0 h 92"/>
                <a:gd name="T6" fmla="*/ 1 w 472"/>
                <a:gd name="T7" fmla="*/ 0 h 92"/>
                <a:gd name="T8" fmla="*/ 1 w 472"/>
                <a:gd name="T9" fmla="*/ 1 h 92"/>
                <a:gd name="T10" fmla="*/ 1 w 472"/>
                <a:gd name="T11" fmla="*/ 2 h 92"/>
                <a:gd name="T12" fmla="*/ 1 w 472"/>
                <a:gd name="T13" fmla="*/ 3 h 92"/>
                <a:gd name="T14" fmla="*/ 2 w 472"/>
                <a:gd name="T15" fmla="*/ 4 h 92"/>
                <a:gd name="T16" fmla="*/ 2 w 472"/>
                <a:gd name="T17" fmla="*/ 5 h 92"/>
                <a:gd name="T18" fmla="*/ 0 w 472"/>
                <a:gd name="T19" fmla="*/ 6 h 92"/>
                <a:gd name="T20" fmla="*/ 0 w 472"/>
                <a:gd name="T21" fmla="*/ 6 h 92"/>
                <a:gd name="T22" fmla="*/ 0 w 472"/>
                <a:gd name="T23" fmla="*/ 7 h 92"/>
                <a:gd name="T24" fmla="*/ 2 w 472"/>
                <a:gd name="T25" fmla="*/ 8 h 92"/>
                <a:gd name="T26" fmla="*/ 5 w 472"/>
                <a:gd name="T27" fmla="*/ 9 h 92"/>
                <a:gd name="T28" fmla="*/ 11 w 472"/>
                <a:gd name="T29" fmla="*/ 10 h 92"/>
                <a:gd name="T30" fmla="*/ 18 w 472"/>
                <a:gd name="T31" fmla="*/ 10 h 92"/>
                <a:gd name="T32" fmla="*/ 38 w 472"/>
                <a:gd name="T33" fmla="*/ 10 h 92"/>
                <a:gd name="T34" fmla="*/ 39 w 472"/>
                <a:gd name="T35" fmla="*/ 9 h 92"/>
                <a:gd name="T36" fmla="*/ 41 w 472"/>
                <a:gd name="T37" fmla="*/ 8 h 92"/>
                <a:gd name="T38" fmla="*/ 42 w 472"/>
                <a:gd name="T39" fmla="*/ 8 h 92"/>
                <a:gd name="T40" fmla="*/ 43 w 472"/>
                <a:gd name="T41" fmla="*/ 8 h 92"/>
                <a:gd name="T42" fmla="*/ 46 w 472"/>
                <a:gd name="T43" fmla="*/ 9 h 92"/>
                <a:gd name="T44" fmla="*/ 48 w 472"/>
                <a:gd name="T45" fmla="*/ 9 h 92"/>
                <a:gd name="T46" fmla="*/ 50 w 472"/>
                <a:gd name="T47" fmla="*/ 8 h 92"/>
                <a:gd name="T48" fmla="*/ 49 w 472"/>
                <a:gd name="T49" fmla="*/ 4 h 92"/>
                <a:gd name="T50" fmla="*/ 48 w 472"/>
                <a:gd name="T51" fmla="*/ 3 h 92"/>
                <a:gd name="T52" fmla="*/ 47 w 472"/>
                <a:gd name="T53" fmla="*/ 2 h 92"/>
                <a:gd name="T54" fmla="*/ 45 w 472"/>
                <a:gd name="T55" fmla="*/ 1 h 92"/>
                <a:gd name="T56" fmla="*/ 44 w 472"/>
                <a:gd name="T57" fmla="*/ 1 h 92"/>
                <a:gd name="T58" fmla="*/ 41 w 472"/>
                <a:gd name="T59" fmla="*/ 2 h 92"/>
                <a:gd name="T60" fmla="*/ 39 w 472"/>
                <a:gd name="T61" fmla="*/ 2 h 92"/>
                <a:gd name="T62" fmla="*/ 34 w 472"/>
                <a:gd name="T63" fmla="*/ 4 h 92"/>
                <a:gd name="T64" fmla="*/ 31 w 472"/>
                <a:gd name="T65" fmla="*/ 4 h 92"/>
                <a:gd name="T66" fmla="*/ 29 w 472"/>
                <a:gd name="T67" fmla="*/ 5 h 92"/>
                <a:gd name="T68" fmla="*/ 25 w 472"/>
                <a:gd name="T69" fmla="*/ 5 h 92"/>
                <a:gd name="T70" fmla="*/ 20 w 472"/>
                <a:gd name="T71" fmla="*/ 5 h 92"/>
                <a:gd name="T72" fmla="*/ 17 w 472"/>
                <a:gd name="T73" fmla="*/ 5 h 92"/>
                <a:gd name="T74" fmla="*/ 13 w 472"/>
                <a:gd name="T75" fmla="*/ 5 h 92"/>
                <a:gd name="T76" fmla="*/ 9 w 472"/>
                <a:gd name="T77" fmla="*/ 5 h 92"/>
                <a:gd name="T78" fmla="*/ 8 w 472"/>
                <a:gd name="T79" fmla="*/ 4 h 92"/>
                <a:gd name="T80" fmla="*/ 7 w 472"/>
                <a:gd name="T81" fmla="*/ 3 h 92"/>
                <a:gd name="T82" fmla="*/ 7 w 472"/>
                <a:gd name="T83" fmla="*/ 2 h 92"/>
                <a:gd name="T84" fmla="*/ 7 w 472"/>
                <a:gd name="T85" fmla="*/ 1 h 92"/>
                <a:gd name="T86" fmla="*/ 8 w 472"/>
                <a:gd name="T87" fmla="*/ 0 h 92"/>
                <a:gd name="T88" fmla="*/ 8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02" name="Freeform 431">
              <a:extLst>
                <a:ext uri="{FF2B5EF4-FFF2-40B4-BE49-F238E27FC236}">
                  <a16:creationId xmlns:a16="http://schemas.microsoft.com/office/drawing/2014/main" id="{D3A565D1-A116-405C-BE55-ED97107EE35B}"/>
                </a:ext>
              </a:extLst>
            </p:cNvPr>
            <p:cNvSpPr>
              <a:spLocks/>
            </p:cNvSpPr>
            <p:nvPr/>
          </p:nvSpPr>
          <p:spPr bwMode="auto">
            <a:xfrm>
              <a:off x="1513" y="1136"/>
              <a:ext cx="106" cy="45"/>
            </a:xfrm>
            <a:custGeom>
              <a:avLst/>
              <a:gdLst>
                <a:gd name="T0" fmla="*/ 15 w 326"/>
                <a:gd name="T1" fmla="*/ 12 h 135"/>
                <a:gd name="T2" fmla="*/ 21 w 326"/>
                <a:gd name="T3" fmla="*/ 11 h 135"/>
                <a:gd name="T4" fmla="*/ 28 w 326"/>
                <a:gd name="T5" fmla="*/ 9 h 135"/>
                <a:gd name="T6" fmla="*/ 32 w 326"/>
                <a:gd name="T7" fmla="*/ 8 h 135"/>
                <a:gd name="T8" fmla="*/ 33 w 326"/>
                <a:gd name="T9" fmla="*/ 7 h 135"/>
                <a:gd name="T10" fmla="*/ 34 w 326"/>
                <a:gd name="T11" fmla="*/ 6 h 135"/>
                <a:gd name="T12" fmla="*/ 33 w 326"/>
                <a:gd name="T13" fmla="*/ 5 h 135"/>
                <a:gd name="T14" fmla="*/ 32 w 326"/>
                <a:gd name="T15" fmla="*/ 5 h 135"/>
                <a:gd name="T16" fmla="*/ 30 w 326"/>
                <a:gd name="T17" fmla="*/ 4 h 135"/>
                <a:gd name="T18" fmla="*/ 28 w 326"/>
                <a:gd name="T19" fmla="*/ 4 h 135"/>
                <a:gd name="T20" fmla="*/ 24 w 326"/>
                <a:gd name="T21" fmla="*/ 3 h 135"/>
                <a:gd name="T22" fmla="*/ 22 w 326"/>
                <a:gd name="T23" fmla="*/ 3 h 135"/>
                <a:gd name="T24" fmla="*/ 21 w 326"/>
                <a:gd name="T25" fmla="*/ 3 h 135"/>
                <a:gd name="T26" fmla="*/ 21 w 326"/>
                <a:gd name="T27" fmla="*/ 2 h 135"/>
                <a:gd name="T28" fmla="*/ 20 w 326"/>
                <a:gd name="T29" fmla="*/ 1 h 135"/>
                <a:gd name="T30" fmla="*/ 19 w 326"/>
                <a:gd name="T31" fmla="*/ 1 h 135"/>
                <a:gd name="T32" fmla="*/ 17 w 326"/>
                <a:gd name="T33" fmla="*/ 0 h 135"/>
                <a:gd name="T34" fmla="*/ 14 w 326"/>
                <a:gd name="T35" fmla="*/ 0 h 135"/>
                <a:gd name="T36" fmla="*/ 9 w 326"/>
                <a:gd name="T37" fmla="*/ 1 h 135"/>
                <a:gd name="T38" fmla="*/ 5 w 326"/>
                <a:gd name="T39" fmla="*/ 2 h 135"/>
                <a:gd name="T40" fmla="*/ 3 w 326"/>
                <a:gd name="T41" fmla="*/ 3 h 135"/>
                <a:gd name="T42" fmla="*/ 1 w 326"/>
                <a:gd name="T43" fmla="*/ 4 h 135"/>
                <a:gd name="T44" fmla="*/ 0 w 326"/>
                <a:gd name="T45" fmla="*/ 5 h 135"/>
                <a:gd name="T46" fmla="*/ 0 w 326"/>
                <a:gd name="T47" fmla="*/ 6 h 135"/>
                <a:gd name="T48" fmla="*/ 4 w 326"/>
                <a:gd name="T49" fmla="*/ 8 h 135"/>
                <a:gd name="T50" fmla="*/ 6 w 326"/>
                <a:gd name="T51" fmla="*/ 9 h 135"/>
                <a:gd name="T52" fmla="*/ 4 w 326"/>
                <a:gd name="T53" fmla="*/ 10 h 135"/>
                <a:gd name="T54" fmla="*/ 4 w 326"/>
                <a:gd name="T55" fmla="*/ 11 h 135"/>
                <a:gd name="T56" fmla="*/ 5 w 326"/>
                <a:gd name="T57" fmla="*/ 13 h 135"/>
                <a:gd name="T58" fmla="*/ 5 w 326"/>
                <a:gd name="T59" fmla="*/ 14 h 135"/>
                <a:gd name="T60" fmla="*/ 6 w 326"/>
                <a:gd name="T61" fmla="*/ 15 h 135"/>
                <a:gd name="T62" fmla="*/ 7 w 326"/>
                <a:gd name="T63" fmla="*/ 15 h 135"/>
                <a:gd name="T64" fmla="*/ 9 w 326"/>
                <a:gd name="T65" fmla="*/ 15 h 135"/>
                <a:gd name="T66" fmla="*/ 11 w 326"/>
                <a:gd name="T67" fmla="*/ 14 h 135"/>
                <a:gd name="T68" fmla="*/ 12 w 326"/>
                <a:gd name="T69" fmla="*/ 14 h 135"/>
                <a:gd name="T70" fmla="*/ 13 w 326"/>
                <a:gd name="T71" fmla="*/ 12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03" name="Freeform 432">
              <a:extLst>
                <a:ext uri="{FF2B5EF4-FFF2-40B4-BE49-F238E27FC236}">
                  <a16:creationId xmlns:a16="http://schemas.microsoft.com/office/drawing/2014/main" id="{DF4629DB-D0B9-4344-95D8-0A7D63806D14}"/>
                </a:ext>
              </a:extLst>
            </p:cNvPr>
            <p:cNvSpPr>
              <a:spLocks/>
            </p:cNvSpPr>
            <p:nvPr/>
          </p:nvSpPr>
          <p:spPr bwMode="auto">
            <a:xfrm>
              <a:off x="1584" y="1245"/>
              <a:ext cx="48" cy="18"/>
            </a:xfrm>
            <a:custGeom>
              <a:avLst/>
              <a:gdLst>
                <a:gd name="T0" fmla="*/ 5 w 159"/>
                <a:gd name="T1" fmla="*/ 5 h 56"/>
                <a:gd name="T2" fmla="*/ 4 w 159"/>
                <a:gd name="T3" fmla="*/ 5 h 56"/>
                <a:gd name="T4" fmla="*/ 4 w 159"/>
                <a:gd name="T5" fmla="*/ 5 h 56"/>
                <a:gd name="T6" fmla="*/ 3 w 159"/>
                <a:gd name="T7" fmla="*/ 5 h 56"/>
                <a:gd name="T8" fmla="*/ 2 w 159"/>
                <a:gd name="T9" fmla="*/ 4 h 56"/>
                <a:gd name="T10" fmla="*/ 1 w 159"/>
                <a:gd name="T11" fmla="*/ 3 h 56"/>
                <a:gd name="T12" fmla="*/ 1 w 159"/>
                <a:gd name="T13" fmla="*/ 3 h 56"/>
                <a:gd name="T14" fmla="*/ 0 w 159"/>
                <a:gd name="T15" fmla="*/ 2 h 56"/>
                <a:gd name="T16" fmla="*/ 0 w 159"/>
                <a:gd name="T17" fmla="*/ 2 h 56"/>
                <a:gd name="T18" fmla="*/ 0 w 159"/>
                <a:gd name="T19" fmla="*/ 1 h 56"/>
                <a:gd name="T20" fmla="*/ 0 w 159"/>
                <a:gd name="T21" fmla="*/ 1 h 56"/>
                <a:gd name="T22" fmla="*/ 2 w 159"/>
                <a:gd name="T23" fmla="*/ 1 h 56"/>
                <a:gd name="T24" fmla="*/ 4 w 159"/>
                <a:gd name="T25" fmla="*/ 1 h 56"/>
                <a:gd name="T26" fmla="*/ 5 w 159"/>
                <a:gd name="T27" fmla="*/ 1 h 56"/>
                <a:gd name="T28" fmla="*/ 6 w 159"/>
                <a:gd name="T29" fmla="*/ 1 h 56"/>
                <a:gd name="T30" fmla="*/ 9 w 159"/>
                <a:gd name="T31" fmla="*/ 1 h 56"/>
                <a:gd name="T32" fmla="*/ 12 w 159"/>
                <a:gd name="T33" fmla="*/ 0 h 56"/>
                <a:gd name="T34" fmla="*/ 13 w 159"/>
                <a:gd name="T35" fmla="*/ 0 h 56"/>
                <a:gd name="T36" fmla="*/ 13 w 159"/>
                <a:gd name="T37" fmla="*/ 0 h 56"/>
                <a:gd name="T38" fmla="*/ 14 w 159"/>
                <a:gd name="T39" fmla="*/ 0 h 56"/>
                <a:gd name="T40" fmla="*/ 15 w 159"/>
                <a:gd name="T41" fmla="*/ 0 h 56"/>
                <a:gd name="T42" fmla="*/ 15 w 159"/>
                <a:gd name="T43" fmla="*/ 1 h 56"/>
                <a:gd name="T44" fmla="*/ 16 w 159"/>
                <a:gd name="T45" fmla="*/ 1 h 56"/>
                <a:gd name="T46" fmla="*/ 16 w 159"/>
                <a:gd name="T47" fmla="*/ 2 h 56"/>
                <a:gd name="T48" fmla="*/ 16 w 159"/>
                <a:gd name="T49" fmla="*/ 2 h 56"/>
                <a:gd name="T50" fmla="*/ 16 w 159"/>
                <a:gd name="T51" fmla="*/ 3 h 56"/>
                <a:gd name="T52" fmla="*/ 16 w 159"/>
                <a:gd name="T53" fmla="*/ 4 h 56"/>
                <a:gd name="T54" fmla="*/ 15 w 159"/>
                <a:gd name="T55" fmla="*/ 5 h 56"/>
                <a:gd name="T56" fmla="*/ 15 w 159"/>
                <a:gd name="T57" fmla="*/ 5 h 56"/>
                <a:gd name="T58" fmla="*/ 14 w 159"/>
                <a:gd name="T59" fmla="*/ 5 h 56"/>
                <a:gd name="T60" fmla="*/ 13 w 159"/>
                <a:gd name="T61" fmla="*/ 5 h 56"/>
                <a:gd name="T62" fmla="*/ 13 w 159"/>
                <a:gd name="T63" fmla="*/ 6 h 56"/>
                <a:gd name="T64" fmla="*/ 12 w 159"/>
                <a:gd name="T65" fmla="*/ 6 h 56"/>
                <a:gd name="T66" fmla="*/ 8 w 159"/>
                <a:gd name="T67" fmla="*/ 6 h 56"/>
                <a:gd name="T68" fmla="*/ 5 w 159"/>
                <a:gd name="T69" fmla="*/ 5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004" name="Freeform 433">
              <a:extLst>
                <a:ext uri="{FF2B5EF4-FFF2-40B4-BE49-F238E27FC236}">
                  <a16:creationId xmlns:a16="http://schemas.microsoft.com/office/drawing/2014/main" id="{3DB212C6-919F-4974-B8FE-DCCAE68AE0B6}"/>
                </a:ext>
              </a:extLst>
            </p:cNvPr>
            <p:cNvSpPr>
              <a:spLocks/>
            </p:cNvSpPr>
            <p:nvPr/>
          </p:nvSpPr>
          <p:spPr bwMode="auto">
            <a:xfrm>
              <a:off x="592" y="1280"/>
              <a:ext cx="1208" cy="539"/>
            </a:xfrm>
            <a:custGeom>
              <a:avLst/>
              <a:gdLst>
                <a:gd name="T0" fmla="*/ 305 w 3734"/>
                <a:gd name="T1" fmla="*/ 147 h 1644"/>
                <a:gd name="T2" fmla="*/ 266 w 3734"/>
                <a:gd name="T3" fmla="*/ 164 h 1644"/>
                <a:gd name="T4" fmla="*/ 241 w 3734"/>
                <a:gd name="T5" fmla="*/ 171 h 1644"/>
                <a:gd name="T6" fmla="*/ 239 w 3734"/>
                <a:gd name="T7" fmla="*/ 176 h 1644"/>
                <a:gd name="T8" fmla="*/ 227 w 3734"/>
                <a:gd name="T9" fmla="*/ 173 h 1644"/>
                <a:gd name="T10" fmla="*/ 237 w 3734"/>
                <a:gd name="T11" fmla="*/ 163 h 1644"/>
                <a:gd name="T12" fmla="*/ 226 w 3734"/>
                <a:gd name="T13" fmla="*/ 152 h 1644"/>
                <a:gd name="T14" fmla="*/ 218 w 3734"/>
                <a:gd name="T15" fmla="*/ 139 h 1644"/>
                <a:gd name="T16" fmla="*/ 203 w 3734"/>
                <a:gd name="T17" fmla="*/ 142 h 1644"/>
                <a:gd name="T18" fmla="*/ 185 w 3734"/>
                <a:gd name="T19" fmla="*/ 138 h 1644"/>
                <a:gd name="T20" fmla="*/ 27 w 3734"/>
                <a:gd name="T21" fmla="*/ 133 h 1644"/>
                <a:gd name="T22" fmla="*/ 13 w 3734"/>
                <a:gd name="T23" fmla="*/ 121 h 1644"/>
                <a:gd name="T24" fmla="*/ 16 w 3734"/>
                <a:gd name="T25" fmla="*/ 112 h 1644"/>
                <a:gd name="T26" fmla="*/ 15 w 3734"/>
                <a:gd name="T27" fmla="*/ 100 h 1644"/>
                <a:gd name="T28" fmla="*/ 27 w 3734"/>
                <a:gd name="T29" fmla="*/ 92 h 1644"/>
                <a:gd name="T30" fmla="*/ 26 w 3734"/>
                <a:gd name="T31" fmla="*/ 80 h 1644"/>
                <a:gd name="T32" fmla="*/ 13 w 3734"/>
                <a:gd name="T33" fmla="*/ 71 h 1644"/>
                <a:gd name="T34" fmla="*/ 63 w 3734"/>
                <a:gd name="T35" fmla="*/ 12 h 1644"/>
                <a:gd name="T36" fmla="*/ 119 w 3734"/>
                <a:gd name="T37" fmla="*/ 11 h 1644"/>
                <a:gd name="T38" fmla="*/ 135 w 3734"/>
                <a:gd name="T39" fmla="*/ 12 h 1644"/>
                <a:gd name="T40" fmla="*/ 171 w 3734"/>
                <a:gd name="T41" fmla="*/ 18 h 1644"/>
                <a:gd name="T42" fmla="*/ 185 w 3734"/>
                <a:gd name="T43" fmla="*/ 22 h 1644"/>
                <a:gd name="T44" fmla="*/ 216 w 3734"/>
                <a:gd name="T45" fmla="*/ 21 h 1644"/>
                <a:gd name="T46" fmla="*/ 238 w 3734"/>
                <a:gd name="T47" fmla="*/ 23 h 1644"/>
                <a:gd name="T48" fmla="*/ 246 w 3734"/>
                <a:gd name="T49" fmla="*/ 23 h 1644"/>
                <a:gd name="T50" fmla="*/ 262 w 3734"/>
                <a:gd name="T51" fmla="*/ 13 h 1644"/>
                <a:gd name="T52" fmla="*/ 269 w 3734"/>
                <a:gd name="T53" fmla="*/ 0 h 1644"/>
                <a:gd name="T54" fmla="*/ 275 w 3734"/>
                <a:gd name="T55" fmla="*/ 11 h 1644"/>
                <a:gd name="T56" fmla="*/ 278 w 3734"/>
                <a:gd name="T57" fmla="*/ 18 h 1644"/>
                <a:gd name="T58" fmla="*/ 283 w 3734"/>
                <a:gd name="T59" fmla="*/ 21 h 1644"/>
                <a:gd name="T60" fmla="*/ 301 w 3734"/>
                <a:gd name="T61" fmla="*/ 13 h 1644"/>
                <a:gd name="T62" fmla="*/ 316 w 3734"/>
                <a:gd name="T63" fmla="*/ 14 h 1644"/>
                <a:gd name="T64" fmla="*/ 300 w 3734"/>
                <a:gd name="T65" fmla="*/ 29 h 1644"/>
                <a:gd name="T66" fmla="*/ 290 w 3734"/>
                <a:gd name="T67" fmla="*/ 31 h 1644"/>
                <a:gd name="T68" fmla="*/ 268 w 3734"/>
                <a:gd name="T69" fmla="*/ 33 h 1644"/>
                <a:gd name="T70" fmla="*/ 260 w 3734"/>
                <a:gd name="T71" fmla="*/ 43 h 1644"/>
                <a:gd name="T72" fmla="*/ 243 w 3734"/>
                <a:gd name="T73" fmla="*/ 50 h 1644"/>
                <a:gd name="T74" fmla="*/ 217 w 3734"/>
                <a:gd name="T75" fmla="*/ 67 h 1644"/>
                <a:gd name="T76" fmla="*/ 219 w 3734"/>
                <a:gd name="T77" fmla="*/ 85 h 1644"/>
                <a:gd name="T78" fmla="*/ 246 w 3734"/>
                <a:gd name="T79" fmla="*/ 97 h 1644"/>
                <a:gd name="T80" fmla="*/ 254 w 3734"/>
                <a:gd name="T81" fmla="*/ 114 h 1644"/>
                <a:gd name="T82" fmla="*/ 272 w 3734"/>
                <a:gd name="T83" fmla="*/ 106 h 1644"/>
                <a:gd name="T84" fmla="*/ 297 w 3734"/>
                <a:gd name="T85" fmla="*/ 84 h 1644"/>
                <a:gd name="T86" fmla="*/ 302 w 3734"/>
                <a:gd name="T87" fmla="*/ 64 h 1644"/>
                <a:gd name="T88" fmla="*/ 329 w 3734"/>
                <a:gd name="T89" fmla="*/ 54 h 1644"/>
                <a:gd name="T90" fmla="*/ 341 w 3734"/>
                <a:gd name="T91" fmla="*/ 64 h 1644"/>
                <a:gd name="T92" fmla="*/ 336 w 3734"/>
                <a:gd name="T93" fmla="*/ 79 h 1644"/>
                <a:gd name="T94" fmla="*/ 364 w 3734"/>
                <a:gd name="T95" fmla="*/ 66 h 1644"/>
                <a:gd name="T96" fmla="*/ 369 w 3734"/>
                <a:gd name="T97" fmla="*/ 83 h 1644"/>
                <a:gd name="T98" fmla="*/ 381 w 3734"/>
                <a:gd name="T99" fmla="*/ 99 h 1644"/>
                <a:gd name="T100" fmla="*/ 377 w 3734"/>
                <a:gd name="T101" fmla="*/ 103 h 1644"/>
                <a:gd name="T102" fmla="*/ 385 w 3734"/>
                <a:gd name="T103" fmla="*/ 110 h 1644"/>
                <a:gd name="T104" fmla="*/ 370 w 3734"/>
                <a:gd name="T105" fmla="*/ 119 h 1644"/>
                <a:gd name="T106" fmla="*/ 328 w 3734"/>
                <a:gd name="T107" fmla="*/ 126 h 1644"/>
                <a:gd name="T108" fmla="*/ 297 w 3734"/>
                <a:gd name="T109" fmla="*/ 144 h 1644"/>
                <a:gd name="T110" fmla="*/ 302 w 3734"/>
                <a:gd name="T111" fmla="*/ 144 h 1644"/>
                <a:gd name="T112" fmla="*/ 335 w 3734"/>
                <a:gd name="T113" fmla="*/ 135 h 1644"/>
                <a:gd name="T114" fmla="*/ 319 w 3734"/>
                <a:gd name="T115" fmla="*/ 140 h 1644"/>
                <a:gd name="T116" fmla="*/ 327 w 3734"/>
                <a:gd name="T117" fmla="*/ 150 h 1644"/>
                <a:gd name="T118" fmla="*/ 338 w 3734"/>
                <a:gd name="T119" fmla="*/ 158 h 1644"/>
                <a:gd name="T120" fmla="*/ 314 w 3734"/>
                <a:gd name="T121" fmla="*/ 168 h 1644"/>
                <a:gd name="T122" fmla="*/ 332 w 3734"/>
                <a:gd name="T123" fmla="*/ 158 h 1644"/>
                <a:gd name="T124" fmla="*/ 314 w 3734"/>
                <a:gd name="T125" fmla="*/ 160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sp>
        <p:nvSpPr>
          <p:cNvPr id="846" name="Freeform 434">
            <a:extLst>
              <a:ext uri="{FF2B5EF4-FFF2-40B4-BE49-F238E27FC236}">
                <a16:creationId xmlns:a16="http://schemas.microsoft.com/office/drawing/2014/main" id="{CAF037EA-96A9-4092-8AC2-7E80AEEFF65E}"/>
              </a:ext>
            </a:extLst>
          </p:cNvPr>
          <p:cNvSpPr>
            <a:spLocks/>
          </p:cNvSpPr>
          <p:nvPr>
            <p:custDataLst>
              <p:tags r:id="rId275"/>
            </p:custDataLst>
          </p:nvPr>
        </p:nvSpPr>
        <p:spPr bwMode="auto">
          <a:xfrm>
            <a:off x="6439698" y="4116039"/>
            <a:ext cx="177560" cy="205315"/>
          </a:xfrm>
          <a:custGeom>
            <a:avLst/>
            <a:gdLst>
              <a:gd name="T0" fmla="*/ 50128901 w 292"/>
              <a:gd name="T1" fmla="*/ 2656485 h 308"/>
              <a:gd name="T2" fmla="*/ 52209613 w 292"/>
              <a:gd name="T3" fmla="*/ 9829614 h 308"/>
              <a:gd name="T4" fmla="*/ 54101130 w 292"/>
              <a:gd name="T5" fmla="*/ 24174842 h 308"/>
              <a:gd name="T6" fmla="*/ 55236301 w 292"/>
              <a:gd name="T7" fmla="*/ 38255142 h 308"/>
              <a:gd name="T8" fmla="*/ 55047106 w 292"/>
              <a:gd name="T9" fmla="*/ 42771270 h 308"/>
              <a:gd name="T10" fmla="*/ 54101130 w 292"/>
              <a:gd name="T11" fmla="*/ 47553356 h 308"/>
              <a:gd name="T12" fmla="*/ 50885682 w 292"/>
              <a:gd name="T13" fmla="*/ 54725970 h 308"/>
              <a:gd name="T14" fmla="*/ 43697134 w 292"/>
              <a:gd name="T15" fmla="*/ 49147041 h 308"/>
              <a:gd name="T16" fmla="*/ 31212425 w 292"/>
              <a:gd name="T17" fmla="*/ 68540313 h 308"/>
              <a:gd name="T18" fmla="*/ 24969853 w 292"/>
              <a:gd name="T19" fmla="*/ 73853283 h 308"/>
              <a:gd name="T20" fmla="*/ 11160777 w 292"/>
              <a:gd name="T21" fmla="*/ 78635369 h 308"/>
              <a:gd name="T22" fmla="*/ 6053377 w 292"/>
              <a:gd name="T23" fmla="*/ 81823255 h 308"/>
              <a:gd name="T24" fmla="*/ 1135171 w 292"/>
              <a:gd name="T25" fmla="*/ 81823255 h 308"/>
              <a:gd name="T26" fmla="*/ 1702322 w 292"/>
              <a:gd name="T27" fmla="*/ 78900812 h 308"/>
              <a:gd name="T28" fmla="*/ 2080712 w 292"/>
              <a:gd name="T29" fmla="*/ 75978884 h 308"/>
              <a:gd name="T30" fmla="*/ 1324366 w 292"/>
              <a:gd name="T31" fmla="*/ 70399955 h 308"/>
              <a:gd name="T32" fmla="*/ 378390 w 292"/>
              <a:gd name="T33" fmla="*/ 65352427 h 308"/>
              <a:gd name="T34" fmla="*/ 0 w 292"/>
              <a:gd name="T35" fmla="*/ 60570341 h 308"/>
              <a:gd name="T36" fmla="*/ 567586 w 292"/>
              <a:gd name="T37" fmla="*/ 54460528 h 308"/>
              <a:gd name="T38" fmla="*/ 2269908 w 292"/>
              <a:gd name="T39" fmla="*/ 49943884 h 308"/>
              <a:gd name="T40" fmla="*/ 4918205 w 292"/>
              <a:gd name="T41" fmla="*/ 46224598 h 308"/>
              <a:gd name="T42" fmla="*/ 7944894 w 292"/>
              <a:gd name="T43" fmla="*/ 42771270 h 308"/>
              <a:gd name="T44" fmla="*/ 14565856 w 292"/>
              <a:gd name="T45" fmla="*/ 35864099 h 308"/>
              <a:gd name="T46" fmla="*/ 17592545 w 292"/>
              <a:gd name="T47" fmla="*/ 31613413 h 308"/>
              <a:gd name="T48" fmla="*/ 19862452 w 292"/>
              <a:gd name="T49" fmla="*/ 26034485 h 308"/>
              <a:gd name="T50" fmla="*/ 18538086 w 292"/>
              <a:gd name="T51" fmla="*/ 25503600 h 308"/>
              <a:gd name="T52" fmla="*/ 17403349 w 292"/>
              <a:gd name="T53" fmla="*/ 24174842 h 308"/>
              <a:gd name="T54" fmla="*/ 15511397 w 292"/>
              <a:gd name="T55" fmla="*/ 19393271 h 308"/>
              <a:gd name="T56" fmla="*/ 13998271 w 292"/>
              <a:gd name="T57" fmla="*/ 13282942 h 308"/>
              <a:gd name="T58" fmla="*/ 13619880 w 292"/>
              <a:gd name="T59" fmla="*/ 6375771 h 308"/>
              <a:gd name="T60" fmla="*/ 17024959 w 292"/>
              <a:gd name="T61" fmla="*/ 5047528 h 308"/>
              <a:gd name="T62" fmla="*/ 19862452 w 292"/>
              <a:gd name="T63" fmla="*/ 5312971 h 308"/>
              <a:gd name="T64" fmla="*/ 24969853 w 292"/>
              <a:gd name="T65" fmla="*/ 6375771 h 308"/>
              <a:gd name="T66" fmla="*/ 31968771 w 292"/>
              <a:gd name="T67" fmla="*/ 5578929 h 308"/>
              <a:gd name="T68" fmla="*/ 39724904 w 292"/>
              <a:gd name="T69" fmla="*/ 3187886 h 308"/>
              <a:gd name="T70" fmla="*/ 48993729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47" name="Freeform 435">
            <a:extLst>
              <a:ext uri="{FF2B5EF4-FFF2-40B4-BE49-F238E27FC236}">
                <a16:creationId xmlns:a16="http://schemas.microsoft.com/office/drawing/2014/main" id="{E177B9CE-5C46-46F8-935E-67BB00546763}"/>
              </a:ext>
            </a:extLst>
          </p:cNvPr>
          <p:cNvSpPr>
            <a:spLocks/>
          </p:cNvSpPr>
          <p:nvPr>
            <p:custDataLst>
              <p:tags r:id="rId276"/>
            </p:custDataLst>
          </p:nvPr>
        </p:nvSpPr>
        <p:spPr bwMode="auto">
          <a:xfrm>
            <a:off x="6588012" y="4311190"/>
            <a:ext cx="8355" cy="75213"/>
          </a:xfrm>
          <a:custGeom>
            <a:avLst/>
            <a:gdLst>
              <a:gd name="T0" fmla="*/ 2262868 w 14"/>
              <a:gd name="T1" fmla="*/ 0 h 7"/>
              <a:gd name="T2" fmla="*/ 2674257 w 14"/>
              <a:gd name="T3" fmla="*/ 199967850 h 7"/>
              <a:gd name="T4" fmla="*/ 2880179 w 14"/>
              <a:gd name="T5" fmla="*/ 466588929 h 7"/>
              <a:gd name="T6" fmla="*/ 0 w 14"/>
              <a:gd name="T7" fmla="*/ 466588929 h 7"/>
              <a:gd name="T8" fmla="*/ 2262868 w 14"/>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7">
                <a:moveTo>
                  <a:pt x="11" y="0"/>
                </a:moveTo>
                <a:lnTo>
                  <a:pt x="13" y="3"/>
                </a:lnTo>
                <a:lnTo>
                  <a:pt x="14" y="7"/>
                </a:lnTo>
                <a:lnTo>
                  <a:pt x="0" y="7"/>
                </a:lnTo>
                <a:lnTo>
                  <a:pt x="11"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48" name="Freeform 436">
            <a:extLst>
              <a:ext uri="{FF2B5EF4-FFF2-40B4-BE49-F238E27FC236}">
                <a16:creationId xmlns:a16="http://schemas.microsoft.com/office/drawing/2014/main" id="{38568C11-35A6-4344-A424-6FE4675216A0}"/>
              </a:ext>
            </a:extLst>
          </p:cNvPr>
          <p:cNvSpPr>
            <a:spLocks/>
          </p:cNvSpPr>
          <p:nvPr>
            <p:custDataLst>
              <p:tags r:id="rId277"/>
            </p:custDataLst>
          </p:nvPr>
        </p:nvSpPr>
        <p:spPr bwMode="auto">
          <a:xfrm>
            <a:off x="5879866" y="3319172"/>
            <a:ext cx="346761" cy="650504"/>
          </a:xfrm>
          <a:custGeom>
            <a:avLst/>
            <a:gdLst>
              <a:gd name="T0" fmla="*/ 14905745 w 581"/>
              <a:gd name="T1" fmla="*/ 31531135 h 955"/>
              <a:gd name="T2" fmla="*/ 19138485 w 581"/>
              <a:gd name="T3" fmla="*/ 41675848 h 955"/>
              <a:gd name="T4" fmla="*/ 20426710 w 581"/>
              <a:gd name="T5" fmla="*/ 49353239 h 955"/>
              <a:gd name="T6" fmla="*/ 17482195 w 581"/>
              <a:gd name="T7" fmla="*/ 64158740 h 955"/>
              <a:gd name="T8" fmla="*/ 17666227 w 581"/>
              <a:gd name="T9" fmla="*/ 89109478 h 955"/>
              <a:gd name="T10" fmla="*/ 17114131 w 581"/>
              <a:gd name="T11" fmla="*/ 99528570 h 955"/>
              <a:gd name="T12" fmla="*/ 15089777 w 581"/>
              <a:gd name="T13" fmla="*/ 108576813 h 955"/>
              <a:gd name="T14" fmla="*/ 10857467 w 581"/>
              <a:gd name="T15" fmla="*/ 117624531 h 955"/>
              <a:gd name="T16" fmla="*/ 5704567 w 581"/>
              <a:gd name="T17" fmla="*/ 126398394 h 955"/>
              <a:gd name="T18" fmla="*/ 3128546 w 581"/>
              <a:gd name="T19" fmla="*/ 131882320 h 955"/>
              <a:gd name="T20" fmla="*/ 368064 w 581"/>
              <a:gd name="T21" fmla="*/ 148607430 h 955"/>
              <a:gd name="T22" fmla="*/ 12697789 w 581"/>
              <a:gd name="T23" fmla="*/ 168896857 h 955"/>
              <a:gd name="T24" fmla="*/ 12697789 w 581"/>
              <a:gd name="T25" fmla="*/ 173832024 h 955"/>
              <a:gd name="T26" fmla="*/ 13617520 w 581"/>
              <a:gd name="T27" fmla="*/ 182332030 h 955"/>
              <a:gd name="T28" fmla="*/ 13617520 w 581"/>
              <a:gd name="T29" fmla="*/ 190831514 h 955"/>
              <a:gd name="T30" fmla="*/ 14353649 w 581"/>
              <a:gd name="T31" fmla="*/ 200976227 h 955"/>
              <a:gd name="T32" fmla="*/ 17298163 w 581"/>
              <a:gd name="T33" fmla="*/ 213314406 h 955"/>
              <a:gd name="T34" fmla="*/ 19322517 w 581"/>
              <a:gd name="T35" fmla="*/ 217153102 h 955"/>
              <a:gd name="T36" fmla="*/ 12513757 w 581"/>
              <a:gd name="T37" fmla="*/ 217701337 h 955"/>
              <a:gd name="T38" fmla="*/ 7728921 w 581"/>
              <a:gd name="T39" fmla="*/ 219894803 h 955"/>
              <a:gd name="T40" fmla="*/ 6624728 w 581"/>
              <a:gd name="T41" fmla="*/ 222637028 h 955"/>
              <a:gd name="T42" fmla="*/ 7728921 w 581"/>
              <a:gd name="T43" fmla="*/ 230862131 h 955"/>
              <a:gd name="T44" fmla="*/ 12697789 w 581"/>
              <a:gd name="T45" fmla="*/ 240184753 h 955"/>
              <a:gd name="T46" fmla="*/ 16009938 w 581"/>
              <a:gd name="T47" fmla="*/ 246490770 h 955"/>
              <a:gd name="T48" fmla="*/ 18402356 w 581"/>
              <a:gd name="T49" fmla="*/ 254167639 h 955"/>
              <a:gd name="T50" fmla="*/ 28707727 w 581"/>
              <a:gd name="T51" fmla="*/ 261845030 h 955"/>
              <a:gd name="T52" fmla="*/ 34780358 w 581"/>
              <a:gd name="T53" fmla="*/ 258280714 h 955"/>
              <a:gd name="T54" fmla="*/ 45637826 w 581"/>
              <a:gd name="T55" fmla="*/ 254716398 h 955"/>
              <a:gd name="T56" fmla="*/ 51342393 w 581"/>
              <a:gd name="T57" fmla="*/ 252522932 h 955"/>
              <a:gd name="T58" fmla="*/ 54654972 w 581"/>
              <a:gd name="T59" fmla="*/ 247861621 h 955"/>
              <a:gd name="T60" fmla="*/ 55575132 w 581"/>
              <a:gd name="T61" fmla="*/ 244571684 h 955"/>
              <a:gd name="T62" fmla="*/ 55575132 w 581"/>
              <a:gd name="T63" fmla="*/ 237991287 h 955"/>
              <a:gd name="T64" fmla="*/ 62199860 w 581"/>
              <a:gd name="T65" fmla="*/ 238813379 h 955"/>
              <a:gd name="T66" fmla="*/ 67536363 w 581"/>
              <a:gd name="T67" fmla="*/ 237442528 h 955"/>
              <a:gd name="T68" fmla="*/ 71585070 w 581"/>
              <a:gd name="T69" fmla="*/ 234700827 h 955"/>
              <a:gd name="T70" fmla="*/ 74529585 w 581"/>
              <a:gd name="T71" fmla="*/ 230862131 h 955"/>
              <a:gd name="T72" fmla="*/ 79498023 w 581"/>
              <a:gd name="T73" fmla="*/ 221265653 h 955"/>
              <a:gd name="T74" fmla="*/ 84650494 w 581"/>
              <a:gd name="T75" fmla="*/ 211943555 h 955"/>
              <a:gd name="T76" fmla="*/ 87779041 w 581"/>
              <a:gd name="T77" fmla="*/ 208379239 h 955"/>
              <a:gd name="T78" fmla="*/ 92379844 w 581"/>
              <a:gd name="T79" fmla="*/ 206185773 h 955"/>
              <a:gd name="T80" fmla="*/ 95876026 w 581"/>
              <a:gd name="T81" fmla="*/ 204266687 h 955"/>
              <a:gd name="T82" fmla="*/ 91827748 w 581"/>
              <a:gd name="T83" fmla="*/ 191105893 h 955"/>
              <a:gd name="T84" fmla="*/ 89067266 w 581"/>
              <a:gd name="T85" fmla="*/ 179041570 h 955"/>
              <a:gd name="T86" fmla="*/ 86858880 w 581"/>
              <a:gd name="T87" fmla="*/ 170815943 h 955"/>
              <a:gd name="T88" fmla="*/ 88515169 w 581"/>
              <a:gd name="T89" fmla="*/ 167251627 h 955"/>
              <a:gd name="T90" fmla="*/ 89619362 w 581"/>
              <a:gd name="T91" fmla="*/ 158752144 h 955"/>
              <a:gd name="T92" fmla="*/ 90907587 w 581"/>
              <a:gd name="T93" fmla="*/ 148333051 h 955"/>
              <a:gd name="T94" fmla="*/ 92931941 w 581"/>
              <a:gd name="T95" fmla="*/ 142300889 h 955"/>
              <a:gd name="T96" fmla="*/ 97900379 w 581"/>
              <a:gd name="T97" fmla="*/ 133253171 h 955"/>
              <a:gd name="T98" fmla="*/ 104893172 w 581"/>
              <a:gd name="T99" fmla="*/ 126398394 h 955"/>
              <a:gd name="T100" fmla="*/ 23738859 w 581"/>
              <a:gd name="T101" fmla="*/ 0 h 955"/>
              <a:gd name="T102" fmla="*/ 18034292 w 581"/>
              <a:gd name="T103" fmla="*/ 1370851 h 955"/>
              <a:gd name="T104" fmla="*/ 12697789 w 581"/>
              <a:gd name="T105" fmla="*/ 658039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49" name="Freeform 437">
            <a:extLst>
              <a:ext uri="{FF2B5EF4-FFF2-40B4-BE49-F238E27FC236}">
                <a16:creationId xmlns:a16="http://schemas.microsoft.com/office/drawing/2014/main" id="{15480222-D9CE-46F0-8CC2-87A8F0A4A68C}"/>
              </a:ext>
            </a:extLst>
          </p:cNvPr>
          <p:cNvSpPr>
            <a:spLocks/>
          </p:cNvSpPr>
          <p:nvPr>
            <p:custDataLst>
              <p:tags r:id="rId278"/>
            </p:custDataLst>
          </p:nvPr>
        </p:nvSpPr>
        <p:spPr bwMode="auto">
          <a:xfrm>
            <a:off x="5428658" y="2516205"/>
            <a:ext cx="20889" cy="73182"/>
          </a:xfrm>
          <a:custGeom>
            <a:avLst/>
            <a:gdLst>
              <a:gd name="T0" fmla="*/ 3235678 w 45"/>
              <a:gd name="T1" fmla="*/ 0 h 36"/>
              <a:gd name="T2" fmla="*/ 0 w 45"/>
              <a:gd name="T3" fmla="*/ 45362813 h 36"/>
              <a:gd name="T4" fmla="*/ 2862439 w 45"/>
              <a:gd name="T5" fmla="*/ 90725625 h 36"/>
              <a:gd name="T6" fmla="*/ 5600347 w 45"/>
              <a:gd name="T7" fmla="*/ 37803138 h 36"/>
              <a:gd name="T8" fmla="*/ 3235678 w 45"/>
              <a:gd name="T9" fmla="*/ 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 h="36">
                <a:moveTo>
                  <a:pt x="26" y="0"/>
                </a:moveTo>
                <a:lnTo>
                  <a:pt x="0" y="18"/>
                </a:lnTo>
                <a:lnTo>
                  <a:pt x="23" y="36"/>
                </a:lnTo>
                <a:lnTo>
                  <a:pt x="45" y="15"/>
                </a:lnTo>
                <a:lnTo>
                  <a:pt x="26" y="0"/>
                </a:lnTo>
                <a:close/>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nvGrpSpPr>
          <p:cNvPr id="850" name="Group 438">
            <a:extLst>
              <a:ext uri="{FF2B5EF4-FFF2-40B4-BE49-F238E27FC236}">
                <a16:creationId xmlns:a16="http://schemas.microsoft.com/office/drawing/2014/main" id="{82560D65-DADC-4D2E-BC28-DD1D31ECB49E}"/>
              </a:ext>
            </a:extLst>
          </p:cNvPr>
          <p:cNvGrpSpPr>
            <a:grpSpLocks/>
          </p:cNvGrpSpPr>
          <p:nvPr>
            <p:custDataLst>
              <p:tags r:id="rId279"/>
            </p:custDataLst>
          </p:nvPr>
        </p:nvGrpSpPr>
        <p:grpSpPr bwMode="auto">
          <a:xfrm>
            <a:off x="3061813" y="5194637"/>
            <a:ext cx="534685" cy="1341547"/>
            <a:chOff x="1589" y="3126"/>
            <a:chExt cx="290" cy="657"/>
          </a:xfrm>
          <a:solidFill>
            <a:schemeClr val="bg1">
              <a:lumMod val="65000"/>
            </a:schemeClr>
          </a:solidFill>
        </p:grpSpPr>
        <p:sp>
          <p:nvSpPr>
            <p:cNvPr id="960" name="Freeform 439">
              <a:extLst>
                <a:ext uri="{FF2B5EF4-FFF2-40B4-BE49-F238E27FC236}">
                  <a16:creationId xmlns:a16="http://schemas.microsoft.com/office/drawing/2014/main" id="{9FBE34DC-B29A-4946-94CC-6182D45159E2}"/>
                </a:ext>
              </a:extLst>
            </p:cNvPr>
            <p:cNvSpPr>
              <a:spLocks/>
            </p:cNvSpPr>
            <p:nvPr/>
          </p:nvSpPr>
          <p:spPr bwMode="auto">
            <a:xfrm>
              <a:off x="1748" y="3536"/>
              <a:ext cx="16" cy="17"/>
            </a:xfrm>
            <a:custGeom>
              <a:avLst/>
              <a:gdLst>
                <a:gd name="T0" fmla="*/ 5 w 46"/>
                <a:gd name="T1" fmla="*/ 1 h 51"/>
                <a:gd name="T2" fmla="*/ 2 w 46"/>
                <a:gd name="T3" fmla="*/ 0 h 51"/>
                <a:gd name="T4" fmla="*/ 1 w 46"/>
                <a:gd name="T5" fmla="*/ 1 h 51"/>
                <a:gd name="T6" fmla="*/ 1 w 46"/>
                <a:gd name="T7" fmla="*/ 1 h 51"/>
                <a:gd name="T8" fmla="*/ 0 w 46"/>
                <a:gd name="T9" fmla="*/ 1 h 51"/>
                <a:gd name="T10" fmla="*/ 0 w 46"/>
                <a:gd name="T11" fmla="*/ 2 h 51"/>
                <a:gd name="T12" fmla="*/ 0 w 46"/>
                <a:gd name="T13" fmla="*/ 2 h 51"/>
                <a:gd name="T14" fmla="*/ 0 w 46"/>
                <a:gd name="T15" fmla="*/ 2 h 51"/>
                <a:gd name="T16" fmla="*/ 0 w 46"/>
                <a:gd name="T17" fmla="*/ 3 h 51"/>
                <a:gd name="T18" fmla="*/ 0 w 46"/>
                <a:gd name="T19" fmla="*/ 3 h 51"/>
                <a:gd name="T20" fmla="*/ 0 w 46"/>
                <a:gd name="T21" fmla="*/ 4 h 51"/>
                <a:gd name="T22" fmla="*/ 1 w 46"/>
                <a:gd name="T23" fmla="*/ 5 h 51"/>
                <a:gd name="T24" fmla="*/ 1 w 46"/>
                <a:gd name="T25" fmla="*/ 5 h 51"/>
                <a:gd name="T26" fmla="*/ 1 w 46"/>
                <a:gd name="T27" fmla="*/ 5 h 51"/>
                <a:gd name="T28" fmla="*/ 2 w 46"/>
                <a:gd name="T29" fmla="*/ 6 h 51"/>
                <a:gd name="T30" fmla="*/ 2 w 46"/>
                <a:gd name="T31" fmla="*/ 6 h 51"/>
                <a:gd name="T32" fmla="*/ 2 w 46"/>
                <a:gd name="T33" fmla="*/ 6 h 51"/>
                <a:gd name="T34" fmla="*/ 2 w 46"/>
                <a:gd name="T35" fmla="*/ 6 h 51"/>
                <a:gd name="T36" fmla="*/ 4 w 46"/>
                <a:gd name="T37" fmla="*/ 6 h 51"/>
                <a:gd name="T38" fmla="*/ 5 w 46"/>
                <a:gd name="T39" fmla="*/ 6 h 51"/>
                <a:gd name="T40" fmla="*/ 5 w 46"/>
                <a:gd name="T41" fmla="*/ 4 h 51"/>
                <a:gd name="T42" fmla="*/ 5 w 46"/>
                <a:gd name="T43" fmla="*/ 3 h 51"/>
                <a:gd name="T44" fmla="*/ 5 w 46"/>
                <a:gd name="T45" fmla="*/ 2 h 51"/>
                <a:gd name="T46" fmla="*/ 5 w 46"/>
                <a:gd name="T47" fmla="*/ 1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61" name="Freeform 440">
              <a:extLst>
                <a:ext uri="{FF2B5EF4-FFF2-40B4-BE49-F238E27FC236}">
                  <a16:creationId xmlns:a16="http://schemas.microsoft.com/office/drawing/2014/main" id="{987795D3-DE32-49EC-814D-A3BC1391D58A}"/>
                </a:ext>
              </a:extLst>
            </p:cNvPr>
            <p:cNvSpPr>
              <a:spLocks/>
            </p:cNvSpPr>
            <p:nvPr/>
          </p:nvSpPr>
          <p:spPr bwMode="auto">
            <a:xfrm>
              <a:off x="1759" y="3735"/>
              <a:ext cx="63" cy="53"/>
            </a:xfrm>
            <a:custGeom>
              <a:avLst/>
              <a:gdLst>
                <a:gd name="T0" fmla="*/ 0 w 192"/>
                <a:gd name="T1" fmla="*/ 0 h 158"/>
                <a:gd name="T2" fmla="*/ 0 w 192"/>
                <a:gd name="T3" fmla="*/ 2 h 158"/>
                <a:gd name="T4" fmla="*/ 0 w 192"/>
                <a:gd name="T5" fmla="*/ 3 h 158"/>
                <a:gd name="T6" fmla="*/ 0 w 192"/>
                <a:gd name="T7" fmla="*/ 4 h 158"/>
                <a:gd name="T8" fmla="*/ 1 w 192"/>
                <a:gd name="T9" fmla="*/ 6 h 158"/>
                <a:gd name="T10" fmla="*/ 1 w 192"/>
                <a:gd name="T11" fmla="*/ 7 h 158"/>
                <a:gd name="T12" fmla="*/ 2 w 192"/>
                <a:gd name="T13" fmla="*/ 8 h 158"/>
                <a:gd name="T14" fmla="*/ 2 w 192"/>
                <a:gd name="T15" fmla="*/ 9 h 158"/>
                <a:gd name="T16" fmla="*/ 3 w 192"/>
                <a:gd name="T17" fmla="*/ 10 h 158"/>
                <a:gd name="T18" fmla="*/ 5 w 192"/>
                <a:gd name="T19" fmla="*/ 14 h 158"/>
                <a:gd name="T20" fmla="*/ 7 w 192"/>
                <a:gd name="T21" fmla="*/ 17 h 158"/>
                <a:gd name="T22" fmla="*/ 8 w 192"/>
                <a:gd name="T23" fmla="*/ 17 h 158"/>
                <a:gd name="T24" fmla="*/ 9 w 192"/>
                <a:gd name="T25" fmla="*/ 17 h 158"/>
                <a:gd name="T26" fmla="*/ 9 w 192"/>
                <a:gd name="T27" fmla="*/ 17 h 158"/>
                <a:gd name="T28" fmla="*/ 10 w 192"/>
                <a:gd name="T29" fmla="*/ 17 h 158"/>
                <a:gd name="T30" fmla="*/ 11 w 192"/>
                <a:gd name="T31" fmla="*/ 18 h 158"/>
                <a:gd name="T32" fmla="*/ 13 w 192"/>
                <a:gd name="T33" fmla="*/ 18 h 158"/>
                <a:gd name="T34" fmla="*/ 16 w 192"/>
                <a:gd name="T35" fmla="*/ 17 h 158"/>
                <a:gd name="T36" fmla="*/ 21 w 192"/>
                <a:gd name="T37" fmla="*/ 17 h 158"/>
                <a:gd name="T38" fmla="*/ 20 w 192"/>
                <a:gd name="T39" fmla="*/ 17 h 158"/>
                <a:gd name="T40" fmla="*/ 19 w 192"/>
                <a:gd name="T41" fmla="*/ 17 h 158"/>
                <a:gd name="T42" fmla="*/ 18 w 192"/>
                <a:gd name="T43" fmla="*/ 17 h 158"/>
                <a:gd name="T44" fmla="*/ 17 w 192"/>
                <a:gd name="T45" fmla="*/ 17 h 158"/>
                <a:gd name="T46" fmla="*/ 16 w 192"/>
                <a:gd name="T47" fmla="*/ 16 h 158"/>
                <a:gd name="T48" fmla="*/ 14 w 192"/>
                <a:gd name="T49" fmla="*/ 15 h 158"/>
                <a:gd name="T50" fmla="*/ 12 w 192"/>
                <a:gd name="T51" fmla="*/ 15 h 158"/>
                <a:gd name="T52" fmla="*/ 11 w 192"/>
                <a:gd name="T53" fmla="*/ 13 h 158"/>
                <a:gd name="T54" fmla="*/ 10 w 192"/>
                <a:gd name="T55" fmla="*/ 12 h 158"/>
                <a:gd name="T56" fmla="*/ 8 w 192"/>
                <a:gd name="T57" fmla="*/ 11 h 158"/>
                <a:gd name="T58" fmla="*/ 7 w 192"/>
                <a:gd name="T59" fmla="*/ 10 h 158"/>
                <a:gd name="T60" fmla="*/ 6 w 192"/>
                <a:gd name="T61" fmla="*/ 8 h 158"/>
                <a:gd name="T62" fmla="*/ 5 w 192"/>
                <a:gd name="T63" fmla="*/ 7 h 158"/>
                <a:gd name="T64" fmla="*/ 4 w 192"/>
                <a:gd name="T65" fmla="*/ 6 h 158"/>
                <a:gd name="T66" fmla="*/ 3 w 192"/>
                <a:gd name="T67" fmla="*/ 4 h 158"/>
                <a:gd name="T68" fmla="*/ 2 w 192"/>
                <a:gd name="T69" fmla="*/ 3 h 158"/>
                <a:gd name="T70" fmla="*/ 2 w 192"/>
                <a:gd name="T71" fmla="*/ 2 h 158"/>
                <a:gd name="T72" fmla="*/ 1 w 192"/>
                <a:gd name="T73" fmla="*/ 1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62" name="Freeform 441">
              <a:extLst>
                <a:ext uri="{FF2B5EF4-FFF2-40B4-BE49-F238E27FC236}">
                  <a16:creationId xmlns:a16="http://schemas.microsoft.com/office/drawing/2014/main" id="{E239072F-8E03-4D0D-A7E8-651A86DF7EA2}"/>
                </a:ext>
              </a:extLst>
            </p:cNvPr>
            <p:cNvSpPr>
              <a:spLocks/>
            </p:cNvSpPr>
            <p:nvPr/>
          </p:nvSpPr>
          <p:spPr bwMode="auto">
            <a:xfrm>
              <a:off x="1589" y="3126"/>
              <a:ext cx="290" cy="606"/>
            </a:xfrm>
            <a:custGeom>
              <a:avLst/>
              <a:gdLst>
                <a:gd name="T0" fmla="*/ 83 w 884"/>
                <a:gd name="T1" fmla="*/ 46 h 1818"/>
                <a:gd name="T2" fmla="*/ 94 w 884"/>
                <a:gd name="T3" fmla="*/ 38 h 1818"/>
                <a:gd name="T4" fmla="*/ 95 w 884"/>
                <a:gd name="T5" fmla="*/ 26 h 1818"/>
                <a:gd name="T6" fmla="*/ 91 w 884"/>
                <a:gd name="T7" fmla="*/ 21 h 1818"/>
                <a:gd name="T8" fmla="*/ 91 w 884"/>
                <a:gd name="T9" fmla="*/ 29 h 1818"/>
                <a:gd name="T10" fmla="*/ 83 w 884"/>
                <a:gd name="T11" fmla="*/ 36 h 1818"/>
                <a:gd name="T12" fmla="*/ 72 w 884"/>
                <a:gd name="T13" fmla="*/ 37 h 1818"/>
                <a:gd name="T14" fmla="*/ 67 w 884"/>
                <a:gd name="T15" fmla="*/ 32 h 1818"/>
                <a:gd name="T16" fmla="*/ 71 w 884"/>
                <a:gd name="T17" fmla="*/ 24 h 1818"/>
                <a:gd name="T18" fmla="*/ 58 w 884"/>
                <a:gd name="T19" fmla="*/ 16 h 1818"/>
                <a:gd name="T20" fmla="*/ 46 w 884"/>
                <a:gd name="T21" fmla="*/ 10 h 1818"/>
                <a:gd name="T22" fmla="*/ 40 w 884"/>
                <a:gd name="T23" fmla="*/ 1 h 1818"/>
                <a:gd name="T24" fmla="*/ 31 w 884"/>
                <a:gd name="T25" fmla="*/ 2 h 1818"/>
                <a:gd name="T26" fmla="*/ 25 w 884"/>
                <a:gd name="T27" fmla="*/ 3 h 1818"/>
                <a:gd name="T28" fmla="*/ 18 w 884"/>
                <a:gd name="T29" fmla="*/ 1 h 1818"/>
                <a:gd name="T30" fmla="*/ 10 w 884"/>
                <a:gd name="T31" fmla="*/ 6 h 1818"/>
                <a:gd name="T32" fmla="*/ 7 w 884"/>
                <a:gd name="T33" fmla="*/ 13 h 1818"/>
                <a:gd name="T34" fmla="*/ 3 w 884"/>
                <a:gd name="T35" fmla="*/ 20 h 1818"/>
                <a:gd name="T36" fmla="*/ 6 w 884"/>
                <a:gd name="T37" fmla="*/ 28 h 1818"/>
                <a:gd name="T38" fmla="*/ 6 w 884"/>
                <a:gd name="T39" fmla="*/ 35 h 1818"/>
                <a:gd name="T40" fmla="*/ 0 w 884"/>
                <a:gd name="T41" fmla="*/ 48 h 1818"/>
                <a:gd name="T42" fmla="*/ 1 w 884"/>
                <a:gd name="T43" fmla="*/ 68 h 1818"/>
                <a:gd name="T44" fmla="*/ 8 w 884"/>
                <a:gd name="T45" fmla="*/ 77 h 1818"/>
                <a:gd name="T46" fmla="*/ 7 w 884"/>
                <a:gd name="T47" fmla="*/ 84 h 1818"/>
                <a:gd name="T48" fmla="*/ 7 w 884"/>
                <a:gd name="T49" fmla="*/ 90 h 1818"/>
                <a:gd name="T50" fmla="*/ 9 w 884"/>
                <a:gd name="T51" fmla="*/ 94 h 1818"/>
                <a:gd name="T52" fmla="*/ 6 w 884"/>
                <a:gd name="T53" fmla="*/ 100 h 1818"/>
                <a:gd name="T54" fmla="*/ 9 w 884"/>
                <a:gd name="T55" fmla="*/ 109 h 1818"/>
                <a:gd name="T56" fmla="*/ 9 w 884"/>
                <a:gd name="T57" fmla="*/ 117 h 1818"/>
                <a:gd name="T58" fmla="*/ 9 w 884"/>
                <a:gd name="T59" fmla="*/ 128 h 1818"/>
                <a:gd name="T60" fmla="*/ 15 w 884"/>
                <a:gd name="T61" fmla="*/ 141 h 1818"/>
                <a:gd name="T62" fmla="*/ 21 w 884"/>
                <a:gd name="T63" fmla="*/ 155 h 1818"/>
                <a:gd name="T64" fmla="*/ 23 w 884"/>
                <a:gd name="T65" fmla="*/ 163 h 1818"/>
                <a:gd name="T66" fmla="*/ 25 w 884"/>
                <a:gd name="T67" fmla="*/ 170 h 1818"/>
                <a:gd name="T68" fmla="*/ 23 w 884"/>
                <a:gd name="T69" fmla="*/ 177 h 1818"/>
                <a:gd name="T70" fmla="*/ 22 w 884"/>
                <a:gd name="T71" fmla="*/ 183 h 1818"/>
                <a:gd name="T72" fmla="*/ 25 w 884"/>
                <a:gd name="T73" fmla="*/ 191 h 1818"/>
                <a:gd name="T74" fmla="*/ 33 w 884"/>
                <a:gd name="T75" fmla="*/ 197 h 1818"/>
                <a:gd name="T76" fmla="*/ 42 w 884"/>
                <a:gd name="T77" fmla="*/ 200 h 1818"/>
                <a:gd name="T78" fmla="*/ 49 w 884"/>
                <a:gd name="T79" fmla="*/ 198 h 1818"/>
                <a:gd name="T80" fmla="*/ 49 w 884"/>
                <a:gd name="T81" fmla="*/ 189 h 1818"/>
                <a:gd name="T82" fmla="*/ 51 w 884"/>
                <a:gd name="T83" fmla="*/ 179 h 1818"/>
                <a:gd name="T84" fmla="*/ 53 w 884"/>
                <a:gd name="T85" fmla="*/ 168 h 1818"/>
                <a:gd name="T86" fmla="*/ 45 w 884"/>
                <a:gd name="T87" fmla="*/ 165 h 1818"/>
                <a:gd name="T88" fmla="*/ 43 w 884"/>
                <a:gd name="T89" fmla="*/ 159 h 1818"/>
                <a:gd name="T90" fmla="*/ 49 w 884"/>
                <a:gd name="T91" fmla="*/ 155 h 1818"/>
                <a:gd name="T92" fmla="*/ 52 w 884"/>
                <a:gd name="T93" fmla="*/ 148 h 1818"/>
                <a:gd name="T94" fmla="*/ 49 w 884"/>
                <a:gd name="T95" fmla="*/ 136 h 1818"/>
                <a:gd name="T96" fmla="*/ 46 w 884"/>
                <a:gd name="T97" fmla="*/ 127 h 1818"/>
                <a:gd name="T98" fmla="*/ 56 w 884"/>
                <a:gd name="T99" fmla="*/ 130 h 1818"/>
                <a:gd name="T100" fmla="*/ 61 w 884"/>
                <a:gd name="T101" fmla="*/ 128 h 1818"/>
                <a:gd name="T102" fmla="*/ 60 w 884"/>
                <a:gd name="T103" fmla="*/ 120 h 1818"/>
                <a:gd name="T104" fmla="*/ 61 w 884"/>
                <a:gd name="T105" fmla="*/ 114 h 1818"/>
                <a:gd name="T106" fmla="*/ 73 w 884"/>
                <a:gd name="T107" fmla="*/ 114 h 1818"/>
                <a:gd name="T108" fmla="*/ 86 w 884"/>
                <a:gd name="T109" fmla="*/ 108 h 1818"/>
                <a:gd name="T110" fmla="*/ 88 w 884"/>
                <a:gd name="T111" fmla="*/ 98 h 1818"/>
                <a:gd name="T112" fmla="*/ 84 w 884"/>
                <a:gd name="T113" fmla="*/ 95 h 1818"/>
                <a:gd name="T114" fmla="*/ 82 w 884"/>
                <a:gd name="T115" fmla="*/ 90 h 1818"/>
                <a:gd name="T116" fmla="*/ 74 w 884"/>
                <a:gd name="T117" fmla="*/ 84 h 1818"/>
                <a:gd name="T118" fmla="*/ 75 w 884"/>
                <a:gd name="T119" fmla="*/ 59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sp>
        <p:nvSpPr>
          <p:cNvPr id="851" name="Freeform 442">
            <a:extLst>
              <a:ext uri="{FF2B5EF4-FFF2-40B4-BE49-F238E27FC236}">
                <a16:creationId xmlns:a16="http://schemas.microsoft.com/office/drawing/2014/main" id="{BDF26151-99AE-4928-AD41-F590F0208535}"/>
              </a:ext>
            </a:extLst>
          </p:cNvPr>
          <p:cNvSpPr>
            <a:spLocks/>
          </p:cNvSpPr>
          <p:nvPr>
            <p:custDataLst>
              <p:tags r:id="rId280"/>
            </p:custDataLst>
          </p:nvPr>
        </p:nvSpPr>
        <p:spPr bwMode="auto">
          <a:xfrm>
            <a:off x="6832415" y="2532467"/>
            <a:ext cx="173381" cy="142298"/>
          </a:xfrm>
          <a:custGeom>
            <a:avLst/>
            <a:gdLst>
              <a:gd name="T0" fmla="*/ 6500147 w 279"/>
              <a:gd name="T1" fmla="*/ 25083665 h 204"/>
              <a:gd name="T2" fmla="*/ 11621353 w 279"/>
              <a:gd name="T3" fmla="*/ 40940901 h 204"/>
              <a:gd name="T4" fmla="*/ 11621353 w 279"/>
              <a:gd name="T5" fmla="*/ 51608507 h 204"/>
              <a:gd name="T6" fmla="*/ 20091161 w 279"/>
              <a:gd name="T7" fmla="*/ 56509795 h 204"/>
              <a:gd name="T8" fmla="*/ 24030926 w 279"/>
              <a:gd name="T9" fmla="*/ 58239851 h 204"/>
              <a:gd name="T10" fmla="*/ 27379527 w 279"/>
              <a:gd name="T11" fmla="*/ 58816536 h 204"/>
              <a:gd name="T12" fmla="*/ 28758023 w 279"/>
              <a:gd name="T13" fmla="*/ 57951508 h 204"/>
              <a:gd name="T14" fmla="*/ 29742854 w 279"/>
              <a:gd name="T15" fmla="*/ 55933110 h 204"/>
              <a:gd name="T16" fmla="*/ 31515903 w 279"/>
              <a:gd name="T17" fmla="*/ 49590645 h 204"/>
              <a:gd name="T18" fmla="*/ 33879674 w 279"/>
              <a:gd name="T19" fmla="*/ 42959300 h 204"/>
              <a:gd name="T20" fmla="*/ 35652280 w 279"/>
              <a:gd name="T21" fmla="*/ 40652559 h 204"/>
              <a:gd name="T22" fmla="*/ 37818995 w 279"/>
              <a:gd name="T23" fmla="*/ 39210845 h 204"/>
              <a:gd name="T24" fmla="*/ 41167596 w 279"/>
              <a:gd name="T25" fmla="*/ 39787531 h 204"/>
              <a:gd name="T26" fmla="*/ 43334312 w 279"/>
              <a:gd name="T27" fmla="*/ 40940901 h 204"/>
              <a:gd name="T28" fmla="*/ 44909863 w 279"/>
              <a:gd name="T29" fmla="*/ 42670957 h 204"/>
              <a:gd name="T30" fmla="*/ 45501027 w 279"/>
              <a:gd name="T31" fmla="*/ 44400477 h 204"/>
              <a:gd name="T32" fmla="*/ 46091748 w 279"/>
              <a:gd name="T33" fmla="*/ 47283903 h 204"/>
              <a:gd name="T34" fmla="*/ 45501027 w 279"/>
              <a:gd name="T35" fmla="*/ 48148931 h 204"/>
              <a:gd name="T36" fmla="*/ 46091748 w 279"/>
              <a:gd name="T37" fmla="*/ 44112671 h 204"/>
              <a:gd name="T38" fmla="*/ 46879524 w 279"/>
              <a:gd name="T39" fmla="*/ 40364216 h 204"/>
              <a:gd name="T40" fmla="*/ 48258464 w 279"/>
              <a:gd name="T41" fmla="*/ 33732871 h 204"/>
              <a:gd name="T42" fmla="*/ 50031513 w 279"/>
              <a:gd name="T43" fmla="*/ 33156186 h 204"/>
              <a:gd name="T44" fmla="*/ 52001174 w 279"/>
              <a:gd name="T45" fmla="*/ 31715010 h 204"/>
              <a:gd name="T46" fmla="*/ 54955665 w 279"/>
              <a:gd name="T47" fmla="*/ 28543240 h 204"/>
              <a:gd name="T48" fmla="*/ 49637404 w 279"/>
              <a:gd name="T49" fmla="*/ 21623553 h 204"/>
              <a:gd name="T50" fmla="*/ 44713252 w 279"/>
              <a:gd name="T51" fmla="*/ 16722264 h 204"/>
              <a:gd name="T52" fmla="*/ 40182766 w 279"/>
              <a:gd name="T53" fmla="*/ 12686004 h 204"/>
              <a:gd name="T54" fmla="*/ 36440055 w 279"/>
              <a:gd name="T55" fmla="*/ 8937549 h 204"/>
              <a:gd name="T56" fmla="*/ 28758023 w 279"/>
              <a:gd name="T57" fmla="*/ 19605691 h 204"/>
              <a:gd name="T58" fmla="*/ 15561119 w 279"/>
              <a:gd name="T59" fmla="*/ 7208030 h 204"/>
              <a:gd name="T60" fmla="*/ 10242413 w 279"/>
              <a:gd name="T61" fmla="*/ 3459575 h 204"/>
              <a:gd name="T62" fmla="*/ 9060972 w 279"/>
              <a:gd name="T63" fmla="*/ 17875635 h 204"/>
              <a:gd name="T64" fmla="*/ 0 w 279"/>
              <a:gd name="T65" fmla="*/ 16145579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0872A6"/>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52" name="Freeform 443">
            <a:extLst>
              <a:ext uri="{FF2B5EF4-FFF2-40B4-BE49-F238E27FC236}">
                <a16:creationId xmlns:a16="http://schemas.microsoft.com/office/drawing/2014/main" id="{4E7F6223-4C68-4379-8C31-A69B305C12B5}"/>
              </a:ext>
            </a:extLst>
          </p:cNvPr>
          <p:cNvSpPr>
            <a:spLocks/>
          </p:cNvSpPr>
          <p:nvPr>
            <p:custDataLst>
              <p:tags r:id="rId281"/>
            </p:custDataLst>
          </p:nvPr>
        </p:nvSpPr>
        <p:spPr bwMode="auto">
          <a:xfrm>
            <a:off x="6090848" y="1977506"/>
            <a:ext cx="292450" cy="195151"/>
          </a:xfrm>
          <a:custGeom>
            <a:avLst/>
            <a:gdLst>
              <a:gd name="T0" fmla="*/ 47042895 w 485"/>
              <a:gd name="T1" fmla="*/ 5371706 h 291"/>
              <a:gd name="T2" fmla="*/ 56003426 w 485"/>
              <a:gd name="T3" fmla="*/ 11817753 h 291"/>
              <a:gd name="T4" fmla="*/ 69444006 w 485"/>
              <a:gd name="T5" fmla="*/ 11817753 h 291"/>
              <a:gd name="T6" fmla="*/ 79337790 w 485"/>
              <a:gd name="T7" fmla="*/ 35184802 h 291"/>
              <a:gd name="T8" fmla="*/ 90538562 w 485"/>
              <a:gd name="T9" fmla="*/ 44853873 h 291"/>
              <a:gd name="T10" fmla="*/ 76910899 w 485"/>
              <a:gd name="T11" fmla="*/ 46465644 h 291"/>
              <a:gd name="T12" fmla="*/ 80831428 w 485"/>
              <a:gd name="T13" fmla="*/ 56403170 h 291"/>
              <a:gd name="T14" fmla="*/ 73177452 w 485"/>
              <a:gd name="T15" fmla="*/ 64729443 h 291"/>
              <a:gd name="T16" fmla="*/ 71870897 w 485"/>
              <a:gd name="T17" fmla="*/ 78158967 h 291"/>
              <a:gd name="T18" fmla="*/ 53203233 w 485"/>
              <a:gd name="T19" fmla="*/ 71444464 h 291"/>
              <a:gd name="T20" fmla="*/ 32295328 w 485"/>
              <a:gd name="T21" fmla="*/ 68221441 h 291"/>
              <a:gd name="T22" fmla="*/ 11200772 w 485"/>
              <a:gd name="T23" fmla="*/ 71444464 h 291"/>
              <a:gd name="T24" fmla="*/ 2800193 w 485"/>
              <a:gd name="T25" fmla="*/ 72787261 h 291"/>
              <a:gd name="T26" fmla="*/ 1493206 w 485"/>
              <a:gd name="T27" fmla="*/ 69026808 h 291"/>
              <a:gd name="T28" fmla="*/ 559952 w 485"/>
              <a:gd name="T29" fmla="*/ 65535329 h 291"/>
              <a:gd name="T30" fmla="*/ 0 w 485"/>
              <a:gd name="T31" fmla="*/ 61506420 h 291"/>
              <a:gd name="T32" fmla="*/ 933254 w 485"/>
              <a:gd name="T33" fmla="*/ 58820826 h 291"/>
              <a:gd name="T34" fmla="*/ 2613542 w 485"/>
              <a:gd name="T35" fmla="*/ 55597803 h 291"/>
              <a:gd name="T36" fmla="*/ 4293399 w 485"/>
              <a:gd name="T37" fmla="*/ 50763008 h 291"/>
              <a:gd name="T38" fmla="*/ 5787036 w 485"/>
              <a:gd name="T39" fmla="*/ 44585417 h 291"/>
              <a:gd name="T40" fmla="*/ 7653976 w 485"/>
              <a:gd name="T41" fmla="*/ 36796573 h 291"/>
              <a:gd name="T42" fmla="*/ 8960531 w 485"/>
              <a:gd name="T43" fmla="*/ 33842005 h 291"/>
              <a:gd name="T44" fmla="*/ 11200772 w 485"/>
              <a:gd name="T45" fmla="*/ 31961779 h 291"/>
              <a:gd name="T46" fmla="*/ 16240773 w 485"/>
              <a:gd name="T47" fmla="*/ 29813097 h 291"/>
              <a:gd name="T48" fmla="*/ 16614507 w 485"/>
              <a:gd name="T49" fmla="*/ 28470300 h 291"/>
              <a:gd name="T50" fmla="*/ 17547760 w 485"/>
              <a:gd name="T51" fmla="*/ 26858529 h 291"/>
              <a:gd name="T52" fmla="*/ 18854315 w 485"/>
              <a:gd name="T53" fmla="*/ 25515732 h 291"/>
              <a:gd name="T54" fmla="*/ 19788001 w 485"/>
              <a:gd name="T55" fmla="*/ 24978821 h 291"/>
              <a:gd name="T56" fmla="*/ 19788001 w 485"/>
              <a:gd name="T57" fmla="*/ 20412482 h 291"/>
              <a:gd name="T58" fmla="*/ 20347953 w 485"/>
              <a:gd name="T59" fmla="*/ 18801229 h 291"/>
              <a:gd name="T60" fmla="*/ 21094556 w 485"/>
              <a:gd name="T61" fmla="*/ 17995344 h 291"/>
              <a:gd name="T62" fmla="*/ 22774845 w 485"/>
              <a:gd name="T63" fmla="*/ 18532774 h 291"/>
              <a:gd name="T64" fmla="*/ 23894749 w 485"/>
              <a:gd name="T65" fmla="*/ 18532774 h 291"/>
              <a:gd name="T66" fmla="*/ 24641352 w 485"/>
              <a:gd name="T67" fmla="*/ 17726888 h 291"/>
              <a:gd name="T68" fmla="*/ 25014653 w 485"/>
              <a:gd name="T69" fmla="*/ 15040776 h 291"/>
              <a:gd name="T70" fmla="*/ 25948339 w 485"/>
              <a:gd name="T71" fmla="*/ 11817753 h 291"/>
              <a:gd name="T72" fmla="*/ 26881592 w 485"/>
              <a:gd name="T73" fmla="*/ 10474956 h 291"/>
              <a:gd name="T74" fmla="*/ 39762221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chemeClr val="accent6">
              <a:lumMod val="40000"/>
              <a:lumOff val="60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53" name="Freeform 444">
            <a:extLst>
              <a:ext uri="{FF2B5EF4-FFF2-40B4-BE49-F238E27FC236}">
                <a16:creationId xmlns:a16="http://schemas.microsoft.com/office/drawing/2014/main" id="{69A42860-4DC2-4B2A-A4A3-081F39E536C4}"/>
              </a:ext>
            </a:extLst>
          </p:cNvPr>
          <p:cNvSpPr>
            <a:spLocks/>
          </p:cNvSpPr>
          <p:nvPr>
            <p:custDataLst>
              <p:tags r:id="rId282"/>
            </p:custDataLst>
          </p:nvPr>
        </p:nvSpPr>
        <p:spPr bwMode="auto">
          <a:xfrm>
            <a:off x="5892400" y="2408465"/>
            <a:ext cx="114892" cy="113838"/>
          </a:xfrm>
          <a:custGeom>
            <a:avLst/>
            <a:gdLst>
              <a:gd name="T0" fmla="*/ 16939615 w 186"/>
              <a:gd name="T1" fmla="*/ 40668397 h 166"/>
              <a:gd name="T2" fmla="*/ 16348894 w 186"/>
              <a:gd name="T3" fmla="*/ 37625591 h 166"/>
              <a:gd name="T4" fmla="*/ 15364064 w 186"/>
              <a:gd name="T5" fmla="*/ 35135593 h 166"/>
              <a:gd name="T6" fmla="*/ 14575845 w 186"/>
              <a:gd name="T7" fmla="*/ 32645594 h 166"/>
              <a:gd name="T8" fmla="*/ 13788069 w 186"/>
              <a:gd name="T9" fmla="*/ 30432262 h 166"/>
              <a:gd name="T10" fmla="*/ 11818408 w 186"/>
              <a:gd name="T11" fmla="*/ 26282265 h 166"/>
              <a:gd name="T12" fmla="*/ 9651693 w 186"/>
              <a:gd name="T13" fmla="*/ 22686127 h 166"/>
              <a:gd name="T14" fmla="*/ 7287922 w 186"/>
              <a:gd name="T15" fmla="*/ 19366129 h 166"/>
              <a:gd name="T16" fmla="*/ 4924152 w 186"/>
              <a:gd name="T17" fmla="*/ 15492798 h 166"/>
              <a:gd name="T18" fmla="*/ 2560825 w 186"/>
              <a:gd name="T19" fmla="*/ 10512801 h 166"/>
              <a:gd name="T20" fmla="*/ 0 w 186"/>
              <a:gd name="T21" fmla="*/ 4979997 h 166"/>
              <a:gd name="T22" fmla="*/ 0 w 186"/>
              <a:gd name="T23" fmla="*/ 0 h 166"/>
              <a:gd name="T24" fmla="*/ 1378940 w 186"/>
              <a:gd name="T25" fmla="*/ 553333 h 166"/>
              <a:gd name="T26" fmla="*/ 2757436 w 186"/>
              <a:gd name="T27" fmla="*/ 829999 h 166"/>
              <a:gd name="T28" fmla="*/ 3939322 w 186"/>
              <a:gd name="T29" fmla="*/ 1106666 h 166"/>
              <a:gd name="T30" fmla="*/ 5318262 w 186"/>
              <a:gd name="T31" fmla="*/ 1106666 h 166"/>
              <a:gd name="T32" fmla="*/ 6500147 w 186"/>
              <a:gd name="T33" fmla="*/ 1106666 h 166"/>
              <a:gd name="T34" fmla="*/ 7879087 w 186"/>
              <a:gd name="T35" fmla="*/ 829999 h 166"/>
              <a:gd name="T36" fmla="*/ 9257583 w 186"/>
              <a:gd name="T37" fmla="*/ 553333 h 166"/>
              <a:gd name="T38" fmla="*/ 10439468 w 186"/>
              <a:gd name="T39" fmla="*/ 0 h 166"/>
              <a:gd name="T40" fmla="*/ 27576138 w 186"/>
              <a:gd name="T41" fmla="*/ 3319998 h 166"/>
              <a:gd name="T42" fmla="*/ 36637110 w 186"/>
              <a:gd name="T43" fmla="*/ 25175599 h 166"/>
              <a:gd name="T44" fmla="*/ 33682619 w 186"/>
              <a:gd name="T45" fmla="*/ 30985595 h 166"/>
              <a:gd name="T46" fmla="*/ 30531073 w 186"/>
              <a:gd name="T47" fmla="*/ 35688926 h 166"/>
              <a:gd name="T48" fmla="*/ 29349188 w 186"/>
              <a:gd name="T49" fmla="*/ 37902258 h 166"/>
              <a:gd name="T50" fmla="*/ 28364358 w 186"/>
              <a:gd name="T51" fmla="*/ 40115064 h 166"/>
              <a:gd name="T52" fmla="*/ 27970248 w 186"/>
              <a:gd name="T53" fmla="*/ 41498396 h 166"/>
              <a:gd name="T54" fmla="*/ 27773193 w 186"/>
              <a:gd name="T55" fmla="*/ 43158395 h 166"/>
              <a:gd name="T56" fmla="*/ 27576138 w 186"/>
              <a:gd name="T57" fmla="*/ 44541728 h 166"/>
              <a:gd name="T58" fmla="*/ 27576138 w 186"/>
              <a:gd name="T59" fmla="*/ 45925060 h 166"/>
              <a:gd name="T60" fmla="*/ 16939615 w 186"/>
              <a:gd name="T61" fmla="*/ 40668397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54" name="Freeform 445">
            <a:extLst>
              <a:ext uri="{FF2B5EF4-FFF2-40B4-BE49-F238E27FC236}">
                <a16:creationId xmlns:a16="http://schemas.microsoft.com/office/drawing/2014/main" id="{682AC7DA-2BD4-4AD7-91A9-6B277433D5C2}"/>
              </a:ext>
            </a:extLst>
          </p:cNvPr>
          <p:cNvSpPr>
            <a:spLocks/>
          </p:cNvSpPr>
          <p:nvPr>
            <p:custDataLst>
              <p:tags r:id="rId283"/>
            </p:custDataLst>
          </p:nvPr>
        </p:nvSpPr>
        <p:spPr bwMode="auto">
          <a:xfrm>
            <a:off x="3615471" y="4276632"/>
            <a:ext cx="114892" cy="73182"/>
          </a:xfrm>
          <a:custGeom>
            <a:avLst/>
            <a:gdLst>
              <a:gd name="T0" fmla="*/ 30136963 w 186"/>
              <a:gd name="T1" fmla="*/ 6341452 h 104"/>
              <a:gd name="T2" fmla="*/ 28758023 w 186"/>
              <a:gd name="T3" fmla="*/ 6341452 h 104"/>
              <a:gd name="T4" fmla="*/ 27773193 w 186"/>
              <a:gd name="T5" fmla="*/ 6039216 h 104"/>
              <a:gd name="T6" fmla="*/ 26788363 w 186"/>
              <a:gd name="T7" fmla="*/ 5435295 h 104"/>
              <a:gd name="T8" fmla="*/ 26197642 w 186"/>
              <a:gd name="T9" fmla="*/ 4529687 h 104"/>
              <a:gd name="T10" fmla="*/ 25606477 w 186"/>
              <a:gd name="T11" fmla="*/ 3925765 h 104"/>
              <a:gd name="T12" fmla="*/ 24621647 w 186"/>
              <a:gd name="T13" fmla="*/ 3321844 h 104"/>
              <a:gd name="T14" fmla="*/ 23636817 w 186"/>
              <a:gd name="T15" fmla="*/ 3019608 h 104"/>
              <a:gd name="T16" fmla="*/ 22257877 w 186"/>
              <a:gd name="T17" fmla="*/ 2717922 h 104"/>
              <a:gd name="T18" fmla="*/ 19697495 w 186"/>
              <a:gd name="T19" fmla="*/ 2415687 h 104"/>
              <a:gd name="T20" fmla="*/ 17333725 w 186"/>
              <a:gd name="T21" fmla="*/ 1811765 h 104"/>
              <a:gd name="T22" fmla="*/ 14772899 w 186"/>
              <a:gd name="T23" fmla="*/ 906157 h 104"/>
              <a:gd name="T24" fmla="*/ 12606184 w 186"/>
              <a:gd name="T25" fmla="*/ 302236 h 104"/>
              <a:gd name="T26" fmla="*/ 11818408 w 186"/>
              <a:gd name="T27" fmla="*/ 0 h 104"/>
              <a:gd name="T28" fmla="*/ 10636523 w 186"/>
              <a:gd name="T29" fmla="*/ 0 h 104"/>
              <a:gd name="T30" fmla="*/ 10045802 w 186"/>
              <a:gd name="T31" fmla="*/ 302236 h 104"/>
              <a:gd name="T32" fmla="*/ 9060972 w 186"/>
              <a:gd name="T33" fmla="*/ 603922 h 104"/>
              <a:gd name="T34" fmla="*/ 8666862 w 186"/>
              <a:gd name="T35" fmla="*/ 1207843 h 104"/>
              <a:gd name="T36" fmla="*/ 8272753 w 186"/>
              <a:gd name="T37" fmla="*/ 1811765 h 104"/>
              <a:gd name="T38" fmla="*/ 8076142 w 186"/>
              <a:gd name="T39" fmla="*/ 3019608 h 104"/>
              <a:gd name="T40" fmla="*/ 7879087 w 186"/>
              <a:gd name="T41" fmla="*/ 4529687 h 104"/>
              <a:gd name="T42" fmla="*/ 6697202 w 186"/>
              <a:gd name="T43" fmla="*/ 8153217 h 104"/>
              <a:gd name="T44" fmla="*/ 3939322 w 186"/>
              <a:gd name="T45" fmla="*/ 14192433 h 104"/>
              <a:gd name="T46" fmla="*/ 1378940 w 186"/>
              <a:gd name="T47" fmla="*/ 19929963 h 104"/>
              <a:gd name="T48" fmla="*/ 0 w 186"/>
              <a:gd name="T49" fmla="*/ 23251807 h 104"/>
              <a:gd name="T50" fmla="*/ 1575995 w 186"/>
              <a:gd name="T51" fmla="*/ 23251807 h 104"/>
              <a:gd name="T52" fmla="*/ 3151546 w 186"/>
              <a:gd name="T53" fmla="*/ 23553493 h 104"/>
              <a:gd name="T54" fmla="*/ 4136376 w 186"/>
              <a:gd name="T55" fmla="*/ 23855729 h 104"/>
              <a:gd name="T56" fmla="*/ 4924152 w 186"/>
              <a:gd name="T57" fmla="*/ 24459650 h 104"/>
              <a:gd name="T58" fmla="*/ 6500147 w 186"/>
              <a:gd name="T59" fmla="*/ 25667494 h 104"/>
              <a:gd name="T60" fmla="*/ 7879087 w 186"/>
              <a:gd name="T61" fmla="*/ 26875337 h 104"/>
              <a:gd name="T62" fmla="*/ 8863917 w 186"/>
              <a:gd name="T63" fmla="*/ 28385416 h 104"/>
              <a:gd name="T64" fmla="*/ 10242413 w 186"/>
              <a:gd name="T65" fmla="*/ 29593259 h 104"/>
              <a:gd name="T66" fmla="*/ 11030633 w 186"/>
              <a:gd name="T67" fmla="*/ 30197181 h 104"/>
              <a:gd name="T68" fmla="*/ 12015463 w 186"/>
              <a:gd name="T69" fmla="*/ 30498867 h 104"/>
              <a:gd name="T70" fmla="*/ 13000294 w 186"/>
              <a:gd name="T71" fmla="*/ 30801102 h 104"/>
              <a:gd name="T72" fmla="*/ 14575845 w 186"/>
              <a:gd name="T73" fmla="*/ 30801102 h 104"/>
              <a:gd name="T74" fmla="*/ 21075991 w 186"/>
              <a:gd name="T75" fmla="*/ 31102788 h 104"/>
              <a:gd name="T76" fmla="*/ 25803532 w 186"/>
              <a:gd name="T77" fmla="*/ 31405024 h 104"/>
              <a:gd name="T78" fmla="*/ 26591308 w 186"/>
              <a:gd name="T79" fmla="*/ 31102788 h 104"/>
              <a:gd name="T80" fmla="*/ 27379527 w 186"/>
              <a:gd name="T81" fmla="*/ 30801102 h 104"/>
              <a:gd name="T82" fmla="*/ 27970248 w 186"/>
              <a:gd name="T83" fmla="*/ 30197181 h 104"/>
              <a:gd name="T84" fmla="*/ 28560969 w 186"/>
              <a:gd name="T85" fmla="*/ 29291024 h 104"/>
              <a:gd name="T86" fmla="*/ 28955078 w 186"/>
              <a:gd name="T87" fmla="*/ 28385416 h 104"/>
              <a:gd name="T88" fmla="*/ 29546243 w 186"/>
              <a:gd name="T89" fmla="*/ 26573651 h 104"/>
              <a:gd name="T90" fmla="*/ 29939909 w 186"/>
              <a:gd name="T91" fmla="*/ 25063572 h 104"/>
              <a:gd name="T92" fmla="*/ 30136963 w 186"/>
              <a:gd name="T93" fmla="*/ 23251807 h 104"/>
              <a:gd name="T94" fmla="*/ 36637110 w 186"/>
              <a:gd name="T95" fmla="*/ 8153217 h 104"/>
              <a:gd name="T96" fmla="*/ 30136963 w 186"/>
              <a:gd name="T97" fmla="*/ 6341452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55" name="Freeform 446">
            <a:extLst>
              <a:ext uri="{FF2B5EF4-FFF2-40B4-BE49-F238E27FC236}">
                <a16:creationId xmlns:a16="http://schemas.microsoft.com/office/drawing/2014/main" id="{24EDC36B-05C4-402D-B8E3-831F32795992}"/>
              </a:ext>
            </a:extLst>
          </p:cNvPr>
          <p:cNvSpPr>
            <a:spLocks/>
          </p:cNvSpPr>
          <p:nvPr>
            <p:custDataLst>
              <p:tags r:id="rId284"/>
            </p:custDataLst>
          </p:nvPr>
        </p:nvSpPr>
        <p:spPr bwMode="auto">
          <a:xfrm>
            <a:off x="6113825" y="2453187"/>
            <a:ext cx="183826" cy="126035"/>
          </a:xfrm>
          <a:custGeom>
            <a:avLst/>
            <a:gdLst>
              <a:gd name="T0" fmla="*/ 14524002 w 311"/>
              <a:gd name="T1" fmla="*/ 11121763 h 179"/>
              <a:gd name="T2" fmla="*/ 21142621 w 311"/>
              <a:gd name="T3" fmla="*/ 7609627 h 179"/>
              <a:gd name="T4" fmla="*/ 27209832 w 311"/>
              <a:gd name="T5" fmla="*/ 4097492 h 179"/>
              <a:gd name="T6" fmla="*/ 32725634 w 311"/>
              <a:gd name="T7" fmla="*/ 1170712 h 179"/>
              <a:gd name="T8" fmla="*/ 38792415 w 311"/>
              <a:gd name="T9" fmla="*/ 0 h 179"/>
              <a:gd name="T10" fmla="*/ 43388917 w 311"/>
              <a:gd name="T11" fmla="*/ 585356 h 179"/>
              <a:gd name="T12" fmla="*/ 47065690 w 311"/>
              <a:gd name="T13" fmla="*/ 1756068 h 179"/>
              <a:gd name="T14" fmla="*/ 53684309 w 311"/>
              <a:gd name="T15" fmla="*/ 3512136 h 179"/>
              <a:gd name="T16" fmla="*/ 52765009 w 311"/>
              <a:gd name="T17" fmla="*/ 8194983 h 179"/>
              <a:gd name="T18" fmla="*/ 51110354 w 311"/>
              <a:gd name="T19" fmla="*/ 12292475 h 179"/>
              <a:gd name="T20" fmla="*/ 49455699 w 311"/>
              <a:gd name="T21" fmla="*/ 15511933 h 179"/>
              <a:gd name="T22" fmla="*/ 48720344 w 311"/>
              <a:gd name="T23" fmla="*/ 18146035 h 179"/>
              <a:gd name="T24" fmla="*/ 48904290 w 311"/>
              <a:gd name="T25" fmla="*/ 19316747 h 179"/>
              <a:gd name="T26" fmla="*/ 49823591 w 311"/>
              <a:gd name="T27" fmla="*/ 20780136 h 179"/>
              <a:gd name="T28" fmla="*/ 52397546 w 311"/>
              <a:gd name="T29" fmla="*/ 23121560 h 179"/>
              <a:gd name="T30" fmla="*/ 57177564 w 311"/>
              <a:gd name="T31" fmla="*/ 27218511 h 179"/>
              <a:gd name="T32" fmla="*/ 52765009 w 311"/>
              <a:gd name="T33" fmla="*/ 31316003 h 179"/>
              <a:gd name="T34" fmla="*/ 51662191 w 311"/>
              <a:gd name="T35" fmla="*/ 33657426 h 179"/>
              <a:gd name="T36" fmla="*/ 51110354 w 311"/>
              <a:gd name="T37" fmla="*/ 37754918 h 179"/>
              <a:gd name="T38" fmla="*/ 46330335 w 311"/>
              <a:gd name="T39" fmla="*/ 39803664 h 179"/>
              <a:gd name="T40" fmla="*/ 38792415 w 311"/>
              <a:gd name="T41" fmla="*/ 43315800 h 179"/>
              <a:gd name="T42" fmla="*/ 35115643 w 311"/>
              <a:gd name="T43" fmla="*/ 49169359 h 179"/>
              <a:gd name="T44" fmla="*/ 32725634 w 311"/>
              <a:gd name="T45" fmla="*/ 51510783 h 179"/>
              <a:gd name="T46" fmla="*/ 30335195 w 311"/>
              <a:gd name="T47" fmla="*/ 52388817 h 179"/>
              <a:gd name="T48" fmla="*/ 27761240 w 311"/>
              <a:gd name="T49" fmla="*/ 51218105 h 179"/>
              <a:gd name="T50" fmla="*/ 25187714 w 311"/>
              <a:gd name="T51" fmla="*/ 48876681 h 179"/>
              <a:gd name="T52" fmla="*/ 22061921 w 311"/>
              <a:gd name="T53" fmla="*/ 46242579 h 179"/>
              <a:gd name="T54" fmla="*/ 18017257 w 311"/>
              <a:gd name="T55" fmla="*/ 45364546 h 179"/>
              <a:gd name="T56" fmla="*/ 12133992 w 311"/>
              <a:gd name="T57" fmla="*/ 45364546 h 179"/>
              <a:gd name="T58" fmla="*/ 9376520 w 311"/>
              <a:gd name="T59" fmla="*/ 45949901 h 179"/>
              <a:gd name="T60" fmla="*/ 7170028 w 311"/>
              <a:gd name="T61" fmla="*/ 47120613 h 179"/>
              <a:gd name="T62" fmla="*/ 6618619 w 311"/>
              <a:gd name="T63" fmla="*/ 41559732 h 179"/>
              <a:gd name="T64" fmla="*/ 5883265 w 311"/>
              <a:gd name="T65" fmla="*/ 35998850 h 179"/>
              <a:gd name="T66" fmla="*/ 3860718 w 311"/>
              <a:gd name="T67" fmla="*/ 37462240 h 179"/>
              <a:gd name="T68" fmla="*/ 2390009 w 311"/>
              <a:gd name="T69" fmla="*/ 37754918 h 179"/>
              <a:gd name="T70" fmla="*/ 1286763 w 311"/>
              <a:gd name="T71" fmla="*/ 36876884 h 179"/>
              <a:gd name="T72" fmla="*/ 551409 w 311"/>
              <a:gd name="T73" fmla="*/ 35413494 h 179"/>
              <a:gd name="T74" fmla="*/ 0 w 311"/>
              <a:gd name="T75" fmla="*/ 30730647 h 179"/>
              <a:gd name="T76" fmla="*/ 0 w 311"/>
              <a:gd name="T77" fmla="*/ 25462984 h 179"/>
              <a:gd name="T78" fmla="*/ 551409 w 311"/>
              <a:gd name="T79" fmla="*/ 23999594 h 179"/>
              <a:gd name="T80" fmla="*/ 2390009 w 311"/>
              <a:gd name="T81" fmla="*/ 22828882 h 179"/>
              <a:gd name="T82" fmla="*/ 3860718 w 311"/>
              <a:gd name="T83" fmla="*/ 21072814 h 179"/>
              <a:gd name="T84" fmla="*/ 4596073 w 311"/>
              <a:gd name="T85" fmla="*/ 19902102 h 179"/>
              <a:gd name="T86" fmla="*/ 4780019 w 311"/>
              <a:gd name="T87" fmla="*/ 18146035 h 179"/>
              <a:gd name="T88" fmla="*/ 4412556 w 311"/>
              <a:gd name="T89" fmla="*/ 14926577 h 179"/>
              <a:gd name="T90" fmla="*/ 3493255 w 311"/>
              <a:gd name="T91" fmla="*/ 12585153 h 179"/>
              <a:gd name="T92" fmla="*/ 1470709 w 311"/>
              <a:gd name="T93" fmla="*/ 8487661 h 179"/>
              <a:gd name="T94" fmla="*/ 183946 w 311"/>
              <a:gd name="T95" fmla="*/ 5268204 h 179"/>
              <a:gd name="T96" fmla="*/ 183946 w 311"/>
              <a:gd name="T97" fmla="*/ 3804814 h 179"/>
              <a:gd name="T98" fmla="*/ 1103246 w 311"/>
              <a:gd name="T99" fmla="*/ 1756068 h 179"/>
              <a:gd name="T100" fmla="*/ 0 w 311"/>
              <a:gd name="T101" fmla="*/ 1756068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56" name="Freeform 447">
            <a:extLst>
              <a:ext uri="{FF2B5EF4-FFF2-40B4-BE49-F238E27FC236}">
                <a16:creationId xmlns:a16="http://schemas.microsoft.com/office/drawing/2014/main" id="{D484F507-ADC4-41E8-9061-1D1771522231}"/>
              </a:ext>
            </a:extLst>
          </p:cNvPr>
          <p:cNvSpPr>
            <a:spLocks/>
          </p:cNvSpPr>
          <p:nvPr>
            <p:custDataLst>
              <p:tags r:id="rId285"/>
            </p:custDataLst>
          </p:nvPr>
        </p:nvSpPr>
        <p:spPr bwMode="auto">
          <a:xfrm>
            <a:off x="5215588" y="3658653"/>
            <a:ext cx="248583" cy="215479"/>
          </a:xfrm>
          <a:custGeom>
            <a:avLst/>
            <a:gdLst>
              <a:gd name="T0" fmla="*/ 1156359 w 405"/>
              <a:gd name="T1" fmla="*/ 71880018 h 314"/>
              <a:gd name="T2" fmla="*/ 2505443 w 405"/>
              <a:gd name="T3" fmla="*/ 65521565 h 314"/>
              <a:gd name="T4" fmla="*/ 3276349 w 405"/>
              <a:gd name="T5" fmla="*/ 55845338 h 314"/>
              <a:gd name="T6" fmla="*/ 4432708 w 405"/>
              <a:gd name="T7" fmla="*/ 47827998 h 314"/>
              <a:gd name="T8" fmla="*/ 6167245 w 405"/>
              <a:gd name="T9" fmla="*/ 44786793 h 314"/>
              <a:gd name="T10" fmla="*/ 9251307 w 405"/>
              <a:gd name="T11" fmla="*/ 41469019 h 314"/>
              <a:gd name="T12" fmla="*/ 13876741 w 405"/>
              <a:gd name="T13" fmla="*/ 38980951 h 314"/>
              <a:gd name="T14" fmla="*/ 17923996 w 405"/>
              <a:gd name="T15" fmla="*/ 37046021 h 314"/>
              <a:gd name="T16" fmla="*/ 20043987 w 405"/>
              <a:gd name="T17" fmla="*/ 34557954 h 314"/>
              <a:gd name="T18" fmla="*/ 21778524 w 405"/>
              <a:gd name="T19" fmla="*/ 31516749 h 314"/>
              <a:gd name="T20" fmla="*/ 23706228 w 405"/>
              <a:gd name="T21" fmla="*/ 25710907 h 314"/>
              <a:gd name="T22" fmla="*/ 26211671 w 405"/>
              <a:gd name="T23" fmla="*/ 19075885 h 314"/>
              <a:gd name="T24" fmla="*/ 28331662 w 405"/>
              <a:gd name="T25" fmla="*/ 15205500 h 314"/>
              <a:gd name="T26" fmla="*/ 29873473 w 405"/>
              <a:gd name="T27" fmla="*/ 14099750 h 314"/>
              <a:gd name="T28" fmla="*/ 32764369 w 405"/>
              <a:gd name="T29" fmla="*/ 14099750 h 314"/>
              <a:gd name="T30" fmla="*/ 36426171 w 405"/>
              <a:gd name="T31" fmla="*/ 13270044 h 314"/>
              <a:gd name="T32" fmla="*/ 41052044 w 405"/>
              <a:gd name="T33" fmla="*/ 9676227 h 314"/>
              <a:gd name="T34" fmla="*/ 45677479 w 405"/>
              <a:gd name="T35" fmla="*/ 5529273 h 314"/>
              <a:gd name="T36" fmla="*/ 49532007 w 405"/>
              <a:gd name="T37" fmla="*/ 3041205 h 314"/>
              <a:gd name="T38" fmla="*/ 54350167 w 405"/>
              <a:gd name="T39" fmla="*/ 1105749 h 314"/>
              <a:gd name="T40" fmla="*/ 60517852 w 405"/>
              <a:gd name="T41" fmla="*/ 0 h 314"/>
              <a:gd name="T42" fmla="*/ 63986927 w 405"/>
              <a:gd name="T43" fmla="*/ 3870386 h 314"/>
              <a:gd name="T44" fmla="*/ 64950560 w 405"/>
              <a:gd name="T45" fmla="*/ 9399658 h 314"/>
              <a:gd name="T46" fmla="*/ 66106918 w 405"/>
              <a:gd name="T47" fmla="*/ 13823182 h 314"/>
              <a:gd name="T48" fmla="*/ 67841456 w 405"/>
              <a:gd name="T49" fmla="*/ 17140430 h 314"/>
              <a:gd name="T50" fmla="*/ 70925518 w 405"/>
              <a:gd name="T51" fmla="*/ 20458204 h 314"/>
              <a:gd name="T52" fmla="*/ 73623687 w 405"/>
              <a:gd name="T53" fmla="*/ 23499409 h 314"/>
              <a:gd name="T54" fmla="*/ 75165499 w 405"/>
              <a:gd name="T55" fmla="*/ 25710907 h 314"/>
              <a:gd name="T56" fmla="*/ 76321857 w 405"/>
              <a:gd name="T57" fmla="*/ 31793318 h 314"/>
              <a:gd name="T58" fmla="*/ 76707310 w 405"/>
              <a:gd name="T59" fmla="*/ 39534089 h 314"/>
              <a:gd name="T60" fmla="*/ 76707310 w 405"/>
              <a:gd name="T61" fmla="*/ 46998291 h 314"/>
              <a:gd name="T62" fmla="*/ 77478216 w 405"/>
              <a:gd name="T63" fmla="*/ 54186451 h 314"/>
              <a:gd name="T64" fmla="*/ 76707310 w 405"/>
              <a:gd name="T65" fmla="*/ 59992292 h 314"/>
              <a:gd name="T66" fmla="*/ 73623687 w 405"/>
              <a:gd name="T67" fmla="*/ 62480360 h 314"/>
              <a:gd name="T68" fmla="*/ 70347338 w 405"/>
              <a:gd name="T69" fmla="*/ 66627314 h 314"/>
              <a:gd name="T70" fmla="*/ 69961446 w 405"/>
              <a:gd name="T71" fmla="*/ 65521565 h 314"/>
              <a:gd name="T72" fmla="*/ 68997814 w 405"/>
              <a:gd name="T73" fmla="*/ 64415816 h 314"/>
              <a:gd name="T74" fmla="*/ 65914192 w 405"/>
              <a:gd name="T75" fmla="*/ 62756929 h 314"/>
              <a:gd name="T76" fmla="*/ 61481484 w 405"/>
              <a:gd name="T77" fmla="*/ 61651179 h 314"/>
              <a:gd name="T78" fmla="*/ 29295294 w 405"/>
              <a:gd name="T79" fmla="*/ 66627314 h 314"/>
              <a:gd name="T80" fmla="*/ 28909841 w 405"/>
              <a:gd name="T81" fmla="*/ 71050838 h 314"/>
              <a:gd name="T82" fmla="*/ 28909841 w 405"/>
              <a:gd name="T83" fmla="*/ 75750404 h 314"/>
              <a:gd name="T84" fmla="*/ 29295294 w 405"/>
              <a:gd name="T85" fmla="*/ 86808949 h 314"/>
              <a:gd name="T86" fmla="*/ 26789850 w 405"/>
              <a:gd name="T87" fmla="*/ 86255811 h 314"/>
              <a:gd name="T88" fmla="*/ 24284407 w 405"/>
              <a:gd name="T89" fmla="*/ 84320882 h 314"/>
              <a:gd name="T90" fmla="*/ 19273081 w 405"/>
              <a:gd name="T91" fmla="*/ 80173927 h 314"/>
              <a:gd name="T92" fmla="*/ 17153090 w 405"/>
              <a:gd name="T93" fmla="*/ 84873493 h 314"/>
              <a:gd name="T94" fmla="*/ 15804005 w 405"/>
              <a:gd name="T95" fmla="*/ 86255811 h 314"/>
              <a:gd name="T96" fmla="*/ 14069468 w 405"/>
              <a:gd name="T97" fmla="*/ 86808949 h 314"/>
              <a:gd name="T98" fmla="*/ 11564024 w 405"/>
              <a:gd name="T99" fmla="*/ 85979768 h 314"/>
              <a:gd name="T100" fmla="*/ 9058581 w 405"/>
              <a:gd name="T101" fmla="*/ 83491175 h 314"/>
              <a:gd name="T102" fmla="*/ 5396340 w 405"/>
              <a:gd name="T103" fmla="*/ 80450496 h 314"/>
              <a:gd name="T104" fmla="*/ 0 w 405"/>
              <a:gd name="T105" fmla="*/ 78515040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FCD5B5"/>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57" name="Freeform 448">
            <a:extLst>
              <a:ext uri="{FF2B5EF4-FFF2-40B4-BE49-F238E27FC236}">
                <a16:creationId xmlns:a16="http://schemas.microsoft.com/office/drawing/2014/main" id="{B32136BB-9D27-413C-884E-C2B1896E2692}"/>
              </a:ext>
            </a:extLst>
          </p:cNvPr>
          <p:cNvSpPr>
            <a:spLocks/>
          </p:cNvSpPr>
          <p:nvPr>
            <p:custDataLst>
              <p:tags r:id="rId286"/>
            </p:custDataLst>
          </p:nvPr>
        </p:nvSpPr>
        <p:spPr bwMode="auto">
          <a:xfrm>
            <a:off x="5700219" y="3748097"/>
            <a:ext cx="269472" cy="453320"/>
          </a:xfrm>
          <a:custGeom>
            <a:avLst/>
            <a:gdLst>
              <a:gd name="T0" fmla="*/ 61234220 w 453"/>
              <a:gd name="T1" fmla="*/ 10050052 h 661"/>
              <a:gd name="T2" fmla="*/ 58675402 w 453"/>
              <a:gd name="T3" fmla="*/ 27358797 h 661"/>
              <a:gd name="T4" fmla="*/ 50632545 w 453"/>
              <a:gd name="T5" fmla="*/ 45225497 h 661"/>
              <a:gd name="T6" fmla="*/ 46245571 w 453"/>
              <a:gd name="T7" fmla="*/ 61138300 h 661"/>
              <a:gd name="T8" fmla="*/ 42407129 w 453"/>
              <a:gd name="T9" fmla="*/ 75934664 h 661"/>
              <a:gd name="T10" fmla="*/ 38203142 w 453"/>
              <a:gd name="T11" fmla="*/ 91846938 h 661"/>
              <a:gd name="T12" fmla="*/ 35826882 w 453"/>
              <a:gd name="T13" fmla="*/ 101060058 h 661"/>
              <a:gd name="T14" fmla="*/ 32902090 w 453"/>
              <a:gd name="T15" fmla="*/ 106084820 h 661"/>
              <a:gd name="T16" fmla="*/ 30525831 w 453"/>
              <a:gd name="T17" fmla="*/ 108876706 h 661"/>
              <a:gd name="T18" fmla="*/ 25773311 w 453"/>
              <a:gd name="T19" fmla="*/ 106643303 h 661"/>
              <a:gd name="T20" fmla="*/ 22117428 w 453"/>
              <a:gd name="T21" fmla="*/ 103292933 h 661"/>
              <a:gd name="T22" fmla="*/ 17182350 w 453"/>
              <a:gd name="T23" fmla="*/ 102455473 h 661"/>
              <a:gd name="T24" fmla="*/ 11698312 w 453"/>
              <a:gd name="T25" fmla="*/ 106084820 h 661"/>
              <a:gd name="T26" fmla="*/ 8042857 w 453"/>
              <a:gd name="T27" fmla="*/ 112506053 h 661"/>
              <a:gd name="T28" fmla="*/ 3838442 w 453"/>
              <a:gd name="T29" fmla="*/ 126743406 h 661"/>
              <a:gd name="T30" fmla="*/ 1279623 w 453"/>
              <a:gd name="T31" fmla="*/ 134560054 h 661"/>
              <a:gd name="T32" fmla="*/ 182987 w 453"/>
              <a:gd name="T33" fmla="*/ 139585345 h 661"/>
              <a:gd name="T34" fmla="*/ 1462182 w 453"/>
              <a:gd name="T35" fmla="*/ 144331129 h 661"/>
              <a:gd name="T36" fmla="*/ 3655883 w 453"/>
              <a:gd name="T37" fmla="*/ 146844038 h 661"/>
              <a:gd name="T38" fmla="*/ 10053571 w 453"/>
              <a:gd name="T39" fmla="*/ 146844038 h 661"/>
              <a:gd name="T40" fmla="*/ 12977935 w 453"/>
              <a:gd name="T41" fmla="*/ 152985766 h 661"/>
              <a:gd name="T42" fmla="*/ 13343481 w 453"/>
              <a:gd name="T43" fmla="*/ 164710738 h 661"/>
              <a:gd name="T44" fmla="*/ 12246844 w 453"/>
              <a:gd name="T45" fmla="*/ 175877756 h 661"/>
              <a:gd name="T46" fmla="*/ 79147662 w 453"/>
              <a:gd name="T47" fmla="*/ 184531865 h 661"/>
              <a:gd name="T48" fmla="*/ 80792830 w 453"/>
              <a:gd name="T49" fmla="*/ 162477335 h 661"/>
              <a:gd name="T50" fmla="*/ 75857752 w 453"/>
              <a:gd name="T51" fmla="*/ 158569011 h 661"/>
              <a:gd name="T52" fmla="*/ 68180441 w 453"/>
              <a:gd name="T53" fmla="*/ 155498147 h 661"/>
              <a:gd name="T54" fmla="*/ 64524558 w 453"/>
              <a:gd name="T55" fmla="*/ 153264743 h 661"/>
              <a:gd name="T56" fmla="*/ 62148298 w 453"/>
              <a:gd name="T57" fmla="*/ 149914902 h 661"/>
              <a:gd name="T58" fmla="*/ 60868675 w 453"/>
              <a:gd name="T59" fmla="*/ 143773174 h 661"/>
              <a:gd name="T60" fmla="*/ 60868675 w 453"/>
              <a:gd name="T61" fmla="*/ 129535293 h 661"/>
              <a:gd name="T62" fmla="*/ 61600194 w 453"/>
              <a:gd name="T63" fmla="*/ 119485241 h 661"/>
              <a:gd name="T64" fmla="*/ 64159012 w 453"/>
              <a:gd name="T65" fmla="*/ 110830604 h 661"/>
              <a:gd name="T66" fmla="*/ 68180441 w 453"/>
              <a:gd name="T67" fmla="*/ 101618012 h 661"/>
              <a:gd name="T68" fmla="*/ 71653337 w 453"/>
              <a:gd name="T69" fmla="*/ 92126444 h 661"/>
              <a:gd name="T70" fmla="*/ 72932960 w 453"/>
              <a:gd name="T71" fmla="*/ 82913852 h 661"/>
              <a:gd name="T72" fmla="*/ 71105232 w 453"/>
              <a:gd name="T73" fmla="*/ 74538721 h 661"/>
              <a:gd name="T74" fmla="*/ 68180441 w 453"/>
              <a:gd name="T75" fmla="*/ 68675970 h 661"/>
              <a:gd name="T76" fmla="*/ 62696830 w 453"/>
              <a:gd name="T77" fmla="*/ 60579817 h 661"/>
              <a:gd name="T78" fmla="*/ 60868675 w 453"/>
              <a:gd name="T79" fmla="*/ 53600629 h 661"/>
              <a:gd name="T80" fmla="*/ 61234220 w 453"/>
              <a:gd name="T81" fmla="*/ 48296361 h 661"/>
              <a:gd name="T82" fmla="*/ 64524558 w 453"/>
              <a:gd name="T83" fmla="*/ 45783980 h 661"/>
              <a:gd name="T84" fmla="*/ 74212583 w 453"/>
              <a:gd name="T85" fmla="*/ 45225497 h 661"/>
              <a:gd name="T86" fmla="*/ 72201869 w 453"/>
              <a:gd name="T87" fmla="*/ 42154634 h 661"/>
              <a:gd name="T88" fmla="*/ 69277077 w 453"/>
              <a:gd name="T89" fmla="*/ 32663065 h 661"/>
              <a:gd name="T90" fmla="*/ 67814895 w 453"/>
              <a:gd name="T91" fmla="*/ 20379609 h 661"/>
              <a:gd name="T92" fmla="*/ 68180441 w 453"/>
              <a:gd name="T93" fmla="*/ 12562433 h 661"/>
              <a:gd name="T94" fmla="*/ 67083804 w 453"/>
              <a:gd name="T95" fmla="*/ 3070864 h 661"/>
              <a:gd name="T96" fmla="*/ 63427921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58" name="Freeform 449">
            <a:extLst>
              <a:ext uri="{FF2B5EF4-FFF2-40B4-BE49-F238E27FC236}">
                <a16:creationId xmlns:a16="http://schemas.microsoft.com/office/drawing/2014/main" id="{D8AD13AE-14E0-43E0-9304-A418A87EAD50}"/>
              </a:ext>
            </a:extLst>
          </p:cNvPr>
          <p:cNvSpPr>
            <a:spLocks/>
          </p:cNvSpPr>
          <p:nvPr>
            <p:custDataLst>
              <p:tags r:id="rId287"/>
            </p:custDataLst>
          </p:nvPr>
        </p:nvSpPr>
        <p:spPr bwMode="auto">
          <a:xfrm>
            <a:off x="9111433" y="3435042"/>
            <a:ext cx="77290" cy="73182"/>
          </a:xfrm>
          <a:custGeom>
            <a:avLst/>
            <a:gdLst>
              <a:gd name="T0" fmla="*/ 0 w 126"/>
              <a:gd name="T1" fmla="*/ 16589829 h 105"/>
              <a:gd name="T2" fmla="*/ 777882 w 126"/>
              <a:gd name="T3" fmla="*/ 14516100 h 105"/>
              <a:gd name="T4" fmla="*/ 1944705 w 126"/>
              <a:gd name="T5" fmla="*/ 12146280 h 105"/>
              <a:gd name="T6" fmla="*/ 3111528 w 126"/>
              <a:gd name="T7" fmla="*/ 9775916 h 105"/>
              <a:gd name="T8" fmla="*/ 4666851 w 126"/>
              <a:gd name="T9" fmla="*/ 7406096 h 105"/>
              <a:gd name="T10" fmla="*/ 7194968 w 126"/>
              <a:gd name="T11" fmla="*/ 3258639 h 105"/>
              <a:gd name="T12" fmla="*/ 9139673 w 126"/>
              <a:gd name="T13" fmla="*/ 0 h 105"/>
              <a:gd name="T14" fmla="*/ 21973844 w 126"/>
              <a:gd name="T15" fmla="*/ 0 h 105"/>
              <a:gd name="T16" fmla="*/ 22168314 w 126"/>
              <a:gd name="T17" fmla="*/ 1184910 h 105"/>
              <a:gd name="T18" fmla="*/ 22362785 w 126"/>
              <a:gd name="T19" fmla="*/ 2369820 h 105"/>
              <a:gd name="T20" fmla="*/ 22751726 w 126"/>
              <a:gd name="T21" fmla="*/ 3554730 h 105"/>
              <a:gd name="T22" fmla="*/ 23140667 w 126"/>
              <a:gd name="T23" fmla="*/ 4147457 h 105"/>
              <a:gd name="T24" fmla="*/ 24113019 w 126"/>
              <a:gd name="T25" fmla="*/ 5925094 h 105"/>
              <a:gd name="T26" fmla="*/ 24501960 w 126"/>
              <a:gd name="T27" fmla="*/ 7110004 h 105"/>
              <a:gd name="T28" fmla="*/ 24501960 w 126"/>
              <a:gd name="T29" fmla="*/ 9479824 h 105"/>
              <a:gd name="T30" fmla="*/ 24307490 w 126"/>
              <a:gd name="T31" fmla="*/ 12146280 h 105"/>
              <a:gd name="T32" fmla="*/ 24113019 w 126"/>
              <a:gd name="T33" fmla="*/ 14220009 h 105"/>
              <a:gd name="T34" fmla="*/ 23724078 w 126"/>
              <a:gd name="T35" fmla="*/ 16293737 h 105"/>
              <a:gd name="T36" fmla="*/ 23140667 w 126"/>
              <a:gd name="T37" fmla="*/ 18367466 h 105"/>
              <a:gd name="T38" fmla="*/ 22557255 w 126"/>
              <a:gd name="T39" fmla="*/ 20441194 h 105"/>
              <a:gd name="T40" fmla="*/ 21779373 w 126"/>
              <a:gd name="T41" fmla="*/ 22218287 h 105"/>
              <a:gd name="T42" fmla="*/ 21001491 w 126"/>
              <a:gd name="T43" fmla="*/ 23995924 h 105"/>
              <a:gd name="T44" fmla="*/ 20224050 w 126"/>
              <a:gd name="T45" fmla="*/ 25477470 h 105"/>
              <a:gd name="T46" fmla="*/ 19251698 w 126"/>
              <a:gd name="T47" fmla="*/ 26662380 h 105"/>
              <a:gd name="T48" fmla="*/ 18084875 w 126"/>
              <a:gd name="T49" fmla="*/ 27847290 h 105"/>
              <a:gd name="T50" fmla="*/ 17112522 w 126"/>
              <a:gd name="T51" fmla="*/ 29328291 h 105"/>
              <a:gd name="T52" fmla="*/ 15751229 w 126"/>
              <a:gd name="T53" fmla="*/ 29921019 h 105"/>
              <a:gd name="T54" fmla="*/ 14389935 w 126"/>
              <a:gd name="T55" fmla="*/ 30513201 h 105"/>
              <a:gd name="T56" fmla="*/ 13028642 w 126"/>
              <a:gd name="T57" fmla="*/ 31105929 h 105"/>
              <a:gd name="T58" fmla="*/ 11667789 w 126"/>
              <a:gd name="T59" fmla="*/ 31105929 h 105"/>
              <a:gd name="T60" fmla="*/ 9334143 w 126"/>
              <a:gd name="T61" fmla="*/ 30809837 h 105"/>
              <a:gd name="T62" fmla="*/ 7389438 w 126"/>
              <a:gd name="T63" fmla="*/ 30217110 h 105"/>
              <a:gd name="T64" fmla="*/ 6028145 w 126"/>
              <a:gd name="T65" fmla="*/ 29032200 h 105"/>
              <a:gd name="T66" fmla="*/ 4666851 w 126"/>
              <a:gd name="T67" fmla="*/ 27254563 h 105"/>
              <a:gd name="T68" fmla="*/ 3889410 w 126"/>
              <a:gd name="T69" fmla="*/ 25477470 h 105"/>
              <a:gd name="T70" fmla="*/ 3111528 w 126"/>
              <a:gd name="T71" fmla="*/ 23107106 h 105"/>
              <a:gd name="T72" fmla="*/ 2722587 w 126"/>
              <a:gd name="T73" fmla="*/ 20737286 h 105"/>
              <a:gd name="T74" fmla="*/ 2528117 w 126"/>
              <a:gd name="T75" fmla="*/ 18367466 h 105"/>
              <a:gd name="T76" fmla="*/ 0 w 126"/>
              <a:gd name="T77" fmla="*/ 16589829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59" name="Freeform 450">
            <a:extLst>
              <a:ext uri="{FF2B5EF4-FFF2-40B4-BE49-F238E27FC236}">
                <a16:creationId xmlns:a16="http://schemas.microsoft.com/office/drawing/2014/main" id="{0AA98AE7-0790-4D02-A1E6-458E60F3D931}"/>
              </a:ext>
            </a:extLst>
          </p:cNvPr>
          <p:cNvSpPr>
            <a:spLocks/>
          </p:cNvSpPr>
          <p:nvPr>
            <p:custDataLst>
              <p:tags r:id="rId288"/>
            </p:custDataLst>
          </p:nvPr>
        </p:nvSpPr>
        <p:spPr bwMode="auto">
          <a:xfrm>
            <a:off x="2646210" y="3776557"/>
            <a:ext cx="415697" cy="680997"/>
          </a:xfrm>
          <a:custGeom>
            <a:avLst/>
            <a:gdLst>
              <a:gd name="T0" fmla="*/ 127747945 w 684"/>
              <a:gd name="T1" fmla="*/ 157887946 h 998"/>
              <a:gd name="T2" fmla="*/ 129461414 w 684"/>
              <a:gd name="T3" fmla="*/ 151550528 h 998"/>
              <a:gd name="T4" fmla="*/ 127747945 w 684"/>
              <a:gd name="T5" fmla="*/ 135293081 h 998"/>
              <a:gd name="T6" fmla="*/ 125463319 w 684"/>
              <a:gd name="T7" fmla="*/ 116555888 h 998"/>
              <a:gd name="T8" fmla="*/ 129080498 w 684"/>
              <a:gd name="T9" fmla="*/ 107187555 h 998"/>
              <a:gd name="T10" fmla="*/ 106043997 w 684"/>
              <a:gd name="T11" fmla="*/ 99472209 h 998"/>
              <a:gd name="T12" fmla="*/ 101474745 w 684"/>
              <a:gd name="T13" fmla="*/ 89828290 h 998"/>
              <a:gd name="T14" fmla="*/ 87957666 w 684"/>
              <a:gd name="T15" fmla="*/ 85419446 h 998"/>
              <a:gd name="T16" fmla="*/ 76534535 w 684"/>
              <a:gd name="T17" fmla="*/ 74397599 h 998"/>
              <a:gd name="T18" fmla="*/ 71394127 w 684"/>
              <a:gd name="T19" fmla="*/ 55384821 h 998"/>
              <a:gd name="T20" fmla="*/ 71394127 w 684"/>
              <a:gd name="T21" fmla="*/ 36647628 h 998"/>
              <a:gd name="T22" fmla="*/ 75201982 w 684"/>
              <a:gd name="T23" fmla="*/ 23146036 h 998"/>
              <a:gd name="T24" fmla="*/ 82817257 w 684"/>
              <a:gd name="T25" fmla="*/ 13226007 h 998"/>
              <a:gd name="T26" fmla="*/ 88147906 w 684"/>
              <a:gd name="T27" fmla="*/ 3030916 h 998"/>
              <a:gd name="T28" fmla="*/ 74059669 w 684"/>
              <a:gd name="T29" fmla="*/ 10746262 h 998"/>
              <a:gd name="T30" fmla="*/ 63778852 w 684"/>
              <a:gd name="T31" fmla="*/ 18737193 h 998"/>
              <a:gd name="T32" fmla="*/ 57876611 w 684"/>
              <a:gd name="T33" fmla="*/ 21492523 h 998"/>
              <a:gd name="T34" fmla="*/ 52926879 w 684"/>
              <a:gd name="T35" fmla="*/ 23146036 h 998"/>
              <a:gd name="T36" fmla="*/ 45882761 w 684"/>
              <a:gd name="T37" fmla="*/ 22319280 h 998"/>
              <a:gd name="T38" fmla="*/ 41313508 w 684"/>
              <a:gd name="T39" fmla="*/ 29759040 h 998"/>
              <a:gd name="T40" fmla="*/ 37315413 w 684"/>
              <a:gd name="T41" fmla="*/ 48220647 h 998"/>
              <a:gd name="T42" fmla="*/ 29890378 w 684"/>
              <a:gd name="T43" fmla="*/ 62548995 h 998"/>
              <a:gd name="T44" fmla="*/ 20370958 w 684"/>
              <a:gd name="T45" fmla="*/ 78255272 h 998"/>
              <a:gd name="T46" fmla="*/ 17134695 w 684"/>
              <a:gd name="T47" fmla="*/ 87348020 h 998"/>
              <a:gd name="T48" fmla="*/ 16372862 w 684"/>
              <a:gd name="T49" fmla="*/ 98094281 h 998"/>
              <a:gd name="T50" fmla="*/ 18467248 w 684"/>
              <a:gd name="T51" fmla="*/ 105258456 h 998"/>
              <a:gd name="T52" fmla="*/ 18467248 w 684"/>
              <a:gd name="T53" fmla="*/ 124271234 h 998"/>
              <a:gd name="T54" fmla="*/ 18086332 w 684"/>
              <a:gd name="T55" fmla="*/ 144661940 h 998"/>
              <a:gd name="T56" fmla="*/ 13707756 w 684"/>
              <a:gd name="T57" fmla="*/ 155132616 h 998"/>
              <a:gd name="T58" fmla="*/ 7044118 w 684"/>
              <a:gd name="T59" fmla="*/ 163123547 h 998"/>
              <a:gd name="T60" fmla="*/ 2094386 w 684"/>
              <a:gd name="T61" fmla="*/ 168634208 h 998"/>
              <a:gd name="T62" fmla="*/ 5711565 w 684"/>
              <a:gd name="T63" fmla="*/ 184064899 h 998"/>
              <a:gd name="T64" fmla="*/ 23417417 w 684"/>
              <a:gd name="T65" fmla="*/ 199771175 h 998"/>
              <a:gd name="T66" fmla="*/ 33317317 w 684"/>
              <a:gd name="T67" fmla="*/ 200597407 h 998"/>
              <a:gd name="T68" fmla="*/ 44549771 w 684"/>
              <a:gd name="T69" fmla="*/ 205557422 h 998"/>
              <a:gd name="T70" fmla="*/ 56924974 w 684"/>
              <a:gd name="T71" fmla="*/ 219059014 h 998"/>
              <a:gd name="T72" fmla="*/ 64159332 w 684"/>
              <a:gd name="T73" fmla="*/ 234214119 h 998"/>
              <a:gd name="T74" fmla="*/ 69870897 w 684"/>
              <a:gd name="T75" fmla="*/ 242756221 h 998"/>
              <a:gd name="T76" fmla="*/ 78438245 w 684"/>
              <a:gd name="T77" fmla="*/ 244133624 h 998"/>
              <a:gd name="T78" fmla="*/ 87957666 w 684"/>
              <a:gd name="T79" fmla="*/ 241378293 h 998"/>
              <a:gd name="T80" fmla="*/ 93669231 w 684"/>
              <a:gd name="T81" fmla="*/ 241929464 h 998"/>
              <a:gd name="T82" fmla="*/ 98047806 w 684"/>
              <a:gd name="T83" fmla="*/ 249093639 h 998"/>
              <a:gd name="T84" fmla="*/ 97667326 w 684"/>
              <a:gd name="T85" fmla="*/ 254053654 h 998"/>
              <a:gd name="T86" fmla="*/ 92907398 w 684"/>
              <a:gd name="T87" fmla="*/ 258186912 h 998"/>
              <a:gd name="T88" fmla="*/ 92907398 w 684"/>
              <a:gd name="T89" fmla="*/ 265351086 h 998"/>
              <a:gd name="T90" fmla="*/ 97286410 w 684"/>
              <a:gd name="T91" fmla="*/ 273892663 h 998"/>
              <a:gd name="T92" fmla="*/ 103188215 w 684"/>
              <a:gd name="T93" fmla="*/ 265075501 h 998"/>
              <a:gd name="T94" fmla="*/ 107757467 w 684"/>
              <a:gd name="T95" fmla="*/ 237245035 h 998"/>
              <a:gd name="T96" fmla="*/ 108709540 w 684"/>
              <a:gd name="T97" fmla="*/ 221263698 h 998"/>
              <a:gd name="T98" fmla="*/ 105663081 w 684"/>
              <a:gd name="T99" fmla="*/ 212446010 h 998"/>
              <a:gd name="T100" fmla="*/ 99571036 w 684"/>
              <a:gd name="T101" fmla="*/ 206384178 h 998"/>
              <a:gd name="T102" fmla="*/ 99190119 w 684"/>
              <a:gd name="T103" fmla="*/ 199220004 h 998"/>
              <a:gd name="T104" fmla="*/ 107757467 w 684"/>
              <a:gd name="T105" fmla="*/ 192882061 h 998"/>
              <a:gd name="T106" fmla="*/ 105853757 w 684"/>
              <a:gd name="T107" fmla="*/ 183238142 h 998"/>
              <a:gd name="T108" fmla="*/ 105853757 w 684"/>
              <a:gd name="T109" fmla="*/ 178829298 h 998"/>
              <a:gd name="T110" fmla="*/ 124701486 w 684"/>
              <a:gd name="T111" fmla="*/ 173043051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60" name="Freeform 451">
            <a:extLst>
              <a:ext uri="{FF2B5EF4-FFF2-40B4-BE49-F238E27FC236}">
                <a16:creationId xmlns:a16="http://schemas.microsoft.com/office/drawing/2014/main" id="{68F2B145-4431-4FFA-ABB8-340BFB6634C8}"/>
              </a:ext>
            </a:extLst>
          </p:cNvPr>
          <p:cNvSpPr>
            <a:spLocks/>
          </p:cNvSpPr>
          <p:nvPr>
            <p:custDataLst>
              <p:tags r:id="rId289"/>
            </p:custDataLst>
          </p:nvPr>
        </p:nvSpPr>
        <p:spPr bwMode="auto">
          <a:xfrm>
            <a:off x="5781688" y="4126203"/>
            <a:ext cx="261115" cy="355746"/>
          </a:xfrm>
          <a:custGeom>
            <a:avLst/>
            <a:gdLst>
              <a:gd name="T0" fmla="*/ 81796400 w 429"/>
              <a:gd name="T1" fmla="*/ 6043608 h 524"/>
              <a:gd name="T2" fmla="*/ 81605582 w 429"/>
              <a:gd name="T3" fmla="*/ 11812055 h 524"/>
              <a:gd name="T4" fmla="*/ 80843182 w 429"/>
              <a:gd name="T5" fmla="*/ 14833597 h 524"/>
              <a:gd name="T6" fmla="*/ 79127128 w 429"/>
              <a:gd name="T7" fmla="*/ 18404939 h 524"/>
              <a:gd name="T8" fmla="*/ 78745928 w 429"/>
              <a:gd name="T9" fmla="*/ 22250919 h 524"/>
              <a:gd name="T10" fmla="*/ 78936310 w 429"/>
              <a:gd name="T11" fmla="*/ 43952038 h 524"/>
              <a:gd name="T12" fmla="*/ 77792274 w 429"/>
              <a:gd name="T13" fmla="*/ 56862645 h 524"/>
              <a:gd name="T14" fmla="*/ 75504201 w 429"/>
              <a:gd name="T15" fmla="*/ 66202957 h 524"/>
              <a:gd name="T16" fmla="*/ 70928493 w 429"/>
              <a:gd name="T17" fmla="*/ 76366660 h 524"/>
              <a:gd name="T18" fmla="*/ 64445477 w 429"/>
              <a:gd name="T19" fmla="*/ 84882534 h 524"/>
              <a:gd name="T20" fmla="*/ 60822987 w 429"/>
              <a:gd name="T21" fmla="*/ 91474895 h 524"/>
              <a:gd name="T22" fmla="*/ 59488132 w 429"/>
              <a:gd name="T23" fmla="*/ 113176538 h 524"/>
              <a:gd name="T24" fmla="*/ 57962896 w 429"/>
              <a:gd name="T25" fmla="*/ 120593336 h 524"/>
              <a:gd name="T26" fmla="*/ 55293624 w 429"/>
              <a:gd name="T27" fmla="*/ 123065602 h 524"/>
              <a:gd name="T28" fmla="*/ 51289498 w 429"/>
              <a:gd name="T29" fmla="*/ 124988592 h 524"/>
              <a:gd name="T30" fmla="*/ 48239026 w 429"/>
              <a:gd name="T31" fmla="*/ 129658487 h 524"/>
              <a:gd name="T32" fmla="*/ 44616099 w 429"/>
              <a:gd name="T33" fmla="*/ 137349923 h 524"/>
              <a:gd name="T34" fmla="*/ 42518845 w 429"/>
              <a:gd name="T35" fmla="*/ 138723637 h 524"/>
              <a:gd name="T36" fmla="*/ 38324337 w 429"/>
              <a:gd name="T37" fmla="*/ 138448999 h 524"/>
              <a:gd name="T38" fmla="*/ 36036265 w 429"/>
              <a:gd name="T39" fmla="*/ 136800647 h 524"/>
              <a:gd name="T40" fmla="*/ 27646812 w 429"/>
              <a:gd name="T41" fmla="*/ 137349923 h 524"/>
              <a:gd name="T42" fmla="*/ 23452304 w 429"/>
              <a:gd name="T43" fmla="*/ 137349923 h 524"/>
              <a:gd name="T44" fmla="*/ 21545432 w 429"/>
              <a:gd name="T45" fmla="*/ 135701571 h 524"/>
              <a:gd name="T46" fmla="*/ 18113323 w 429"/>
              <a:gd name="T47" fmla="*/ 135426933 h 524"/>
              <a:gd name="T48" fmla="*/ 14872033 w 429"/>
              <a:gd name="T49" fmla="*/ 137899199 h 524"/>
              <a:gd name="T50" fmla="*/ 11821561 w 429"/>
              <a:gd name="T51" fmla="*/ 142569093 h 524"/>
              <a:gd name="T52" fmla="*/ 5148163 w 429"/>
              <a:gd name="T53" fmla="*/ 134877657 h 524"/>
              <a:gd name="T54" fmla="*/ 1144036 w 429"/>
              <a:gd name="T55" fmla="*/ 122790964 h 524"/>
              <a:gd name="T56" fmla="*/ 4766526 w 429"/>
              <a:gd name="T57" fmla="*/ 118121070 h 524"/>
              <a:gd name="T58" fmla="*/ 8008253 w 429"/>
              <a:gd name="T59" fmla="*/ 116472718 h 524"/>
              <a:gd name="T60" fmla="*/ 11630743 w 429"/>
              <a:gd name="T61" fmla="*/ 117571794 h 524"/>
              <a:gd name="T62" fmla="*/ 11058725 w 429"/>
              <a:gd name="T63" fmla="*/ 114824366 h 524"/>
              <a:gd name="T64" fmla="*/ 8579834 w 429"/>
              <a:gd name="T65" fmla="*/ 106034377 h 524"/>
              <a:gd name="T66" fmla="*/ 8961471 w 429"/>
              <a:gd name="T67" fmla="*/ 100540045 h 524"/>
              <a:gd name="T68" fmla="*/ 10867907 w 429"/>
              <a:gd name="T69" fmla="*/ 97793141 h 524"/>
              <a:gd name="T70" fmla="*/ 13537615 w 429"/>
              <a:gd name="T71" fmla="*/ 96694589 h 524"/>
              <a:gd name="T72" fmla="*/ 16969287 w 429"/>
              <a:gd name="T73" fmla="*/ 92573971 h 524"/>
              <a:gd name="T74" fmla="*/ 19829377 w 429"/>
              <a:gd name="T75" fmla="*/ 91474895 h 524"/>
              <a:gd name="T76" fmla="*/ 21926631 w 429"/>
              <a:gd name="T77" fmla="*/ 93947161 h 524"/>
              <a:gd name="T78" fmla="*/ 25739940 w 429"/>
              <a:gd name="T79" fmla="*/ 98617055 h 524"/>
              <a:gd name="T80" fmla="*/ 29362866 w 429"/>
              <a:gd name="T81" fmla="*/ 96419951 h 524"/>
              <a:gd name="T82" fmla="*/ 34511029 w 429"/>
              <a:gd name="T83" fmla="*/ 96969227 h 524"/>
              <a:gd name="T84" fmla="*/ 37942701 w 429"/>
              <a:gd name="T85" fmla="*/ 93397885 h 524"/>
              <a:gd name="T86" fmla="*/ 40040391 w 429"/>
              <a:gd name="T87" fmla="*/ 86530362 h 524"/>
              <a:gd name="T88" fmla="*/ 40612409 w 429"/>
              <a:gd name="T89" fmla="*/ 79662840 h 524"/>
              <a:gd name="T90" fmla="*/ 40993609 w 429"/>
              <a:gd name="T91" fmla="*/ 73894394 h 524"/>
              <a:gd name="T92" fmla="*/ 38324337 w 429"/>
              <a:gd name="T93" fmla="*/ 64829243 h 524"/>
              <a:gd name="T94" fmla="*/ 35845447 w 429"/>
              <a:gd name="T95" fmla="*/ 55764093 h 524"/>
              <a:gd name="T96" fmla="*/ 39468373 w 429"/>
              <a:gd name="T97" fmla="*/ 48621932 h 524"/>
              <a:gd name="T98" fmla="*/ 40040391 w 429"/>
              <a:gd name="T99" fmla="*/ 45050590 h 524"/>
              <a:gd name="T100" fmla="*/ 38133519 w 429"/>
              <a:gd name="T101" fmla="*/ 42578324 h 524"/>
              <a:gd name="T102" fmla="*/ 37561501 w 429"/>
              <a:gd name="T103" fmla="*/ 37633792 h 524"/>
              <a:gd name="T104" fmla="*/ 35845447 w 429"/>
              <a:gd name="T105" fmla="*/ 35436164 h 524"/>
              <a:gd name="T106" fmla="*/ 30697284 w 429"/>
              <a:gd name="T107" fmla="*/ 36260602 h 524"/>
              <a:gd name="T108" fmla="*/ 26121576 w 429"/>
              <a:gd name="T109" fmla="*/ 35985964 h 524"/>
              <a:gd name="T110" fmla="*/ 23833504 w 429"/>
              <a:gd name="T111" fmla="*/ 32689260 h 524"/>
              <a:gd name="T112" fmla="*/ 23452304 w 429"/>
              <a:gd name="T113" fmla="*/ 28294003 h 524"/>
              <a:gd name="T114" fmla="*/ 25167922 w 429"/>
              <a:gd name="T115" fmla="*/ 20877205 h 524"/>
              <a:gd name="T116" fmla="*/ 58344096 w 429"/>
              <a:gd name="T117" fmla="*/ 10438340 h 524"/>
              <a:gd name="T118" fmla="*/ 61585823 w 429"/>
              <a:gd name="T119" fmla="*/ 4669894 h 524"/>
              <a:gd name="T120" fmla="*/ 65399131 w 429"/>
              <a:gd name="T121" fmla="*/ 1922990 h 524"/>
              <a:gd name="T122" fmla="*/ 71309693 w 429"/>
              <a:gd name="T123" fmla="*/ 1373714 h 524"/>
              <a:gd name="T124" fmla="*/ 77792274 w 429"/>
              <a:gd name="T125" fmla="*/ 1098552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61" name="Freeform 452">
            <a:extLst>
              <a:ext uri="{FF2B5EF4-FFF2-40B4-BE49-F238E27FC236}">
                <a16:creationId xmlns:a16="http://schemas.microsoft.com/office/drawing/2014/main" id="{6CD8F521-0F65-4691-AF55-F257F8168AB0}"/>
              </a:ext>
            </a:extLst>
          </p:cNvPr>
          <p:cNvSpPr>
            <a:spLocks/>
          </p:cNvSpPr>
          <p:nvPr>
            <p:custDataLst>
              <p:tags r:id="rId290"/>
            </p:custDataLst>
          </p:nvPr>
        </p:nvSpPr>
        <p:spPr bwMode="auto">
          <a:xfrm>
            <a:off x="5825553" y="2361710"/>
            <a:ext cx="177560" cy="148397"/>
          </a:xfrm>
          <a:custGeom>
            <a:avLst/>
            <a:gdLst>
              <a:gd name="T0" fmla="*/ 48993729 w 292"/>
              <a:gd name="T1" fmla="*/ 24432522 h 223"/>
              <a:gd name="T2" fmla="*/ 31401620 w 292"/>
              <a:gd name="T3" fmla="*/ 20229050 h 223"/>
              <a:gd name="T4" fmla="*/ 28753322 w 292"/>
              <a:gd name="T5" fmla="*/ 20754420 h 223"/>
              <a:gd name="T6" fmla="*/ 26293784 w 292"/>
              <a:gd name="T7" fmla="*/ 20754420 h 223"/>
              <a:gd name="T8" fmla="*/ 23834682 w 292"/>
              <a:gd name="T9" fmla="*/ 20229050 h 223"/>
              <a:gd name="T10" fmla="*/ 22510750 w 292"/>
              <a:gd name="T11" fmla="*/ 24432522 h 223"/>
              <a:gd name="T12" fmla="*/ 27239760 w 292"/>
              <a:gd name="T13" fmla="*/ 34415576 h 223"/>
              <a:gd name="T14" fmla="*/ 31779575 w 292"/>
              <a:gd name="T15" fmla="*/ 41245898 h 223"/>
              <a:gd name="T16" fmla="*/ 35752240 w 292"/>
              <a:gd name="T17" fmla="*/ 48602103 h 223"/>
              <a:gd name="T18" fmla="*/ 37265801 w 292"/>
              <a:gd name="T19" fmla="*/ 53068004 h 223"/>
              <a:gd name="T20" fmla="*/ 38778928 w 292"/>
              <a:gd name="T21" fmla="*/ 58322216 h 223"/>
              <a:gd name="T22" fmla="*/ 33103942 w 292"/>
              <a:gd name="T23" fmla="*/ 58585157 h 223"/>
              <a:gd name="T24" fmla="*/ 30455644 w 292"/>
              <a:gd name="T25" fmla="*/ 58322216 h 223"/>
              <a:gd name="T26" fmla="*/ 27618151 w 292"/>
              <a:gd name="T27" fmla="*/ 56746106 h 223"/>
              <a:gd name="T28" fmla="*/ 25348243 w 292"/>
              <a:gd name="T29" fmla="*/ 54907055 h 223"/>
              <a:gd name="T30" fmla="*/ 24023877 w 292"/>
              <a:gd name="T31" fmla="*/ 52017264 h 223"/>
              <a:gd name="T32" fmla="*/ 22889140 w 292"/>
              <a:gd name="T33" fmla="*/ 49127473 h 223"/>
              <a:gd name="T34" fmla="*/ 21375579 w 292"/>
              <a:gd name="T35" fmla="*/ 47288422 h 223"/>
              <a:gd name="T36" fmla="*/ 17214154 w 292"/>
              <a:gd name="T37" fmla="*/ 38093678 h 223"/>
              <a:gd name="T38" fmla="*/ 12863099 w 292"/>
              <a:gd name="T39" fmla="*/ 29686734 h 223"/>
              <a:gd name="T40" fmla="*/ 10403997 w 292"/>
              <a:gd name="T41" fmla="*/ 26008632 h 223"/>
              <a:gd name="T42" fmla="*/ 7944894 w 292"/>
              <a:gd name="T43" fmla="*/ 22855900 h 223"/>
              <a:gd name="T44" fmla="*/ 5107401 w 292"/>
              <a:gd name="T45" fmla="*/ 20754420 h 223"/>
              <a:gd name="T46" fmla="*/ 2459103 w 292"/>
              <a:gd name="T47" fmla="*/ 19703680 h 223"/>
              <a:gd name="T48" fmla="*/ 756781 w 292"/>
              <a:gd name="T49" fmla="*/ 17076317 h 223"/>
              <a:gd name="T50" fmla="*/ 189195 w 292"/>
              <a:gd name="T51" fmla="*/ 15237266 h 223"/>
              <a:gd name="T52" fmla="*/ 0 w 292"/>
              <a:gd name="T53" fmla="*/ 12872845 h 223"/>
              <a:gd name="T54" fmla="*/ 7566503 w 292"/>
              <a:gd name="T55" fmla="*/ 14449468 h 223"/>
              <a:gd name="T56" fmla="*/ 13241490 w 292"/>
              <a:gd name="T57" fmla="*/ 14449468 h 223"/>
              <a:gd name="T58" fmla="*/ 17214154 w 292"/>
              <a:gd name="T59" fmla="*/ 13135787 h 223"/>
              <a:gd name="T60" fmla="*/ 20051647 w 292"/>
              <a:gd name="T61" fmla="*/ 10771365 h 223"/>
              <a:gd name="T62" fmla="*/ 24023877 w 292"/>
              <a:gd name="T63" fmla="*/ 5254212 h 223"/>
              <a:gd name="T64" fmla="*/ 26105024 w 292"/>
              <a:gd name="T65" fmla="*/ 2364421 h 223"/>
              <a:gd name="T66" fmla="*/ 28753322 w 292"/>
              <a:gd name="T67" fmla="*/ 0 h 223"/>
              <a:gd name="T68" fmla="*/ 32536356 w 292"/>
              <a:gd name="T69" fmla="*/ 3678102 h 223"/>
              <a:gd name="T70" fmla="*/ 36698216 w 292"/>
              <a:gd name="T71" fmla="*/ 6830322 h 223"/>
              <a:gd name="T72" fmla="*/ 41238031 w 292"/>
              <a:gd name="T73" fmla="*/ 8932314 h 223"/>
              <a:gd name="T74" fmla="*/ 46534627 w 292"/>
              <a:gd name="T75" fmla="*/ 9720626 h 223"/>
              <a:gd name="T76" fmla="*/ 49561315 w 292"/>
              <a:gd name="T77" fmla="*/ 8932314 h 223"/>
              <a:gd name="T78" fmla="*/ 52777199 w 292"/>
              <a:gd name="T79" fmla="*/ 8144003 h 223"/>
              <a:gd name="T80" fmla="*/ 53911935 w 292"/>
              <a:gd name="T81" fmla="*/ 12347475 h 223"/>
              <a:gd name="T82" fmla="*/ 54290325 w 292"/>
              <a:gd name="T83" fmla="*/ 12872845 h 223"/>
              <a:gd name="T84" fmla="*/ 55236301 w 292"/>
              <a:gd name="T85" fmla="*/ 18127057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62" name="Freeform 453">
            <a:extLst>
              <a:ext uri="{FF2B5EF4-FFF2-40B4-BE49-F238E27FC236}">
                <a16:creationId xmlns:a16="http://schemas.microsoft.com/office/drawing/2014/main" id="{FF39266E-8C50-4E7C-9A8C-CB9A25C69F05}"/>
              </a:ext>
            </a:extLst>
          </p:cNvPr>
          <p:cNvSpPr>
            <a:spLocks/>
          </p:cNvSpPr>
          <p:nvPr>
            <p:custDataLst>
              <p:tags r:id="rId291"/>
            </p:custDataLst>
          </p:nvPr>
        </p:nvSpPr>
        <p:spPr bwMode="auto">
          <a:xfrm>
            <a:off x="5756620" y="2176723"/>
            <a:ext cx="233960" cy="101642"/>
          </a:xfrm>
          <a:custGeom>
            <a:avLst/>
            <a:gdLst>
              <a:gd name="T0" fmla="*/ 73925117 w 379"/>
              <a:gd name="T1" fmla="*/ 26321978 h 147"/>
              <a:gd name="T2" fmla="*/ 70968094 w 379"/>
              <a:gd name="T3" fmla="*/ 28282023 h 147"/>
              <a:gd name="T4" fmla="*/ 69785285 w 379"/>
              <a:gd name="T5" fmla="*/ 30242069 h 147"/>
              <a:gd name="T6" fmla="*/ 68405341 w 379"/>
              <a:gd name="T7" fmla="*/ 32762506 h 147"/>
              <a:gd name="T8" fmla="*/ 65645454 w 379"/>
              <a:gd name="T9" fmla="*/ 35562874 h 147"/>
              <a:gd name="T10" fmla="*/ 63082701 w 379"/>
              <a:gd name="T11" fmla="*/ 36682598 h 147"/>
              <a:gd name="T12" fmla="*/ 61308488 w 379"/>
              <a:gd name="T13" fmla="*/ 36962529 h 147"/>
              <a:gd name="T14" fmla="*/ 59337139 w 379"/>
              <a:gd name="T15" fmla="*/ 36402667 h 147"/>
              <a:gd name="T16" fmla="*/ 57365791 w 379"/>
              <a:gd name="T17" fmla="*/ 35282414 h 147"/>
              <a:gd name="T18" fmla="*/ 55394443 w 379"/>
              <a:gd name="T19" fmla="*/ 33322368 h 147"/>
              <a:gd name="T20" fmla="*/ 54211634 w 379"/>
              <a:gd name="T21" fmla="*/ 32482575 h 147"/>
              <a:gd name="T22" fmla="*/ 53028825 w 379"/>
              <a:gd name="T23" fmla="*/ 33042437 h 147"/>
              <a:gd name="T24" fmla="*/ 52634555 w 379"/>
              <a:gd name="T25" fmla="*/ 34442621 h 147"/>
              <a:gd name="T26" fmla="*/ 52437420 w 379"/>
              <a:gd name="T27" fmla="*/ 39203035 h 147"/>
              <a:gd name="T28" fmla="*/ 50663207 w 379"/>
              <a:gd name="T29" fmla="*/ 40603219 h 147"/>
              <a:gd name="T30" fmla="*/ 48100454 w 379"/>
              <a:gd name="T31" fmla="*/ 39203035 h 147"/>
              <a:gd name="T32" fmla="*/ 45143432 w 379"/>
              <a:gd name="T33" fmla="*/ 36682598 h 147"/>
              <a:gd name="T34" fmla="*/ 22276236 w 379"/>
              <a:gd name="T35" fmla="*/ 39482966 h 147"/>
              <a:gd name="T36" fmla="*/ 15770786 w 379"/>
              <a:gd name="T37" fmla="*/ 34722552 h 147"/>
              <a:gd name="T38" fmla="*/ 11433820 w 379"/>
              <a:gd name="T39" fmla="*/ 30522530 h 147"/>
              <a:gd name="T40" fmla="*/ 8871067 w 379"/>
              <a:gd name="T41" fmla="*/ 26321978 h 147"/>
              <a:gd name="T42" fmla="*/ 7293989 w 379"/>
              <a:gd name="T43" fmla="*/ 22961748 h 147"/>
              <a:gd name="T44" fmla="*/ 5125506 w 379"/>
              <a:gd name="T45" fmla="*/ 16521219 h 147"/>
              <a:gd name="T46" fmla="*/ 3154157 w 379"/>
              <a:gd name="T47" fmla="*/ 13440920 h 147"/>
              <a:gd name="T48" fmla="*/ 0 w 379"/>
              <a:gd name="T49" fmla="*/ 10080690 h 147"/>
              <a:gd name="T50" fmla="*/ 5716910 w 379"/>
              <a:gd name="T51" fmla="*/ 11200943 h 147"/>
              <a:gd name="T52" fmla="*/ 10251011 w 379"/>
              <a:gd name="T53" fmla="*/ 10640552 h 147"/>
              <a:gd name="T54" fmla="*/ 14193708 w 379"/>
              <a:gd name="T55" fmla="*/ 9240897 h 147"/>
              <a:gd name="T56" fmla="*/ 17150730 w 379"/>
              <a:gd name="T57" fmla="*/ 7000391 h 147"/>
              <a:gd name="T58" fmla="*/ 23459045 w 379"/>
              <a:gd name="T59" fmla="*/ 2239977 h 147"/>
              <a:gd name="T60" fmla="*/ 27204606 w 379"/>
              <a:gd name="T61" fmla="*/ 559862 h 147"/>
              <a:gd name="T62" fmla="*/ 31344438 w 379"/>
              <a:gd name="T63" fmla="*/ 0 h 147"/>
              <a:gd name="T64" fmla="*/ 39426522 w 379"/>
              <a:gd name="T65" fmla="*/ 6440529 h 147"/>
              <a:gd name="T66" fmla="*/ 48100454 w 379"/>
              <a:gd name="T67" fmla="*/ 12601127 h 147"/>
              <a:gd name="T68" fmla="*/ 57562926 w 379"/>
              <a:gd name="T69" fmla="*/ 18761196 h 147"/>
              <a:gd name="T70" fmla="*/ 65645454 w 379"/>
              <a:gd name="T71" fmla="*/ 22401886 h 147"/>
              <a:gd name="T72" fmla="*/ 69785285 w 379"/>
              <a:gd name="T73" fmla="*/ 24082001 h 147"/>
              <a:gd name="T74" fmla="*/ 74713656 w 379"/>
              <a:gd name="T75" fmla="*/ 25762116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63" name="Freeform 454">
            <a:extLst>
              <a:ext uri="{FF2B5EF4-FFF2-40B4-BE49-F238E27FC236}">
                <a16:creationId xmlns:a16="http://schemas.microsoft.com/office/drawing/2014/main" id="{9F213CC1-3B23-4B0A-A13D-498350FEEF88}"/>
              </a:ext>
            </a:extLst>
          </p:cNvPr>
          <p:cNvSpPr>
            <a:spLocks/>
          </p:cNvSpPr>
          <p:nvPr>
            <p:custDataLst>
              <p:tags r:id="rId292"/>
            </p:custDataLst>
          </p:nvPr>
        </p:nvSpPr>
        <p:spPr bwMode="auto">
          <a:xfrm>
            <a:off x="5706486" y="1989704"/>
            <a:ext cx="41779" cy="77247"/>
          </a:xfrm>
          <a:custGeom>
            <a:avLst/>
            <a:gdLst>
              <a:gd name="T0" fmla="*/ 0 w 61"/>
              <a:gd name="T1" fmla="*/ 0 h 67"/>
              <a:gd name="T2" fmla="*/ 0 w 61"/>
              <a:gd name="T3" fmla="*/ 7295724 h 67"/>
              <a:gd name="T4" fmla="*/ 0 w 61"/>
              <a:gd name="T5" fmla="*/ 14592347 h 67"/>
              <a:gd name="T6" fmla="*/ 244263 w 61"/>
              <a:gd name="T7" fmla="*/ 19456163 h 67"/>
              <a:gd name="T8" fmla="*/ 489020 w 61"/>
              <a:gd name="T9" fmla="*/ 24319979 h 67"/>
              <a:gd name="T10" fmla="*/ 733283 w 61"/>
              <a:gd name="T11" fmla="*/ 29183794 h 67"/>
              <a:gd name="T12" fmla="*/ 1467060 w 61"/>
              <a:gd name="T13" fmla="*/ 34048510 h 67"/>
              <a:gd name="T14" fmla="*/ 2934120 w 61"/>
              <a:gd name="T15" fmla="*/ 44587378 h 67"/>
              <a:gd name="T16" fmla="*/ 5134462 w 61"/>
              <a:gd name="T17" fmla="*/ 54315009 h 67"/>
              <a:gd name="T18" fmla="*/ 6845785 w 61"/>
              <a:gd name="T19" fmla="*/ 52693437 h 67"/>
              <a:gd name="T20" fmla="*/ 8557108 w 61"/>
              <a:gd name="T21" fmla="*/ 49451194 h 67"/>
              <a:gd name="T22" fmla="*/ 10268430 w 61"/>
              <a:gd name="T23" fmla="*/ 47019286 h 67"/>
              <a:gd name="T24" fmla="*/ 11735490 w 61"/>
              <a:gd name="T25" fmla="*/ 42965806 h 67"/>
              <a:gd name="T26" fmla="*/ 12957793 w 61"/>
              <a:gd name="T27" fmla="*/ 38101990 h 67"/>
              <a:gd name="T28" fmla="*/ 13935833 w 61"/>
              <a:gd name="T29" fmla="*/ 32426938 h 67"/>
              <a:gd name="T30" fmla="*/ 14424853 w 61"/>
              <a:gd name="T31" fmla="*/ 25941551 h 67"/>
              <a:gd name="T32" fmla="*/ 14913873 w 61"/>
              <a:gd name="T33" fmla="*/ 19456163 h 67"/>
              <a:gd name="T34" fmla="*/ 12957793 w 61"/>
              <a:gd name="T35" fmla="*/ 11349203 h 67"/>
              <a:gd name="T36" fmla="*/ 10024168 w 61"/>
              <a:gd name="T37" fmla="*/ 0 h 67"/>
              <a:gd name="T38" fmla="*/ 6845785 w 61"/>
              <a:gd name="T39" fmla="*/ 2431908 h 67"/>
              <a:gd name="T40" fmla="*/ 4400685 w 61"/>
              <a:gd name="T41" fmla="*/ 3242244 h 67"/>
              <a:gd name="T42" fmla="*/ 3178383 w 61"/>
              <a:gd name="T43" fmla="*/ 3242244 h 67"/>
              <a:gd name="T44" fmla="*/ 2445100 w 61"/>
              <a:gd name="T45" fmla="*/ 2431908 h 67"/>
              <a:gd name="T46" fmla="*/ 1467060 w 61"/>
              <a:gd name="T47" fmla="*/ 1621572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64" name="Freeform 455">
            <a:extLst>
              <a:ext uri="{FF2B5EF4-FFF2-40B4-BE49-F238E27FC236}">
                <a16:creationId xmlns:a16="http://schemas.microsoft.com/office/drawing/2014/main" id="{6D47C3AF-5E91-4B38-9B4F-C5776A5E29CE}"/>
              </a:ext>
            </a:extLst>
          </p:cNvPr>
          <p:cNvSpPr>
            <a:spLocks/>
          </p:cNvSpPr>
          <p:nvPr>
            <p:custDataLst>
              <p:tags r:id="rId293"/>
            </p:custDataLst>
          </p:nvPr>
        </p:nvSpPr>
        <p:spPr bwMode="auto">
          <a:xfrm>
            <a:off x="5666796" y="1995801"/>
            <a:ext cx="35513" cy="75216"/>
          </a:xfrm>
          <a:custGeom>
            <a:avLst/>
            <a:gdLst>
              <a:gd name="T0" fmla="*/ 0 w 60"/>
              <a:gd name="T1" fmla="*/ 6843511 h 55"/>
              <a:gd name="T2" fmla="*/ 0 w 60"/>
              <a:gd name="T3" fmla="*/ 27372976 h 55"/>
              <a:gd name="T4" fmla="*/ 896197 w 60"/>
              <a:gd name="T5" fmla="*/ 36497657 h 55"/>
              <a:gd name="T6" fmla="*/ 1791970 w 60"/>
              <a:gd name="T7" fmla="*/ 45622339 h 55"/>
              <a:gd name="T8" fmla="*/ 2867237 w 60"/>
              <a:gd name="T9" fmla="*/ 51324196 h 55"/>
              <a:gd name="T10" fmla="*/ 3763433 w 60"/>
              <a:gd name="T11" fmla="*/ 55886537 h 55"/>
              <a:gd name="T12" fmla="*/ 4838700 w 60"/>
              <a:gd name="T13" fmla="*/ 59308293 h 55"/>
              <a:gd name="T14" fmla="*/ 5913967 w 60"/>
              <a:gd name="T15" fmla="*/ 61589463 h 55"/>
              <a:gd name="T16" fmla="*/ 7168303 w 60"/>
              <a:gd name="T17" fmla="*/ 62730048 h 55"/>
              <a:gd name="T18" fmla="*/ 8243570 w 60"/>
              <a:gd name="T19" fmla="*/ 62730048 h 55"/>
              <a:gd name="T20" fmla="*/ 9498330 w 60"/>
              <a:gd name="T21" fmla="*/ 59308293 h 55"/>
              <a:gd name="T22" fmla="*/ 10752667 w 60"/>
              <a:gd name="T23" fmla="*/ 55886537 h 55"/>
              <a:gd name="T24" fmla="*/ 8960697 w 60"/>
              <a:gd name="T25" fmla="*/ 38778828 h 55"/>
              <a:gd name="T26" fmla="*/ 7526867 w 60"/>
              <a:gd name="T27" fmla="*/ 25091806 h 55"/>
              <a:gd name="T28" fmla="*/ 6989233 w 60"/>
              <a:gd name="T29" fmla="*/ 19388880 h 55"/>
              <a:gd name="T30" fmla="*/ 6272530 w 60"/>
              <a:gd name="T31" fmla="*/ 13687022 h 55"/>
              <a:gd name="T32" fmla="*/ 6093037 w 60"/>
              <a:gd name="T33" fmla="*/ 6843511 h 55"/>
              <a:gd name="T34" fmla="*/ 5913967 w 60"/>
              <a:gd name="T35" fmla="*/ 0 h 55"/>
              <a:gd name="T36" fmla="*/ 4121997 w 60"/>
              <a:gd name="T37" fmla="*/ 1140585 h 55"/>
              <a:gd name="T38" fmla="*/ 2688167 w 60"/>
              <a:gd name="T39" fmla="*/ 3421755 h 55"/>
              <a:gd name="T40" fmla="*/ 1254337 w 60"/>
              <a:gd name="T41" fmla="*/ 5702926 h 55"/>
              <a:gd name="T42" fmla="*/ 0 w 60"/>
              <a:gd name="T43" fmla="*/ 6843511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65" name="Freeform 456">
            <a:extLst>
              <a:ext uri="{FF2B5EF4-FFF2-40B4-BE49-F238E27FC236}">
                <a16:creationId xmlns:a16="http://schemas.microsoft.com/office/drawing/2014/main" id="{FE7AAEA2-E52F-4863-8AB2-013A22783834}"/>
              </a:ext>
            </a:extLst>
          </p:cNvPr>
          <p:cNvSpPr>
            <a:spLocks/>
          </p:cNvSpPr>
          <p:nvPr>
            <p:custDataLst>
              <p:tags r:id="rId294"/>
            </p:custDataLst>
          </p:nvPr>
        </p:nvSpPr>
        <p:spPr bwMode="auto">
          <a:xfrm>
            <a:off x="5625017" y="1924652"/>
            <a:ext cx="73112" cy="101642"/>
          </a:xfrm>
          <a:custGeom>
            <a:avLst/>
            <a:gdLst>
              <a:gd name="T0" fmla="*/ 14103723 w 120"/>
              <a:gd name="T1" fmla="*/ 35636365 h 148"/>
              <a:gd name="T2" fmla="*/ 13341477 w 120"/>
              <a:gd name="T3" fmla="*/ 36188765 h 148"/>
              <a:gd name="T4" fmla="*/ 12769575 w 120"/>
              <a:gd name="T5" fmla="*/ 36464702 h 148"/>
              <a:gd name="T6" fmla="*/ 12197673 w 120"/>
              <a:gd name="T7" fmla="*/ 36741165 h 148"/>
              <a:gd name="T8" fmla="*/ 11435427 w 120"/>
              <a:gd name="T9" fmla="*/ 36741165 h 148"/>
              <a:gd name="T10" fmla="*/ 10673182 w 120"/>
              <a:gd name="T11" fmla="*/ 36741165 h 148"/>
              <a:gd name="T12" fmla="*/ 10101280 w 120"/>
              <a:gd name="T13" fmla="*/ 36464702 h 148"/>
              <a:gd name="T14" fmla="*/ 9529377 w 120"/>
              <a:gd name="T15" fmla="*/ 36188765 h 148"/>
              <a:gd name="T16" fmla="*/ 8957911 w 120"/>
              <a:gd name="T17" fmla="*/ 35636365 h 148"/>
              <a:gd name="T18" fmla="*/ 7814107 w 120"/>
              <a:gd name="T19" fmla="*/ 35359902 h 148"/>
              <a:gd name="T20" fmla="*/ 6479959 w 120"/>
              <a:gd name="T21" fmla="*/ 34531039 h 148"/>
              <a:gd name="T22" fmla="*/ 4955468 w 120"/>
              <a:gd name="T23" fmla="*/ 33149777 h 148"/>
              <a:gd name="T24" fmla="*/ 3621321 w 120"/>
              <a:gd name="T25" fmla="*/ 31768514 h 148"/>
              <a:gd name="T26" fmla="*/ 2096393 w 120"/>
              <a:gd name="T27" fmla="*/ 29834852 h 148"/>
              <a:gd name="T28" fmla="*/ 1143368 w 120"/>
              <a:gd name="T29" fmla="*/ 27901189 h 148"/>
              <a:gd name="T30" fmla="*/ 571902 w 120"/>
              <a:gd name="T31" fmla="*/ 26796389 h 148"/>
              <a:gd name="T32" fmla="*/ 381123 w 120"/>
              <a:gd name="T33" fmla="*/ 25967527 h 148"/>
              <a:gd name="T34" fmla="*/ 190780 w 120"/>
              <a:gd name="T35" fmla="*/ 24862727 h 148"/>
              <a:gd name="T36" fmla="*/ 0 w 120"/>
              <a:gd name="T37" fmla="*/ 24033864 h 148"/>
              <a:gd name="T38" fmla="*/ 381123 w 120"/>
              <a:gd name="T39" fmla="*/ 20166013 h 148"/>
              <a:gd name="T40" fmla="*/ 1524927 w 120"/>
              <a:gd name="T41" fmla="*/ 15193889 h 148"/>
              <a:gd name="T42" fmla="*/ 2668295 w 120"/>
              <a:gd name="T43" fmla="*/ 9668838 h 148"/>
              <a:gd name="T44" fmla="*/ 3811664 w 120"/>
              <a:gd name="T45" fmla="*/ 4972650 h 148"/>
              <a:gd name="T46" fmla="*/ 6098836 w 120"/>
              <a:gd name="T47" fmla="*/ 4696188 h 148"/>
              <a:gd name="T48" fmla="*/ 8004886 w 120"/>
              <a:gd name="T49" fmla="*/ 4420251 h 148"/>
              <a:gd name="T50" fmla="*/ 9720157 w 120"/>
              <a:gd name="T51" fmla="*/ 3867325 h 148"/>
              <a:gd name="T52" fmla="*/ 11054305 w 120"/>
              <a:gd name="T53" fmla="*/ 3038988 h 148"/>
              <a:gd name="T54" fmla="*/ 13341477 w 120"/>
              <a:gd name="T55" fmla="*/ 1381263 h 148"/>
              <a:gd name="T56" fmla="*/ 15247091 w 120"/>
              <a:gd name="T57" fmla="*/ 0 h 148"/>
              <a:gd name="T58" fmla="*/ 16200116 w 120"/>
              <a:gd name="T59" fmla="*/ 552400 h 148"/>
              <a:gd name="T60" fmla="*/ 17725043 w 120"/>
              <a:gd name="T61" fmla="*/ 1933663 h 148"/>
              <a:gd name="T62" fmla="*/ 18678068 w 120"/>
              <a:gd name="T63" fmla="*/ 2762525 h 148"/>
              <a:gd name="T64" fmla="*/ 19440314 w 120"/>
              <a:gd name="T65" fmla="*/ 3591388 h 148"/>
              <a:gd name="T66" fmla="*/ 20202559 w 120"/>
              <a:gd name="T67" fmla="*/ 4420251 h 148"/>
              <a:gd name="T68" fmla="*/ 20393339 w 120"/>
              <a:gd name="T69" fmla="*/ 4972650 h 148"/>
              <a:gd name="T70" fmla="*/ 19059191 w 120"/>
              <a:gd name="T71" fmla="*/ 7735176 h 148"/>
              <a:gd name="T72" fmla="*/ 17725043 w 120"/>
              <a:gd name="T73" fmla="*/ 10221238 h 148"/>
              <a:gd name="T74" fmla="*/ 18106166 w 120"/>
              <a:gd name="T75" fmla="*/ 11602501 h 148"/>
              <a:gd name="T76" fmla="*/ 18678068 w 120"/>
              <a:gd name="T77" fmla="*/ 13536163 h 148"/>
              <a:gd name="T78" fmla="*/ 19440314 w 120"/>
              <a:gd name="T79" fmla="*/ 15469826 h 148"/>
              <a:gd name="T80" fmla="*/ 20393339 w 120"/>
              <a:gd name="T81" fmla="*/ 17403488 h 148"/>
              <a:gd name="T82" fmla="*/ 21917830 w 120"/>
              <a:gd name="T83" fmla="*/ 20718939 h 148"/>
              <a:gd name="T84" fmla="*/ 22870855 w 120"/>
              <a:gd name="T85" fmla="*/ 21823739 h 148"/>
              <a:gd name="T86" fmla="*/ 21536707 w 120"/>
              <a:gd name="T87" fmla="*/ 22376139 h 148"/>
              <a:gd name="T88" fmla="*/ 20393339 w 120"/>
              <a:gd name="T89" fmla="*/ 23205001 h 148"/>
              <a:gd name="T90" fmla="*/ 19059191 w 120"/>
              <a:gd name="T91" fmla="*/ 24033864 h 148"/>
              <a:gd name="T92" fmla="*/ 18296509 w 120"/>
              <a:gd name="T93" fmla="*/ 25138664 h 148"/>
              <a:gd name="T94" fmla="*/ 17153141 w 120"/>
              <a:gd name="T95" fmla="*/ 26243464 h 148"/>
              <a:gd name="T96" fmla="*/ 16581239 w 120"/>
              <a:gd name="T97" fmla="*/ 27348789 h 148"/>
              <a:gd name="T98" fmla="*/ 15628214 w 120"/>
              <a:gd name="T99" fmla="*/ 28730052 h 148"/>
              <a:gd name="T100" fmla="*/ 15247091 w 120"/>
              <a:gd name="T101" fmla="*/ 30111314 h 148"/>
              <a:gd name="T102" fmla="*/ 14865968 w 120"/>
              <a:gd name="T103" fmla="*/ 31492577 h 148"/>
              <a:gd name="T104" fmla="*/ 14675625 w 120"/>
              <a:gd name="T105" fmla="*/ 33149777 h 148"/>
              <a:gd name="T106" fmla="*/ 14484845 w 120"/>
              <a:gd name="T107" fmla="*/ 34531039 h 148"/>
              <a:gd name="T108" fmla="*/ 14294502 w 120"/>
              <a:gd name="T109" fmla="*/ 35912302 h 148"/>
              <a:gd name="T110" fmla="*/ 14484845 w 120"/>
              <a:gd name="T111" fmla="*/ 37293564 h 148"/>
              <a:gd name="T112" fmla="*/ 14675625 w 120"/>
              <a:gd name="T113" fmla="*/ 38674827 h 148"/>
              <a:gd name="T114" fmla="*/ 14865968 w 120"/>
              <a:gd name="T115" fmla="*/ 39780152 h 148"/>
              <a:gd name="T116" fmla="*/ 15247091 w 120"/>
              <a:gd name="T117" fmla="*/ 40884952 h 148"/>
              <a:gd name="T118" fmla="*/ 14103723 w 120"/>
              <a:gd name="T119" fmla="*/ 35636365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66" name="Freeform 457">
            <a:extLst>
              <a:ext uri="{FF2B5EF4-FFF2-40B4-BE49-F238E27FC236}">
                <a16:creationId xmlns:a16="http://schemas.microsoft.com/office/drawing/2014/main" id="{0AF766DC-2CF9-437D-998A-3FD3719EF872}"/>
              </a:ext>
            </a:extLst>
          </p:cNvPr>
          <p:cNvSpPr>
            <a:spLocks/>
          </p:cNvSpPr>
          <p:nvPr>
            <p:custDataLst>
              <p:tags r:id="rId295"/>
            </p:custDataLst>
          </p:nvPr>
        </p:nvSpPr>
        <p:spPr bwMode="auto">
          <a:xfrm>
            <a:off x="6226627" y="2971558"/>
            <a:ext cx="378096" cy="400467"/>
          </a:xfrm>
          <a:custGeom>
            <a:avLst/>
            <a:gdLst>
              <a:gd name="T0" fmla="*/ 3932180 w 631"/>
              <a:gd name="T1" fmla="*/ 541037 h 592"/>
              <a:gd name="T2" fmla="*/ 5991955 w 631"/>
              <a:gd name="T3" fmla="*/ 1082595 h 592"/>
              <a:gd name="T4" fmla="*/ 10111505 w 631"/>
              <a:gd name="T5" fmla="*/ 2165189 h 592"/>
              <a:gd name="T6" fmla="*/ 14605795 w 631"/>
              <a:gd name="T7" fmla="*/ 2977265 h 592"/>
              <a:gd name="T8" fmla="*/ 19473961 w 631"/>
              <a:gd name="T9" fmla="*/ 5141934 h 592"/>
              <a:gd name="T10" fmla="*/ 24342559 w 631"/>
              <a:gd name="T11" fmla="*/ 8660236 h 592"/>
              <a:gd name="T12" fmla="*/ 27338753 w 631"/>
              <a:gd name="T13" fmla="*/ 10825425 h 592"/>
              <a:gd name="T14" fmla="*/ 29772835 w 631"/>
              <a:gd name="T15" fmla="*/ 11637501 h 592"/>
              <a:gd name="T16" fmla="*/ 35390482 w 631"/>
              <a:gd name="T17" fmla="*/ 11637501 h 592"/>
              <a:gd name="T18" fmla="*/ 42506226 w 631"/>
              <a:gd name="T19" fmla="*/ 10013349 h 592"/>
              <a:gd name="T20" fmla="*/ 51868682 w 631"/>
              <a:gd name="T21" fmla="*/ 6224529 h 592"/>
              <a:gd name="T22" fmla="*/ 74713577 w 631"/>
              <a:gd name="T23" fmla="*/ 10284388 h 592"/>
              <a:gd name="T24" fmla="*/ 75462625 w 631"/>
              <a:gd name="T25" fmla="*/ 18674106 h 592"/>
              <a:gd name="T26" fmla="*/ 76773352 w 631"/>
              <a:gd name="T27" fmla="*/ 25710710 h 592"/>
              <a:gd name="T28" fmla="*/ 78084078 w 631"/>
              <a:gd name="T29" fmla="*/ 32205757 h 592"/>
              <a:gd name="T30" fmla="*/ 79956483 w 631"/>
              <a:gd name="T31" fmla="*/ 37889249 h 592"/>
              <a:gd name="T32" fmla="*/ 84263403 w 631"/>
              <a:gd name="T33" fmla="*/ 47361561 h 592"/>
              <a:gd name="T34" fmla="*/ 88382953 w 631"/>
              <a:gd name="T35" fmla="*/ 55210241 h 592"/>
              <a:gd name="T36" fmla="*/ 90255358 w 631"/>
              <a:gd name="T37" fmla="*/ 60081657 h 592"/>
              <a:gd name="T38" fmla="*/ 90817036 w 631"/>
              <a:gd name="T39" fmla="*/ 64953072 h 592"/>
              <a:gd name="T40" fmla="*/ 91940392 w 631"/>
              <a:gd name="T41" fmla="*/ 69012411 h 592"/>
              <a:gd name="T42" fmla="*/ 92876811 w 631"/>
              <a:gd name="T43" fmla="*/ 70636563 h 592"/>
              <a:gd name="T44" fmla="*/ 94562278 w 631"/>
              <a:gd name="T45" fmla="*/ 71989676 h 592"/>
              <a:gd name="T46" fmla="*/ 96059942 w 631"/>
              <a:gd name="T47" fmla="*/ 73072271 h 592"/>
              <a:gd name="T48" fmla="*/ 97183731 w 631"/>
              <a:gd name="T49" fmla="*/ 75236940 h 592"/>
              <a:gd name="T50" fmla="*/ 99805184 w 631"/>
              <a:gd name="T51" fmla="*/ 82003026 h 592"/>
              <a:gd name="T52" fmla="*/ 101303281 w 631"/>
              <a:gd name="T53" fmla="*/ 89580667 h 592"/>
              <a:gd name="T54" fmla="*/ 102052329 w 631"/>
              <a:gd name="T55" fmla="*/ 96888311 h 592"/>
              <a:gd name="T56" fmla="*/ 102614007 w 631"/>
              <a:gd name="T57" fmla="*/ 99594537 h 592"/>
              <a:gd name="T58" fmla="*/ 104299042 w 631"/>
              <a:gd name="T59" fmla="*/ 103112839 h 592"/>
              <a:gd name="T60" fmla="*/ 109167640 w 631"/>
              <a:gd name="T61" fmla="*/ 112314633 h 592"/>
              <a:gd name="T62" fmla="*/ 114597917 w 631"/>
              <a:gd name="T63" fmla="*/ 120974869 h 592"/>
              <a:gd name="T64" fmla="*/ 118155788 w 631"/>
              <a:gd name="T65" fmla="*/ 125305247 h 592"/>
              <a:gd name="T66" fmla="*/ 114597917 w 631"/>
              <a:gd name="T67" fmla="*/ 130176663 h 592"/>
              <a:gd name="T68" fmla="*/ 116845062 w 631"/>
              <a:gd name="T69" fmla="*/ 134236002 h 592"/>
              <a:gd name="T70" fmla="*/ 117219370 w 631"/>
              <a:gd name="T71" fmla="*/ 137213267 h 592"/>
              <a:gd name="T72" fmla="*/ 117219370 w 631"/>
              <a:gd name="T73" fmla="*/ 139648975 h 592"/>
              <a:gd name="T74" fmla="*/ 118155788 w 631"/>
              <a:gd name="T75" fmla="*/ 143708314 h 592"/>
              <a:gd name="T76" fmla="*/ 117219370 w 631"/>
              <a:gd name="T77" fmla="*/ 145873503 h 592"/>
              <a:gd name="T78" fmla="*/ 115534335 w 631"/>
              <a:gd name="T79" fmla="*/ 148309211 h 592"/>
              <a:gd name="T80" fmla="*/ 110853107 w 631"/>
              <a:gd name="T81" fmla="*/ 153992702 h 592"/>
              <a:gd name="T82" fmla="*/ 104486412 w 631"/>
              <a:gd name="T83" fmla="*/ 160217231 h 592"/>
              <a:gd name="T84" fmla="*/ 8613408 w 631"/>
              <a:gd name="T85" fmla="*/ 47091042 h 592"/>
              <a:gd name="T86" fmla="*/ 4681228 w 631"/>
              <a:gd name="T87" fmla="*/ 42490145 h 592"/>
              <a:gd name="T88" fmla="*/ 2059775 w 631"/>
              <a:gd name="T89" fmla="*/ 37347691 h 592"/>
              <a:gd name="T90" fmla="*/ 374308 w 631"/>
              <a:gd name="T91" fmla="*/ 31664720 h 592"/>
              <a:gd name="T92" fmla="*/ 0 w 631"/>
              <a:gd name="T93" fmla="*/ 25169153 h 592"/>
              <a:gd name="T94" fmla="*/ 561678 w 631"/>
              <a:gd name="T95" fmla="*/ 24086558 h 592"/>
              <a:gd name="T96" fmla="*/ 1872405 w 631"/>
              <a:gd name="T97" fmla="*/ 22462927 h 592"/>
              <a:gd name="T98" fmla="*/ 3183131 w 631"/>
              <a:gd name="T99" fmla="*/ 20839295 h 592"/>
              <a:gd name="T100" fmla="*/ 3745242 w 631"/>
              <a:gd name="T101" fmla="*/ 18674106 h 592"/>
              <a:gd name="T102" fmla="*/ 3370502 w 631"/>
              <a:gd name="T103" fmla="*/ 14343728 h 592"/>
              <a:gd name="T104" fmla="*/ 2434083 w 631"/>
              <a:gd name="T105" fmla="*/ 11366983 h 592"/>
              <a:gd name="T106" fmla="*/ 1685467 w 631"/>
              <a:gd name="T107" fmla="*/ 9201794 h 592"/>
              <a:gd name="T108" fmla="*/ 1310727 w 631"/>
              <a:gd name="T109" fmla="*/ 7036604 h 592"/>
              <a:gd name="T110" fmla="*/ 2434083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0872A6"/>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67" name="Freeform 458">
            <a:extLst>
              <a:ext uri="{FF2B5EF4-FFF2-40B4-BE49-F238E27FC236}">
                <a16:creationId xmlns:a16="http://schemas.microsoft.com/office/drawing/2014/main" id="{E6815AE5-28E8-466A-B4C3-0D9DE7F54427}"/>
              </a:ext>
            </a:extLst>
          </p:cNvPr>
          <p:cNvSpPr>
            <a:spLocks/>
          </p:cNvSpPr>
          <p:nvPr>
            <p:custDataLst>
              <p:tags r:id="rId296"/>
            </p:custDataLst>
          </p:nvPr>
        </p:nvSpPr>
        <p:spPr bwMode="auto">
          <a:xfrm>
            <a:off x="5662618" y="2497910"/>
            <a:ext cx="22979" cy="73182"/>
          </a:xfrm>
          <a:custGeom>
            <a:avLst/>
            <a:gdLst>
              <a:gd name="T0" fmla="*/ 1334097 w 40"/>
              <a:gd name="T1" fmla="*/ 11706532 h 93"/>
              <a:gd name="T2" fmla="*/ 1905977 w 40"/>
              <a:gd name="T3" fmla="*/ 11328605 h 93"/>
              <a:gd name="T4" fmla="*/ 2668194 w 40"/>
              <a:gd name="T5" fmla="*/ 9818124 h 93"/>
              <a:gd name="T6" fmla="*/ 3811518 w 40"/>
              <a:gd name="T7" fmla="*/ 7552403 h 93"/>
              <a:gd name="T8" fmla="*/ 4764507 w 40"/>
              <a:gd name="T9" fmla="*/ 5664610 h 93"/>
              <a:gd name="T10" fmla="*/ 6670047 w 40"/>
              <a:gd name="T11" fmla="*/ 1510481 h 93"/>
              <a:gd name="T12" fmla="*/ 7623036 w 40"/>
              <a:gd name="T13" fmla="*/ 0 h 93"/>
              <a:gd name="T14" fmla="*/ 7051156 w 40"/>
              <a:gd name="T15" fmla="*/ 9818124 h 93"/>
              <a:gd name="T16" fmla="*/ 6670047 w 40"/>
              <a:gd name="T17" fmla="*/ 20014176 h 93"/>
              <a:gd name="T18" fmla="*/ 6479712 w 40"/>
              <a:gd name="T19" fmla="*/ 24546232 h 93"/>
              <a:gd name="T20" fmla="*/ 6479712 w 40"/>
              <a:gd name="T21" fmla="*/ 29077674 h 93"/>
              <a:gd name="T22" fmla="*/ 6670047 w 40"/>
              <a:gd name="T23" fmla="*/ 30965468 h 93"/>
              <a:gd name="T24" fmla="*/ 6860820 w 40"/>
              <a:gd name="T25" fmla="*/ 32475948 h 93"/>
              <a:gd name="T26" fmla="*/ 7051156 w 40"/>
              <a:gd name="T27" fmla="*/ 33986429 h 93"/>
              <a:gd name="T28" fmla="*/ 7623036 w 40"/>
              <a:gd name="T29" fmla="*/ 35119597 h 93"/>
              <a:gd name="T30" fmla="*/ 4954843 w 40"/>
              <a:gd name="T31" fmla="*/ 35119597 h 93"/>
              <a:gd name="T32" fmla="*/ 2477421 w 40"/>
              <a:gd name="T33" fmla="*/ 35119597 h 93"/>
              <a:gd name="T34" fmla="*/ 2096313 w 40"/>
              <a:gd name="T35" fmla="*/ 34741669 h 93"/>
              <a:gd name="T36" fmla="*/ 1524433 w 40"/>
              <a:gd name="T37" fmla="*/ 34364356 h 93"/>
              <a:gd name="T38" fmla="*/ 1143324 w 40"/>
              <a:gd name="T39" fmla="*/ 33231189 h 93"/>
              <a:gd name="T40" fmla="*/ 762216 w 40"/>
              <a:gd name="T41" fmla="*/ 32475948 h 93"/>
              <a:gd name="T42" fmla="*/ 190772 w 40"/>
              <a:gd name="T43" fmla="*/ 30210227 h 93"/>
              <a:gd name="T44" fmla="*/ 0 w 40"/>
              <a:gd name="T45" fmla="*/ 27567194 h 93"/>
              <a:gd name="T46" fmla="*/ 190772 w 40"/>
              <a:gd name="T47" fmla="*/ 24168305 h 93"/>
              <a:gd name="T48" fmla="*/ 571881 w 40"/>
              <a:gd name="T49" fmla="*/ 18881623 h 93"/>
              <a:gd name="T50" fmla="*/ 1143324 w 40"/>
              <a:gd name="T51" fmla="*/ 13972253 h 93"/>
              <a:gd name="T52" fmla="*/ 1334097 w 40"/>
              <a:gd name="T53" fmla="*/ 11706532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68" name="Freeform 459">
            <a:extLst>
              <a:ext uri="{FF2B5EF4-FFF2-40B4-BE49-F238E27FC236}">
                <a16:creationId xmlns:a16="http://schemas.microsoft.com/office/drawing/2014/main" id="{792E7FCC-3E24-4DAF-8834-5EFCE485DCB7}"/>
              </a:ext>
            </a:extLst>
          </p:cNvPr>
          <p:cNvSpPr>
            <a:spLocks/>
          </p:cNvSpPr>
          <p:nvPr>
            <p:custDataLst>
              <p:tags r:id="rId297"/>
            </p:custDataLst>
          </p:nvPr>
        </p:nvSpPr>
        <p:spPr bwMode="auto">
          <a:xfrm>
            <a:off x="5236477" y="2172657"/>
            <a:ext cx="409429" cy="355744"/>
          </a:xfrm>
          <a:custGeom>
            <a:avLst/>
            <a:gdLst>
              <a:gd name="T0" fmla="*/ 29464799 w 664"/>
              <a:gd name="T1" fmla="*/ 123647372 h 518"/>
              <a:gd name="T2" fmla="*/ 29860129 w 664"/>
              <a:gd name="T3" fmla="*/ 119757200 h 518"/>
              <a:gd name="T4" fmla="*/ 28871580 w 664"/>
              <a:gd name="T5" fmla="*/ 111143474 h 518"/>
              <a:gd name="T6" fmla="*/ 29860129 w 664"/>
              <a:gd name="T7" fmla="*/ 98084515 h 518"/>
              <a:gd name="T8" fmla="*/ 28871580 w 664"/>
              <a:gd name="T9" fmla="*/ 82802149 h 518"/>
              <a:gd name="T10" fmla="*/ 26498708 w 664"/>
              <a:gd name="T11" fmla="*/ 69742663 h 518"/>
              <a:gd name="T12" fmla="*/ 21554630 w 664"/>
              <a:gd name="T13" fmla="*/ 66964195 h 518"/>
              <a:gd name="T14" fmla="*/ 3955084 w 664"/>
              <a:gd name="T15" fmla="*/ 53349120 h 518"/>
              <a:gd name="T16" fmla="*/ 4746190 w 664"/>
              <a:gd name="T17" fmla="*/ 47513863 h 518"/>
              <a:gd name="T18" fmla="*/ 7119062 w 664"/>
              <a:gd name="T19" fmla="*/ 44179806 h 518"/>
              <a:gd name="T20" fmla="*/ 9491935 w 664"/>
              <a:gd name="T21" fmla="*/ 41123017 h 518"/>
              <a:gd name="T22" fmla="*/ 19774976 w 664"/>
              <a:gd name="T23" fmla="*/ 43068103 h 518"/>
              <a:gd name="T24" fmla="*/ 24718609 w 664"/>
              <a:gd name="T25" fmla="*/ 42234720 h 518"/>
              <a:gd name="T26" fmla="*/ 29069468 w 664"/>
              <a:gd name="T27" fmla="*/ 43623691 h 518"/>
              <a:gd name="T28" fmla="*/ 32628777 w 664"/>
              <a:gd name="T29" fmla="*/ 26118972 h 518"/>
              <a:gd name="T30" fmla="*/ 36583861 w 664"/>
              <a:gd name="T31" fmla="*/ 30286411 h 518"/>
              <a:gd name="T32" fmla="*/ 40934276 w 664"/>
              <a:gd name="T33" fmla="*/ 30564732 h 518"/>
              <a:gd name="T34" fmla="*/ 46669014 w 664"/>
              <a:gd name="T35" fmla="*/ 27507943 h 518"/>
              <a:gd name="T36" fmla="*/ 52205865 w 664"/>
              <a:gd name="T37" fmla="*/ 22228800 h 518"/>
              <a:gd name="T38" fmla="*/ 57149943 w 664"/>
              <a:gd name="T39" fmla="*/ 15837954 h 518"/>
              <a:gd name="T40" fmla="*/ 60907139 w 664"/>
              <a:gd name="T41" fmla="*/ 8891520 h 518"/>
              <a:gd name="T42" fmla="*/ 62884681 w 664"/>
              <a:gd name="T43" fmla="*/ 3334056 h 518"/>
              <a:gd name="T44" fmla="*/ 73167722 w 664"/>
              <a:gd name="T45" fmla="*/ 1111176 h 518"/>
              <a:gd name="T46" fmla="*/ 79891009 w 664"/>
              <a:gd name="T47" fmla="*/ 8891520 h 518"/>
              <a:gd name="T48" fmla="*/ 90371938 w 664"/>
              <a:gd name="T49" fmla="*/ 16949658 h 518"/>
              <a:gd name="T50" fmla="*/ 101050309 w 664"/>
              <a:gd name="T51" fmla="*/ 25007268 h 518"/>
              <a:gd name="T52" fmla="*/ 109158365 w 664"/>
              <a:gd name="T53" fmla="*/ 29730823 h 518"/>
              <a:gd name="T54" fmla="*/ 114299885 w 664"/>
              <a:gd name="T55" fmla="*/ 32231497 h 518"/>
              <a:gd name="T56" fmla="*/ 123198602 w 664"/>
              <a:gd name="T57" fmla="*/ 33620994 h 518"/>
              <a:gd name="T58" fmla="*/ 130119777 w 664"/>
              <a:gd name="T59" fmla="*/ 37788960 h 518"/>
              <a:gd name="T60" fmla="*/ 127549017 w 664"/>
              <a:gd name="T61" fmla="*/ 46124892 h 518"/>
              <a:gd name="T62" fmla="*/ 122605384 w 664"/>
              <a:gd name="T63" fmla="*/ 65574697 h 518"/>
              <a:gd name="T64" fmla="*/ 118254525 w 664"/>
              <a:gd name="T65" fmla="*/ 75577921 h 518"/>
              <a:gd name="T66" fmla="*/ 115683764 w 664"/>
              <a:gd name="T67" fmla="*/ 79467565 h 518"/>
              <a:gd name="T68" fmla="*/ 118452412 w 664"/>
              <a:gd name="T69" fmla="*/ 82802149 h 518"/>
              <a:gd name="T70" fmla="*/ 122209609 w 664"/>
              <a:gd name="T71" fmla="*/ 85302823 h 518"/>
              <a:gd name="T72" fmla="*/ 123198602 w 664"/>
              <a:gd name="T73" fmla="*/ 92804845 h 518"/>
              <a:gd name="T74" fmla="*/ 122605384 w 664"/>
              <a:gd name="T75" fmla="*/ 96417223 h 518"/>
              <a:gd name="T76" fmla="*/ 122209609 w 664"/>
              <a:gd name="T77" fmla="*/ 103363657 h 518"/>
              <a:gd name="T78" fmla="*/ 123000715 w 664"/>
              <a:gd name="T79" fmla="*/ 110865680 h 518"/>
              <a:gd name="T80" fmla="*/ 124978257 w 664"/>
              <a:gd name="T81" fmla="*/ 117534320 h 518"/>
              <a:gd name="T82" fmla="*/ 120232067 w 664"/>
              <a:gd name="T83" fmla="*/ 126981428 h 518"/>
              <a:gd name="T84" fmla="*/ 112519786 w 664"/>
              <a:gd name="T85" fmla="*/ 134483978 h 518"/>
              <a:gd name="T86" fmla="*/ 107180823 w 664"/>
              <a:gd name="T87" fmla="*/ 135872948 h 518"/>
              <a:gd name="T88" fmla="*/ 100654978 w 664"/>
              <a:gd name="T89" fmla="*/ 133650068 h 518"/>
              <a:gd name="T90" fmla="*/ 94327022 w 664"/>
              <a:gd name="T91" fmla="*/ 127815338 h 518"/>
              <a:gd name="T92" fmla="*/ 91558374 w 664"/>
              <a:gd name="T93" fmla="*/ 126703634 h 518"/>
              <a:gd name="T94" fmla="*/ 87603290 w 664"/>
              <a:gd name="T95" fmla="*/ 126981428 h 518"/>
              <a:gd name="T96" fmla="*/ 83648206 w 664"/>
              <a:gd name="T97" fmla="*/ 129204308 h 518"/>
              <a:gd name="T98" fmla="*/ 80286784 w 664"/>
              <a:gd name="T99" fmla="*/ 132538892 h 518"/>
              <a:gd name="T100" fmla="*/ 76727031 w 664"/>
              <a:gd name="T101" fmla="*/ 139763120 h 518"/>
              <a:gd name="T102" fmla="*/ 76133813 w 664"/>
              <a:gd name="T103" fmla="*/ 143653292 h 518"/>
              <a:gd name="T104" fmla="*/ 65850772 w 664"/>
              <a:gd name="T105" fmla="*/ 143097704 h 518"/>
              <a:gd name="T106" fmla="*/ 62686794 w 664"/>
              <a:gd name="T107" fmla="*/ 140874824 h 518"/>
              <a:gd name="T108" fmla="*/ 60709252 w 664"/>
              <a:gd name="T109" fmla="*/ 138929738 h 518"/>
              <a:gd name="T110" fmla="*/ 58534267 w 664"/>
              <a:gd name="T111" fmla="*/ 141152618 h 518"/>
              <a:gd name="T112" fmla="*/ 56754167 w 664"/>
              <a:gd name="T113" fmla="*/ 143375498 h 518"/>
              <a:gd name="T114" fmla="*/ 52996971 w 664"/>
              <a:gd name="T115" fmla="*/ 143375498 h 518"/>
              <a:gd name="T116" fmla="*/ 44889360 w 664"/>
              <a:gd name="T117" fmla="*/ 140597029 h 518"/>
              <a:gd name="T118" fmla="*/ 36583861 w 664"/>
              <a:gd name="T119" fmla="*/ 135317360 h 518"/>
              <a:gd name="T120" fmla="*/ 31640228 w 664"/>
              <a:gd name="T121" fmla="*/ 130316012 h 518"/>
              <a:gd name="T122" fmla="*/ 28871580 w 664"/>
              <a:gd name="T123" fmla="*/ 125036869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69" name="Freeform 460">
            <a:extLst>
              <a:ext uri="{FF2B5EF4-FFF2-40B4-BE49-F238E27FC236}">
                <a16:creationId xmlns:a16="http://schemas.microsoft.com/office/drawing/2014/main" id="{F29B3345-613B-438E-9F5D-BF9A1AE33051}"/>
              </a:ext>
            </a:extLst>
          </p:cNvPr>
          <p:cNvSpPr>
            <a:spLocks/>
          </p:cNvSpPr>
          <p:nvPr>
            <p:custDataLst>
              <p:tags r:id="rId298"/>
            </p:custDataLst>
          </p:nvPr>
        </p:nvSpPr>
        <p:spPr bwMode="auto">
          <a:xfrm>
            <a:off x="6665301" y="2477581"/>
            <a:ext cx="210982" cy="107739"/>
          </a:xfrm>
          <a:custGeom>
            <a:avLst/>
            <a:gdLst>
              <a:gd name="T0" fmla="*/ 60943044 w 352"/>
              <a:gd name="T1" fmla="*/ 26490457 h 153"/>
              <a:gd name="T2" fmla="*/ 64614373 w 352"/>
              <a:gd name="T3" fmla="*/ 44539232 h 153"/>
              <a:gd name="T4" fmla="*/ 59841516 w 352"/>
              <a:gd name="T5" fmla="*/ 41045694 h 153"/>
              <a:gd name="T6" fmla="*/ 54885714 w 352"/>
              <a:gd name="T7" fmla="*/ 37552696 h 153"/>
              <a:gd name="T8" fmla="*/ 48827956 w 352"/>
              <a:gd name="T9" fmla="*/ 41045694 h 153"/>
              <a:gd name="T10" fmla="*/ 42586824 w 352"/>
              <a:gd name="T11" fmla="*/ 41045694 h 153"/>
              <a:gd name="T12" fmla="*/ 41669099 w 352"/>
              <a:gd name="T13" fmla="*/ 39299195 h 153"/>
              <a:gd name="T14" fmla="*/ 41485296 w 352"/>
              <a:gd name="T15" fmla="*/ 39299195 h 153"/>
              <a:gd name="T16" fmla="*/ 40200395 w 352"/>
              <a:gd name="T17" fmla="*/ 37552696 h 153"/>
              <a:gd name="T18" fmla="*/ 39098868 w 352"/>
              <a:gd name="T19" fmla="*/ 36388364 h 153"/>
              <a:gd name="T20" fmla="*/ 37630593 w 352"/>
              <a:gd name="T21" fmla="*/ 35224031 h 153"/>
              <a:gd name="T22" fmla="*/ 36161890 w 352"/>
              <a:gd name="T23" fmla="*/ 34350512 h 153"/>
              <a:gd name="T24" fmla="*/ 33224912 w 352"/>
              <a:gd name="T25" fmla="*/ 32894826 h 153"/>
              <a:gd name="T26" fmla="*/ 29920758 w 352"/>
              <a:gd name="T27" fmla="*/ 32021846 h 153"/>
              <a:gd name="T28" fmla="*/ 23129077 w 352"/>
              <a:gd name="T29" fmla="*/ 31148327 h 153"/>
              <a:gd name="T30" fmla="*/ 15786417 w 352"/>
              <a:gd name="T31" fmla="*/ 30274808 h 153"/>
              <a:gd name="T32" fmla="*/ 15603044 w 352"/>
              <a:gd name="T33" fmla="*/ 27363976 h 153"/>
              <a:gd name="T34" fmla="*/ 15052066 w 352"/>
              <a:gd name="T35" fmla="*/ 24453144 h 153"/>
              <a:gd name="T36" fmla="*/ 14684890 w 352"/>
              <a:gd name="T37" fmla="*/ 21833126 h 153"/>
              <a:gd name="T38" fmla="*/ 13767165 w 352"/>
              <a:gd name="T39" fmla="*/ 19503921 h 153"/>
              <a:gd name="T40" fmla="*/ 13032813 w 352"/>
              <a:gd name="T41" fmla="*/ 17175256 h 153"/>
              <a:gd name="T42" fmla="*/ 12298890 w 352"/>
              <a:gd name="T43" fmla="*/ 15137404 h 153"/>
              <a:gd name="T44" fmla="*/ 11197363 w 352"/>
              <a:gd name="T45" fmla="*/ 12808739 h 153"/>
              <a:gd name="T46" fmla="*/ 10279637 w 352"/>
              <a:gd name="T47" fmla="*/ 10770887 h 153"/>
              <a:gd name="T48" fmla="*/ 8077011 w 352"/>
              <a:gd name="T49" fmla="*/ 7568702 h 153"/>
              <a:gd name="T50" fmla="*/ 5323407 w 352"/>
              <a:gd name="T51" fmla="*/ 4657870 h 153"/>
              <a:gd name="T52" fmla="*/ 2753604 w 352"/>
              <a:gd name="T53" fmla="*/ 2037852 h 153"/>
              <a:gd name="T54" fmla="*/ 0 w 352"/>
              <a:gd name="T55" fmla="*/ 0 h 153"/>
              <a:gd name="T56" fmla="*/ 1284901 w 352"/>
              <a:gd name="T57" fmla="*/ 0 h 153"/>
              <a:gd name="T58" fmla="*/ 11013989 w 352"/>
              <a:gd name="T59" fmla="*/ 5240037 h 153"/>
              <a:gd name="T60" fmla="*/ 19457747 w 352"/>
              <a:gd name="T61" fmla="*/ 8733035 h 153"/>
              <a:gd name="T62" fmla="*/ 24597352 w 352"/>
              <a:gd name="T63" fmla="*/ 5240037 h 153"/>
              <a:gd name="T64" fmla="*/ 33041538 w 352"/>
              <a:gd name="T65" fmla="*/ 10480073 h 153"/>
              <a:gd name="T66" fmla="*/ 37813967 w 352"/>
              <a:gd name="T67" fmla="*/ 16010923 h 153"/>
              <a:gd name="T68" fmla="*/ 45156626 w 352"/>
              <a:gd name="T69" fmla="*/ 14264424 h 153"/>
              <a:gd name="T70" fmla="*/ 52499285 w 352"/>
              <a:gd name="T71" fmla="*/ 17757422 h 153"/>
              <a:gd name="T72" fmla="*/ 57455516 w 352"/>
              <a:gd name="T73" fmla="*/ 22997459 h 153"/>
              <a:gd name="T74" fmla="*/ 60943044 w 352"/>
              <a:gd name="T75" fmla="*/ 26490457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70" name="Freeform 461">
            <a:extLst>
              <a:ext uri="{FF2B5EF4-FFF2-40B4-BE49-F238E27FC236}">
                <a16:creationId xmlns:a16="http://schemas.microsoft.com/office/drawing/2014/main" id="{E6FE7927-5216-4AF3-8828-9A64A17B6F75}"/>
              </a:ext>
            </a:extLst>
          </p:cNvPr>
          <p:cNvSpPr>
            <a:spLocks/>
          </p:cNvSpPr>
          <p:nvPr>
            <p:custDataLst>
              <p:tags r:id="rId299"/>
            </p:custDataLst>
          </p:nvPr>
        </p:nvSpPr>
        <p:spPr bwMode="auto">
          <a:xfrm>
            <a:off x="6038625" y="2556861"/>
            <a:ext cx="204715" cy="225645"/>
          </a:xfrm>
          <a:custGeom>
            <a:avLst/>
            <a:gdLst>
              <a:gd name="T0" fmla="*/ 45757657 w 331"/>
              <a:gd name="T1" fmla="*/ 11200903 h 327"/>
              <a:gd name="T2" fmla="*/ 38396325 w 331"/>
              <a:gd name="T3" fmla="*/ 15680841 h 327"/>
              <a:gd name="T4" fmla="*/ 36208086 w 331"/>
              <a:gd name="T5" fmla="*/ 18761129 h 327"/>
              <a:gd name="T6" fmla="*/ 36009155 w 331"/>
              <a:gd name="T7" fmla="*/ 22681736 h 327"/>
              <a:gd name="T8" fmla="*/ 36605947 w 331"/>
              <a:gd name="T9" fmla="*/ 26321884 h 327"/>
              <a:gd name="T10" fmla="*/ 35213432 w 331"/>
              <a:gd name="T11" fmla="*/ 28561853 h 327"/>
              <a:gd name="T12" fmla="*/ 33423054 w 331"/>
              <a:gd name="T13" fmla="*/ 29402172 h 327"/>
              <a:gd name="T14" fmla="*/ 31831162 w 331"/>
              <a:gd name="T15" fmla="*/ 27441604 h 327"/>
              <a:gd name="T16" fmla="*/ 29642923 w 331"/>
              <a:gd name="T17" fmla="*/ 23801456 h 327"/>
              <a:gd name="T18" fmla="*/ 25067068 w 331"/>
              <a:gd name="T19" fmla="*/ 20721168 h 327"/>
              <a:gd name="T20" fmla="*/ 25265998 w 331"/>
              <a:gd name="T21" fmla="*/ 26881744 h 327"/>
              <a:gd name="T22" fmla="*/ 27653614 w 331"/>
              <a:gd name="T23" fmla="*/ 32482461 h 327"/>
              <a:gd name="T24" fmla="*/ 30637577 w 331"/>
              <a:gd name="T25" fmla="*/ 36122609 h 327"/>
              <a:gd name="T26" fmla="*/ 31632231 w 331"/>
              <a:gd name="T27" fmla="*/ 36402539 h 327"/>
              <a:gd name="T28" fmla="*/ 31632231 w 331"/>
              <a:gd name="T29" fmla="*/ 49563481 h 327"/>
              <a:gd name="T30" fmla="*/ 31632231 w 331"/>
              <a:gd name="T31" fmla="*/ 66364571 h 327"/>
              <a:gd name="T32" fmla="*/ 31035438 w 331"/>
              <a:gd name="T33" fmla="*/ 70284649 h 327"/>
              <a:gd name="T34" fmla="*/ 29245061 w 331"/>
              <a:gd name="T35" fmla="*/ 72525147 h 327"/>
              <a:gd name="T36" fmla="*/ 28847199 w 331"/>
              <a:gd name="T37" fmla="*/ 73924797 h 327"/>
              <a:gd name="T38" fmla="*/ 32229023 w 331"/>
              <a:gd name="T39" fmla="*/ 77285015 h 327"/>
              <a:gd name="T40" fmla="*/ 33224123 w 331"/>
              <a:gd name="T41" fmla="*/ 80085373 h 327"/>
              <a:gd name="T42" fmla="*/ 30836508 w 331"/>
              <a:gd name="T43" fmla="*/ 82605801 h 327"/>
              <a:gd name="T44" fmla="*/ 27852545 w 331"/>
              <a:gd name="T45" fmla="*/ 83165661 h 327"/>
              <a:gd name="T46" fmla="*/ 25862791 w 331"/>
              <a:gd name="T47" fmla="*/ 85966019 h 327"/>
              <a:gd name="T48" fmla="*/ 25067068 w 331"/>
              <a:gd name="T49" fmla="*/ 89886097 h 327"/>
              <a:gd name="T50" fmla="*/ 24072414 w 331"/>
              <a:gd name="T51" fmla="*/ 84005451 h 327"/>
              <a:gd name="T52" fmla="*/ 24669206 w 331"/>
              <a:gd name="T53" fmla="*/ 80645233 h 327"/>
              <a:gd name="T54" fmla="*/ 21685244 w 331"/>
              <a:gd name="T55" fmla="*/ 80085373 h 327"/>
              <a:gd name="T56" fmla="*/ 18501905 w 331"/>
              <a:gd name="T57" fmla="*/ 81765482 h 327"/>
              <a:gd name="T58" fmla="*/ 15716873 w 331"/>
              <a:gd name="T59" fmla="*/ 82885731 h 327"/>
              <a:gd name="T60" fmla="*/ 14522842 w 331"/>
              <a:gd name="T61" fmla="*/ 67764750 h 327"/>
              <a:gd name="T62" fmla="*/ 15716873 w 331"/>
              <a:gd name="T63" fmla="*/ 60483925 h 327"/>
              <a:gd name="T64" fmla="*/ 9549572 w 331"/>
              <a:gd name="T65" fmla="*/ 59083746 h 327"/>
              <a:gd name="T66" fmla="*/ 5570509 w 331"/>
              <a:gd name="T67" fmla="*/ 55443598 h 327"/>
              <a:gd name="T68" fmla="*/ 2586101 w 331"/>
              <a:gd name="T69" fmla="*/ 48443232 h 327"/>
              <a:gd name="T70" fmla="*/ 0 w 331"/>
              <a:gd name="T71" fmla="*/ 36402539 h 327"/>
              <a:gd name="T72" fmla="*/ 5570509 w 331"/>
              <a:gd name="T73" fmla="*/ 31082281 h 327"/>
              <a:gd name="T74" fmla="*/ 9947433 w 331"/>
              <a:gd name="T75" fmla="*/ 22681736 h 327"/>
              <a:gd name="T76" fmla="*/ 14522842 w 331"/>
              <a:gd name="T77" fmla="*/ 15400911 h 327"/>
              <a:gd name="T78" fmla="*/ 22878829 w 331"/>
              <a:gd name="T79" fmla="*/ 11480833 h 327"/>
              <a:gd name="T80" fmla="*/ 35810224 w 331"/>
              <a:gd name="T81" fmla="*/ 3920078 h 327"/>
              <a:gd name="T82" fmla="*/ 43370041 w 331"/>
              <a:gd name="T83" fmla="*/ 1960039 h 327"/>
              <a:gd name="T84" fmla="*/ 49537343 w 331"/>
              <a:gd name="T85" fmla="*/ 3920078 h 327"/>
              <a:gd name="T86" fmla="*/ 53914267 w 331"/>
              <a:gd name="T87" fmla="*/ 7560755 h 327"/>
              <a:gd name="T88" fmla="*/ 58092260 w 331"/>
              <a:gd name="T89" fmla="*/ 8400545 h 327"/>
              <a:gd name="T90" fmla="*/ 61076223 w 331"/>
              <a:gd name="T91" fmla="*/ 5600187 h 327"/>
              <a:gd name="T92" fmla="*/ 65055285 w 331"/>
              <a:gd name="T93" fmla="*/ 1680109 h 327"/>
              <a:gd name="T94" fmla="*/ 65652078 w 331"/>
              <a:gd name="T95" fmla="*/ 8960405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71" name="Freeform 462">
            <a:extLst>
              <a:ext uri="{FF2B5EF4-FFF2-40B4-BE49-F238E27FC236}">
                <a16:creationId xmlns:a16="http://schemas.microsoft.com/office/drawing/2014/main" id="{10727759-27E8-4C2D-859A-BCC1E40C98EA}"/>
              </a:ext>
            </a:extLst>
          </p:cNvPr>
          <p:cNvSpPr>
            <a:spLocks/>
          </p:cNvSpPr>
          <p:nvPr>
            <p:custDataLst>
              <p:tags r:id="rId300"/>
            </p:custDataLst>
          </p:nvPr>
        </p:nvSpPr>
        <p:spPr bwMode="auto">
          <a:xfrm>
            <a:off x="6155604" y="2806900"/>
            <a:ext cx="96091" cy="73182"/>
          </a:xfrm>
          <a:custGeom>
            <a:avLst/>
            <a:gdLst>
              <a:gd name="T0" fmla="*/ 0 w 153"/>
              <a:gd name="T1" fmla="*/ 0 h 49"/>
              <a:gd name="T2" fmla="*/ 9170894 w 153"/>
              <a:gd name="T3" fmla="*/ 2721040 h 49"/>
              <a:gd name="T4" fmla="*/ 17299060 w 153"/>
              <a:gd name="T5" fmla="*/ 8161953 h 49"/>
              <a:gd name="T6" fmla="*/ 21467690 w 153"/>
              <a:gd name="T7" fmla="*/ 10882993 h 49"/>
              <a:gd name="T8" fmla="*/ 25219502 w 153"/>
              <a:gd name="T9" fmla="*/ 9521890 h 49"/>
              <a:gd name="T10" fmla="*/ 27095408 w 153"/>
              <a:gd name="T11" fmla="*/ 8161953 h 49"/>
              <a:gd name="T12" fmla="*/ 28554041 w 153"/>
              <a:gd name="T13" fmla="*/ 6802016 h 49"/>
              <a:gd name="T14" fmla="*/ 30221767 w 153"/>
              <a:gd name="T15" fmla="*/ 4080977 h 49"/>
              <a:gd name="T16" fmla="*/ 31889036 w 153"/>
              <a:gd name="T17" fmla="*/ 0 h 49"/>
              <a:gd name="T18" fmla="*/ 31889036 w 153"/>
              <a:gd name="T19" fmla="*/ 12242930 h 49"/>
              <a:gd name="T20" fmla="*/ 31889036 w 153"/>
              <a:gd name="T21" fmla="*/ 34007749 h 49"/>
              <a:gd name="T22" fmla="*/ 29804949 w 153"/>
              <a:gd name="T23" fmla="*/ 42169702 h 49"/>
              <a:gd name="T24" fmla="*/ 27720406 w 153"/>
              <a:gd name="T25" fmla="*/ 48971718 h 49"/>
              <a:gd name="T26" fmla="*/ 25844500 w 153"/>
              <a:gd name="T27" fmla="*/ 54412632 h 49"/>
              <a:gd name="T28" fmla="*/ 23760413 w 153"/>
              <a:gd name="T29" fmla="*/ 59853545 h 49"/>
              <a:gd name="T30" fmla="*/ 22093144 w 153"/>
              <a:gd name="T31" fmla="*/ 62574585 h 49"/>
              <a:gd name="T32" fmla="*/ 20634055 w 153"/>
              <a:gd name="T33" fmla="*/ 65295624 h 49"/>
              <a:gd name="T34" fmla="*/ 19174966 w 153"/>
              <a:gd name="T35" fmla="*/ 66655561 h 49"/>
              <a:gd name="T36" fmla="*/ 18133151 w 153"/>
              <a:gd name="T37" fmla="*/ 66655561 h 49"/>
              <a:gd name="T38" fmla="*/ 15006793 w 153"/>
              <a:gd name="T39" fmla="*/ 65295624 h 49"/>
              <a:gd name="T40" fmla="*/ 12505433 w 153"/>
              <a:gd name="T41" fmla="*/ 62574585 h 49"/>
              <a:gd name="T42" fmla="*/ 10421346 w 153"/>
              <a:gd name="T43" fmla="*/ 58493608 h 49"/>
              <a:gd name="T44" fmla="*/ 8545440 w 153"/>
              <a:gd name="T45" fmla="*/ 51691592 h 49"/>
              <a:gd name="T46" fmla="*/ 4585447 w 153"/>
              <a:gd name="T47" fmla="*/ 39448662 h 49"/>
              <a:gd name="T48" fmla="*/ 0 w 153"/>
              <a:gd name="T49" fmla="*/ 25845796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72" name="Freeform 463">
            <a:extLst>
              <a:ext uri="{FF2B5EF4-FFF2-40B4-BE49-F238E27FC236}">
                <a16:creationId xmlns:a16="http://schemas.microsoft.com/office/drawing/2014/main" id="{86668E98-F89C-49AC-BB7B-42DBF6F5B9A6}"/>
              </a:ext>
            </a:extLst>
          </p:cNvPr>
          <p:cNvSpPr>
            <a:spLocks/>
          </p:cNvSpPr>
          <p:nvPr>
            <p:custDataLst>
              <p:tags r:id="rId301"/>
            </p:custDataLst>
          </p:nvPr>
        </p:nvSpPr>
        <p:spPr bwMode="auto">
          <a:xfrm>
            <a:off x="4873004" y="3758262"/>
            <a:ext cx="261116" cy="205315"/>
          </a:xfrm>
          <a:custGeom>
            <a:avLst/>
            <a:gdLst>
              <a:gd name="T0" fmla="*/ 37512491 w 426"/>
              <a:gd name="T1" fmla="*/ 4510305 h 299"/>
              <a:gd name="T2" fmla="*/ 41766439 w 426"/>
              <a:gd name="T3" fmla="*/ 6201869 h 299"/>
              <a:gd name="T4" fmla="*/ 44473417 w 426"/>
              <a:gd name="T5" fmla="*/ 8174829 h 299"/>
              <a:gd name="T6" fmla="*/ 48920847 w 426"/>
              <a:gd name="T7" fmla="*/ 9866392 h 299"/>
              <a:gd name="T8" fmla="*/ 53948281 w 426"/>
              <a:gd name="T9" fmla="*/ 10430247 h 299"/>
              <a:gd name="T10" fmla="*/ 58008748 w 426"/>
              <a:gd name="T11" fmla="*/ 10430247 h 299"/>
              <a:gd name="T12" fmla="*/ 61682693 w 426"/>
              <a:gd name="T13" fmla="*/ 9584465 h 299"/>
              <a:gd name="T14" fmla="*/ 63616186 w 426"/>
              <a:gd name="T15" fmla="*/ 8174829 h 299"/>
              <a:gd name="T16" fmla="*/ 70577112 w 426"/>
              <a:gd name="T17" fmla="*/ 7047120 h 299"/>
              <a:gd name="T18" fmla="*/ 71931041 w 426"/>
              <a:gd name="T19" fmla="*/ 13812843 h 299"/>
              <a:gd name="T20" fmla="*/ 74058015 w 426"/>
              <a:gd name="T21" fmla="*/ 20859962 h 299"/>
              <a:gd name="T22" fmla="*/ 75604546 w 426"/>
              <a:gd name="T23" fmla="*/ 23679235 h 299"/>
              <a:gd name="T24" fmla="*/ 77344997 w 426"/>
              <a:gd name="T25" fmla="*/ 25934122 h 299"/>
              <a:gd name="T26" fmla="*/ 79665453 w 426"/>
              <a:gd name="T27" fmla="*/ 27343758 h 299"/>
              <a:gd name="T28" fmla="*/ 82178950 w 426"/>
              <a:gd name="T29" fmla="*/ 27907613 h 299"/>
              <a:gd name="T30" fmla="*/ 82178950 w 426"/>
              <a:gd name="T31" fmla="*/ 33827023 h 299"/>
              <a:gd name="T32" fmla="*/ 82178950 w 426"/>
              <a:gd name="T33" fmla="*/ 40028892 h 299"/>
              <a:gd name="T34" fmla="*/ 80438938 w 426"/>
              <a:gd name="T35" fmla="*/ 44539197 h 299"/>
              <a:gd name="T36" fmla="*/ 79665453 w 426"/>
              <a:gd name="T37" fmla="*/ 47921793 h 299"/>
              <a:gd name="T38" fmla="*/ 79665453 w 426"/>
              <a:gd name="T39" fmla="*/ 51022462 h 299"/>
              <a:gd name="T40" fmla="*/ 80245457 w 426"/>
              <a:gd name="T41" fmla="*/ 53559808 h 299"/>
              <a:gd name="T42" fmla="*/ 81792427 w 426"/>
              <a:gd name="T43" fmla="*/ 59479749 h 299"/>
              <a:gd name="T44" fmla="*/ 82372431 w 426"/>
              <a:gd name="T45" fmla="*/ 63708127 h 299"/>
              <a:gd name="T46" fmla="*/ 82178950 w 426"/>
              <a:gd name="T47" fmla="*/ 69627538 h 299"/>
              <a:gd name="T48" fmla="*/ 82372431 w 426"/>
              <a:gd name="T49" fmla="*/ 77239043 h 299"/>
              <a:gd name="T50" fmla="*/ 81792427 w 426"/>
              <a:gd name="T51" fmla="*/ 80339712 h 299"/>
              <a:gd name="T52" fmla="*/ 79665453 w 426"/>
              <a:gd name="T53" fmla="*/ 83440380 h 299"/>
              <a:gd name="T54" fmla="*/ 73477572 w 426"/>
              <a:gd name="T55" fmla="*/ 84004235 h 299"/>
              <a:gd name="T56" fmla="*/ 71544079 w 426"/>
              <a:gd name="T57" fmla="*/ 84286162 h 299"/>
              <a:gd name="T58" fmla="*/ 69610586 w 426"/>
              <a:gd name="T59" fmla="*/ 83440380 h 299"/>
              <a:gd name="T60" fmla="*/ 67870134 w 426"/>
              <a:gd name="T61" fmla="*/ 81749348 h 299"/>
              <a:gd name="T62" fmla="*/ 65356637 w 426"/>
              <a:gd name="T63" fmla="*/ 78366221 h 299"/>
              <a:gd name="T64" fmla="*/ 62649659 w 426"/>
              <a:gd name="T65" fmla="*/ 73573988 h 299"/>
              <a:gd name="T66" fmla="*/ 60135722 w 426"/>
              <a:gd name="T67" fmla="*/ 71319101 h 299"/>
              <a:gd name="T68" fmla="*/ 56848740 w 426"/>
              <a:gd name="T69" fmla="*/ 70755247 h 299"/>
              <a:gd name="T70" fmla="*/ 53754800 w 426"/>
              <a:gd name="T71" fmla="*/ 65399160 h 299"/>
              <a:gd name="T72" fmla="*/ 52981314 w 426"/>
              <a:gd name="T73" fmla="*/ 59197822 h 299"/>
              <a:gd name="T74" fmla="*/ 52014348 w 426"/>
              <a:gd name="T75" fmla="*/ 55532768 h 299"/>
              <a:gd name="T76" fmla="*/ 50467817 w 426"/>
              <a:gd name="T77" fmla="*/ 51868244 h 299"/>
              <a:gd name="T78" fmla="*/ 48533885 w 426"/>
              <a:gd name="T79" fmla="*/ 48767575 h 299"/>
              <a:gd name="T80" fmla="*/ 46020388 w 426"/>
              <a:gd name="T81" fmla="*/ 46512688 h 299"/>
              <a:gd name="T82" fmla="*/ 42926447 w 426"/>
              <a:gd name="T83" fmla="*/ 45384979 h 299"/>
              <a:gd name="T84" fmla="*/ 39445984 w 426"/>
              <a:gd name="T85" fmla="*/ 45384979 h 299"/>
              <a:gd name="T86" fmla="*/ 36352043 w 426"/>
              <a:gd name="T87" fmla="*/ 45948834 h 299"/>
              <a:gd name="T88" fmla="*/ 33451584 w 426"/>
              <a:gd name="T89" fmla="*/ 47357939 h 299"/>
              <a:gd name="T90" fmla="*/ 30938087 w 426"/>
              <a:gd name="T91" fmla="*/ 49613357 h 299"/>
              <a:gd name="T92" fmla="*/ 27264142 w 426"/>
              <a:gd name="T93" fmla="*/ 53841735 h 299"/>
              <a:gd name="T94" fmla="*/ 22816713 w 426"/>
              <a:gd name="T95" fmla="*/ 60606927 h 299"/>
              <a:gd name="T96" fmla="*/ 20303216 w 426"/>
              <a:gd name="T97" fmla="*/ 61452709 h 299"/>
              <a:gd name="T98" fmla="*/ 19336249 w 426"/>
              <a:gd name="T99" fmla="*/ 56660477 h 299"/>
              <a:gd name="T100" fmla="*/ 17402756 w 426"/>
              <a:gd name="T101" fmla="*/ 52432099 h 299"/>
              <a:gd name="T102" fmla="*/ 14695338 w 426"/>
              <a:gd name="T103" fmla="*/ 48203721 h 299"/>
              <a:gd name="T104" fmla="*/ 9668345 w 426"/>
              <a:gd name="T105" fmla="*/ 43129561 h 299"/>
              <a:gd name="T106" fmla="*/ 4640911 w 426"/>
              <a:gd name="T107" fmla="*/ 37773474 h 299"/>
              <a:gd name="T108" fmla="*/ 1546970 w 426"/>
              <a:gd name="T109" fmla="*/ 33545096 h 299"/>
              <a:gd name="T110" fmla="*/ 2900459 w 426"/>
              <a:gd name="T111" fmla="*/ 28471467 h 299"/>
              <a:gd name="T112" fmla="*/ 8894859 w 426"/>
              <a:gd name="T113" fmla="*/ 21705744 h 299"/>
              <a:gd name="T114" fmla="*/ 14502297 w 426"/>
              <a:gd name="T115" fmla="*/ 13530916 h 299"/>
              <a:gd name="T116" fmla="*/ 18949727 w 426"/>
              <a:gd name="T117" fmla="*/ 4792232 h 299"/>
              <a:gd name="T118" fmla="*/ 34612031 w 426"/>
              <a:gd name="T119" fmla="*/ 3664523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73" name="Freeform 464">
            <a:extLst>
              <a:ext uri="{FF2B5EF4-FFF2-40B4-BE49-F238E27FC236}">
                <a16:creationId xmlns:a16="http://schemas.microsoft.com/office/drawing/2014/main" id="{FCD3CA72-961A-4F44-9EB5-C28B8512B6E6}"/>
              </a:ext>
            </a:extLst>
          </p:cNvPr>
          <p:cNvSpPr>
            <a:spLocks/>
          </p:cNvSpPr>
          <p:nvPr>
            <p:custDataLst>
              <p:tags r:id="rId302"/>
            </p:custDataLst>
          </p:nvPr>
        </p:nvSpPr>
        <p:spPr bwMode="auto">
          <a:xfrm>
            <a:off x="7720209" y="2800800"/>
            <a:ext cx="962993" cy="1136350"/>
          </a:xfrm>
          <a:custGeom>
            <a:avLst/>
            <a:gdLst>
              <a:gd name="T0" fmla="*/ 89937815 w 1594"/>
              <a:gd name="T1" fmla="*/ 29354740 h 1670"/>
              <a:gd name="T2" fmla="*/ 91446302 w 1594"/>
              <a:gd name="T3" fmla="*/ 50753781 h 1670"/>
              <a:gd name="T4" fmla="*/ 108981058 w 1594"/>
              <a:gd name="T5" fmla="*/ 78737265 h 1670"/>
              <a:gd name="T6" fmla="*/ 132172860 w 1594"/>
              <a:gd name="T7" fmla="*/ 125924626 h 1670"/>
              <a:gd name="T8" fmla="*/ 149896503 w 1594"/>
              <a:gd name="T9" fmla="*/ 136898346 h 1670"/>
              <a:gd name="T10" fmla="*/ 165357414 w 1594"/>
              <a:gd name="T11" fmla="*/ 135252629 h 1670"/>
              <a:gd name="T12" fmla="*/ 175350601 w 1594"/>
              <a:gd name="T13" fmla="*/ 147323668 h 1670"/>
              <a:gd name="T14" fmla="*/ 207780912 w 1594"/>
              <a:gd name="T15" fmla="*/ 155553827 h 1670"/>
              <a:gd name="T16" fmla="*/ 211363244 w 1594"/>
              <a:gd name="T17" fmla="*/ 126473548 h 1670"/>
              <a:gd name="T18" fmla="*/ 222299127 w 1594"/>
              <a:gd name="T19" fmla="*/ 147872590 h 1670"/>
              <a:gd name="T20" fmla="*/ 234366159 w 1594"/>
              <a:gd name="T21" fmla="*/ 153908109 h 1670"/>
              <a:gd name="T22" fmla="*/ 244924703 w 1594"/>
              <a:gd name="T23" fmla="*/ 136624409 h 1670"/>
              <a:gd name="T24" fmla="*/ 264722624 w 1594"/>
              <a:gd name="T25" fmla="*/ 112207346 h 1670"/>
              <a:gd name="T26" fmla="*/ 292062115 w 1594"/>
              <a:gd name="T27" fmla="*/ 117420007 h 1670"/>
              <a:gd name="T28" fmla="*/ 297718726 w 1594"/>
              <a:gd name="T29" fmla="*/ 136624409 h 1670"/>
              <a:gd name="T30" fmla="*/ 283577416 w 1594"/>
              <a:gd name="T31" fmla="*/ 148695448 h 1670"/>
              <a:gd name="T32" fmla="*/ 279995083 w 1594"/>
              <a:gd name="T33" fmla="*/ 186280871 h 1670"/>
              <a:gd name="T34" fmla="*/ 269436105 w 1594"/>
              <a:gd name="T35" fmla="*/ 193139249 h 1670"/>
              <a:gd name="T36" fmla="*/ 265476868 w 1594"/>
              <a:gd name="T37" fmla="*/ 223317372 h 1670"/>
              <a:gd name="T38" fmla="*/ 249072826 w 1594"/>
              <a:gd name="T39" fmla="*/ 206856530 h 1670"/>
              <a:gd name="T40" fmla="*/ 249450165 w 1594"/>
              <a:gd name="T41" fmla="*/ 191493532 h 1670"/>
              <a:gd name="T42" fmla="*/ 230972279 w 1594"/>
              <a:gd name="T43" fmla="*/ 175032690 h 1670"/>
              <a:gd name="T44" fmla="*/ 223807614 w 1594"/>
              <a:gd name="T45" fmla="*/ 161315410 h 1670"/>
              <a:gd name="T46" fmla="*/ 213248636 w 1594"/>
              <a:gd name="T47" fmla="*/ 157748990 h 1670"/>
              <a:gd name="T48" fmla="*/ 212494392 w 1594"/>
              <a:gd name="T49" fmla="*/ 171466271 h 1670"/>
              <a:gd name="T50" fmla="*/ 210609000 w 1594"/>
              <a:gd name="T51" fmla="*/ 187378190 h 1670"/>
              <a:gd name="T52" fmla="*/ 218716795 w 1594"/>
              <a:gd name="T53" fmla="*/ 201643869 h 1670"/>
              <a:gd name="T54" fmla="*/ 216642516 w 1594"/>
              <a:gd name="T55" fmla="*/ 231273593 h 1670"/>
              <a:gd name="T56" fmla="*/ 202690092 w 1594"/>
              <a:gd name="T57" fmla="*/ 237034652 h 1670"/>
              <a:gd name="T58" fmla="*/ 197787724 w 1594"/>
              <a:gd name="T59" fmla="*/ 257061914 h 1670"/>
              <a:gd name="T60" fmla="*/ 179875629 w 1594"/>
              <a:gd name="T61" fmla="*/ 274620075 h 1670"/>
              <a:gd name="T62" fmla="*/ 171956721 w 1594"/>
              <a:gd name="T63" fmla="*/ 288062895 h 1670"/>
              <a:gd name="T64" fmla="*/ 147067980 w 1594"/>
              <a:gd name="T65" fmla="*/ 325922778 h 1670"/>
              <a:gd name="T66" fmla="*/ 136320983 w 1594"/>
              <a:gd name="T67" fmla="*/ 338268278 h 1670"/>
              <a:gd name="T68" fmla="*/ 140280220 w 1594"/>
              <a:gd name="T69" fmla="*/ 368720861 h 1670"/>
              <a:gd name="T70" fmla="*/ 134246704 w 1594"/>
              <a:gd name="T71" fmla="*/ 396429360 h 1670"/>
              <a:gd name="T72" fmla="*/ 136132097 w 1594"/>
              <a:gd name="T73" fmla="*/ 418102862 h 1670"/>
              <a:gd name="T74" fmla="*/ 130664372 w 1594"/>
              <a:gd name="T75" fmla="*/ 432369065 h 1670"/>
              <a:gd name="T76" fmla="*/ 112186486 w 1594"/>
              <a:gd name="T77" fmla="*/ 456237206 h 1670"/>
              <a:gd name="T78" fmla="*/ 97291366 w 1594"/>
              <a:gd name="T79" fmla="*/ 419474643 h 1670"/>
              <a:gd name="T80" fmla="*/ 79001932 w 1594"/>
              <a:gd name="T81" fmla="*/ 365977300 h 1670"/>
              <a:gd name="T82" fmla="*/ 56753260 w 1594"/>
              <a:gd name="T83" fmla="*/ 305621056 h 1670"/>
              <a:gd name="T84" fmla="*/ 48834352 w 1594"/>
              <a:gd name="T85" fmla="*/ 236211794 h 1670"/>
              <a:gd name="T86" fmla="*/ 43366194 w 1594"/>
              <a:gd name="T87" fmla="*/ 223317372 h 1670"/>
              <a:gd name="T88" fmla="*/ 30921823 w 1594"/>
              <a:gd name="T89" fmla="*/ 246911052 h 1670"/>
              <a:gd name="T90" fmla="*/ 16969399 w 1594"/>
              <a:gd name="T91" fmla="*/ 240326611 h 1670"/>
              <a:gd name="T92" fmla="*/ 9615848 w 1594"/>
              <a:gd name="T93" fmla="*/ 218928093 h 1670"/>
              <a:gd name="T94" fmla="*/ 5656611 w 1594"/>
              <a:gd name="T95" fmla="*/ 211520793 h 1670"/>
              <a:gd name="T96" fmla="*/ 6033516 w 1594"/>
              <a:gd name="T97" fmla="*/ 194236569 h 1670"/>
              <a:gd name="T98" fmla="*/ 29979127 w 1594"/>
              <a:gd name="T99" fmla="*/ 180793749 h 1670"/>
              <a:gd name="T100" fmla="*/ 17346304 w 1594"/>
              <a:gd name="T101" fmla="*/ 156102749 h 1670"/>
              <a:gd name="T102" fmla="*/ 11124336 w 1594"/>
              <a:gd name="T103" fmla="*/ 137172807 h 1670"/>
              <a:gd name="T104" fmla="*/ 30544918 w 1594"/>
              <a:gd name="T105" fmla="*/ 125924626 h 1670"/>
              <a:gd name="T106" fmla="*/ 50908197 w 1594"/>
              <a:gd name="T107" fmla="*/ 80657443 h 1670"/>
              <a:gd name="T108" fmla="*/ 51662441 w 1594"/>
              <a:gd name="T109" fmla="*/ 63099282 h 1670"/>
              <a:gd name="T110" fmla="*/ 42800402 w 1594"/>
              <a:gd name="T111" fmla="*/ 38957203 h 1670"/>
              <a:gd name="T112" fmla="*/ 60712932 w 1594"/>
              <a:gd name="T113" fmla="*/ 14814600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74" name="Freeform 465">
            <a:extLst>
              <a:ext uri="{FF2B5EF4-FFF2-40B4-BE49-F238E27FC236}">
                <a16:creationId xmlns:a16="http://schemas.microsoft.com/office/drawing/2014/main" id="{151A9A3E-2E33-4034-AAA8-5D2046FF6B46}"/>
              </a:ext>
            </a:extLst>
          </p:cNvPr>
          <p:cNvSpPr>
            <a:spLocks/>
          </p:cNvSpPr>
          <p:nvPr>
            <p:custDataLst>
              <p:tags r:id="rId303"/>
            </p:custDataLst>
          </p:nvPr>
        </p:nvSpPr>
        <p:spPr bwMode="auto">
          <a:xfrm>
            <a:off x="5104876" y="3835510"/>
            <a:ext cx="221427" cy="266300"/>
          </a:xfrm>
          <a:custGeom>
            <a:avLst/>
            <a:gdLst>
              <a:gd name="T0" fmla="*/ 10363854 w 359"/>
              <a:gd name="T1" fmla="*/ 104805501 h 394"/>
              <a:gd name="T2" fmla="*/ 10363854 w 359"/>
              <a:gd name="T3" fmla="*/ 98220881 h 394"/>
              <a:gd name="T4" fmla="*/ 10363854 w 359"/>
              <a:gd name="T5" fmla="*/ 91362317 h 394"/>
              <a:gd name="T6" fmla="*/ 9777054 w 359"/>
              <a:gd name="T7" fmla="*/ 85600579 h 394"/>
              <a:gd name="T8" fmla="*/ 8408444 w 359"/>
              <a:gd name="T9" fmla="*/ 80387777 h 394"/>
              <a:gd name="T10" fmla="*/ 6843938 w 359"/>
              <a:gd name="T11" fmla="*/ 75997856 h 394"/>
              <a:gd name="T12" fmla="*/ 2542211 w 359"/>
              <a:gd name="T13" fmla="*/ 67218537 h 394"/>
              <a:gd name="T14" fmla="*/ 0 w 359"/>
              <a:gd name="T15" fmla="*/ 50756727 h 394"/>
              <a:gd name="T16" fmla="*/ 6453033 w 359"/>
              <a:gd name="T17" fmla="*/ 49659377 h 394"/>
              <a:gd name="T18" fmla="*/ 7821643 w 359"/>
              <a:gd name="T19" fmla="*/ 46366806 h 394"/>
              <a:gd name="T20" fmla="*/ 8017096 w 359"/>
              <a:gd name="T21" fmla="*/ 41154003 h 394"/>
              <a:gd name="T22" fmla="*/ 7430738 w 359"/>
              <a:gd name="T23" fmla="*/ 29356582 h 394"/>
              <a:gd name="T24" fmla="*/ 6061685 w 359"/>
              <a:gd name="T25" fmla="*/ 17833628 h 394"/>
              <a:gd name="T26" fmla="*/ 6257138 w 359"/>
              <a:gd name="T27" fmla="*/ 12894771 h 394"/>
              <a:gd name="T28" fmla="*/ 7039391 w 359"/>
              <a:gd name="T29" fmla="*/ 9877191 h 394"/>
              <a:gd name="T30" fmla="*/ 23464930 w 359"/>
              <a:gd name="T31" fmla="*/ 8505374 h 394"/>
              <a:gd name="T32" fmla="*/ 23855836 w 359"/>
              <a:gd name="T33" fmla="*/ 6035683 h 394"/>
              <a:gd name="T34" fmla="*/ 25029436 w 359"/>
              <a:gd name="T35" fmla="*/ 3840984 h 394"/>
              <a:gd name="T36" fmla="*/ 27375752 w 359"/>
              <a:gd name="T37" fmla="*/ 0 h 394"/>
              <a:gd name="T38" fmla="*/ 27766657 w 359"/>
              <a:gd name="T39" fmla="*/ 4938334 h 394"/>
              <a:gd name="T40" fmla="*/ 27766657 w 359"/>
              <a:gd name="T41" fmla="*/ 7133556 h 394"/>
              <a:gd name="T42" fmla="*/ 27375752 w 359"/>
              <a:gd name="T43" fmla="*/ 8505374 h 394"/>
              <a:gd name="T44" fmla="*/ 32851079 w 359"/>
              <a:gd name="T45" fmla="*/ 8505374 h 394"/>
              <a:gd name="T46" fmla="*/ 36370554 w 359"/>
              <a:gd name="T47" fmla="*/ 8505374 h 394"/>
              <a:gd name="T48" fmla="*/ 41845881 w 359"/>
              <a:gd name="T49" fmla="*/ 10425604 h 394"/>
              <a:gd name="T50" fmla="*/ 45561250 w 359"/>
              <a:gd name="T51" fmla="*/ 13443707 h 394"/>
              <a:gd name="T52" fmla="*/ 48103019 w 359"/>
              <a:gd name="T53" fmla="*/ 15912874 h 394"/>
              <a:gd name="T54" fmla="*/ 50645230 w 359"/>
              <a:gd name="T55" fmla="*/ 16735755 h 394"/>
              <a:gd name="T56" fmla="*/ 52405188 w 359"/>
              <a:gd name="T57" fmla="*/ 16187343 h 394"/>
              <a:gd name="T58" fmla="*/ 53773799 w 359"/>
              <a:gd name="T59" fmla="*/ 14815525 h 394"/>
              <a:gd name="T60" fmla="*/ 55924662 w 359"/>
              <a:gd name="T61" fmla="*/ 10151136 h 394"/>
              <a:gd name="T62" fmla="*/ 61009084 w 359"/>
              <a:gd name="T63" fmla="*/ 14266589 h 394"/>
              <a:gd name="T64" fmla="*/ 63550853 w 359"/>
              <a:gd name="T65" fmla="*/ 16187343 h 394"/>
              <a:gd name="T66" fmla="*/ 66093064 w 359"/>
              <a:gd name="T67" fmla="*/ 16735755 h 394"/>
              <a:gd name="T68" fmla="*/ 69026180 w 359"/>
              <a:gd name="T69" fmla="*/ 44172107 h 394"/>
              <a:gd name="T70" fmla="*/ 66093064 w 359"/>
              <a:gd name="T71" fmla="*/ 50756727 h 394"/>
              <a:gd name="T72" fmla="*/ 63159948 w 359"/>
              <a:gd name="T73" fmla="*/ 56518465 h 394"/>
              <a:gd name="T74" fmla="*/ 61595442 w 359"/>
              <a:gd name="T75" fmla="*/ 61456799 h 394"/>
              <a:gd name="T76" fmla="*/ 61204537 w 359"/>
              <a:gd name="T77" fmla="*/ 65572252 h 394"/>
              <a:gd name="T78" fmla="*/ 61204537 w 359"/>
              <a:gd name="T79" fmla="*/ 69962173 h 394"/>
              <a:gd name="T80" fmla="*/ 62768600 w 359"/>
              <a:gd name="T81" fmla="*/ 74900506 h 394"/>
              <a:gd name="T82" fmla="*/ 64724011 w 359"/>
              <a:gd name="T83" fmla="*/ 80387777 h 394"/>
              <a:gd name="T84" fmla="*/ 65897611 w 359"/>
              <a:gd name="T85" fmla="*/ 84777174 h 394"/>
              <a:gd name="T86" fmla="*/ 65897611 w 359"/>
              <a:gd name="T87" fmla="*/ 88069746 h 394"/>
              <a:gd name="T88" fmla="*/ 64528558 w 359"/>
              <a:gd name="T89" fmla="*/ 92459667 h 394"/>
              <a:gd name="T90" fmla="*/ 63746306 w 359"/>
              <a:gd name="T91" fmla="*/ 96300651 h 394"/>
              <a:gd name="T92" fmla="*/ 62377695 w 359"/>
              <a:gd name="T93" fmla="*/ 98220881 h 394"/>
              <a:gd name="T94" fmla="*/ 60226831 w 359"/>
              <a:gd name="T95" fmla="*/ 97672469 h 394"/>
              <a:gd name="T96" fmla="*/ 58271421 w 359"/>
              <a:gd name="T97" fmla="*/ 96026183 h 394"/>
              <a:gd name="T98" fmla="*/ 56120557 w 359"/>
              <a:gd name="T99" fmla="*/ 93282548 h 394"/>
              <a:gd name="T100" fmla="*/ 54165146 w 359"/>
              <a:gd name="T101" fmla="*/ 91910730 h 394"/>
              <a:gd name="T102" fmla="*/ 52013841 w 359"/>
              <a:gd name="T103" fmla="*/ 91362317 h 394"/>
              <a:gd name="T104" fmla="*/ 48103019 w 359"/>
              <a:gd name="T105" fmla="*/ 91362317 h 394"/>
              <a:gd name="T106" fmla="*/ 43214492 w 359"/>
              <a:gd name="T107" fmla="*/ 92185198 h 394"/>
              <a:gd name="T108" fmla="*/ 35392848 w 359"/>
              <a:gd name="T109" fmla="*/ 94105429 h 394"/>
              <a:gd name="T110" fmla="*/ 25615794 w 359"/>
              <a:gd name="T111" fmla="*/ 98495350 h 394"/>
              <a:gd name="T112" fmla="*/ 16816445 w 359"/>
              <a:gd name="T113" fmla="*/ 102885271 h 394"/>
              <a:gd name="T114" fmla="*/ 10363854 w 359"/>
              <a:gd name="T115" fmla="*/ 108098073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75" name="Freeform 466">
            <a:extLst>
              <a:ext uri="{FF2B5EF4-FFF2-40B4-BE49-F238E27FC236}">
                <a16:creationId xmlns:a16="http://schemas.microsoft.com/office/drawing/2014/main" id="{9F52078E-BFA3-4BF5-823D-529F94B581A9}"/>
              </a:ext>
            </a:extLst>
          </p:cNvPr>
          <p:cNvSpPr>
            <a:spLocks/>
          </p:cNvSpPr>
          <p:nvPr>
            <p:custDataLst>
              <p:tags r:id="rId304"/>
            </p:custDataLst>
          </p:nvPr>
        </p:nvSpPr>
        <p:spPr bwMode="auto">
          <a:xfrm>
            <a:off x="6592190" y="4087579"/>
            <a:ext cx="267383" cy="353711"/>
          </a:xfrm>
          <a:custGeom>
            <a:avLst/>
            <a:gdLst>
              <a:gd name="T0" fmla="*/ 75039669 w 449"/>
              <a:gd name="T1" fmla="*/ 28288209 h 523"/>
              <a:gd name="T2" fmla="*/ 74124577 w 449"/>
              <a:gd name="T3" fmla="*/ 26402502 h 523"/>
              <a:gd name="T4" fmla="*/ 74673889 w 449"/>
              <a:gd name="T5" fmla="*/ 24786181 h 523"/>
              <a:gd name="T6" fmla="*/ 77236061 w 449"/>
              <a:gd name="T7" fmla="*/ 20744860 h 523"/>
              <a:gd name="T8" fmla="*/ 80713324 w 449"/>
              <a:gd name="T9" fmla="*/ 16164765 h 523"/>
              <a:gd name="T10" fmla="*/ 81811520 w 449"/>
              <a:gd name="T11" fmla="*/ 13470378 h 523"/>
              <a:gd name="T12" fmla="*/ 82177728 w 449"/>
              <a:gd name="T13" fmla="*/ 9968350 h 523"/>
              <a:gd name="T14" fmla="*/ 79066244 w 449"/>
              <a:gd name="T15" fmla="*/ 9160189 h 523"/>
              <a:gd name="T16" fmla="*/ 77236061 w 449"/>
              <a:gd name="T17" fmla="*/ 7273963 h 523"/>
              <a:gd name="T18" fmla="*/ 75222773 w 449"/>
              <a:gd name="T19" fmla="*/ 5657642 h 523"/>
              <a:gd name="T20" fmla="*/ 71379302 w 449"/>
              <a:gd name="T21" fmla="*/ 4849481 h 523"/>
              <a:gd name="T22" fmla="*/ 68999806 w 449"/>
              <a:gd name="T23" fmla="*/ 5388255 h 523"/>
              <a:gd name="T24" fmla="*/ 67352727 w 449"/>
              <a:gd name="T25" fmla="*/ 6465802 h 523"/>
              <a:gd name="T26" fmla="*/ 64973659 w 449"/>
              <a:gd name="T27" fmla="*/ 9968350 h 523"/>
              <a:gd name="T28" fmla="*/ 62227956 w 449"/>
              <a:gd name="T29" fmla="*/ 13470378 h 523"/>
              <a:gd name="T30" fmla="*/ 59665784 w 449"/>
              <a:gd name="T31" fmla="*/ 14548444 h 523"/>
              <a:gd name="T32" fmla="*/ 56737405 w 449"/>
              <a:gd name="T33" fmla="*/ 14817831 h 523"/>
              <a:gd name="T34" fmla="*/ 52527726 w 449"/>
              <a:gd name="T35" fmla="*/ 14548444 h 523"/>
              <a:gd name="T36" fmla="*/ 48867358 w 449"/>
              <a:gd name="T37" fmla="*/ 13470378 h 523"/>
              <a:gd name="T38" fmla="*/ 43010599 w 449"/>
              <a:gd name="T39" fmla="*/ 9698963 h 523"/>
              <a:gd name="T40" fmla="*/ 37702725 w 449"/>
              <a:gd name="T41" fmla="*/ 5118868 h 523"/>
              <a:gd name="T42" fmla="*/ 34591669 w 449"/>
              <a:gd name="T43" fmla="*/ 3233161 h 523"/>
              <a:gd name="T44" fmla="*/ 31113978 w 449"/>
              <a:gd name="T45" fmla="*/ 1616321 h 523"/>
              <a:gd name="T46" fmla="*/ 24525231 w 449"/>
              <a:gd name="T47" fmla="*/ 2155094 h 523"/>
              <a:gd name="T48" fmla="*/ 21779956 w 449"/>
              <a:gd name="T49" fmla="*/ 1616321 h 523"/>
              <a:gd name="T50" fmla="*/ 18851576 w 449"/>
              <a:gd name="T51" fmla="*/ 0 h 523"/>
              <a:gd name="T52" fmla="*/ 9517126 w 449"/>
              <a:gd name="T53" fmla="*/ 0 h 523"/>
              <a:gd name="T54" fmla="*/ 915092 w 449"/>
              <a:gd name="T55" fmla="*/ 0 h 523"/>
              <a:gd name="T56" fmla="*/ 915092 w 449"/>
              <a:gd name="T57" fmla="*/ 4849481 h 523"/>
              <a:gd name="T58" fmla="*/ 915092 w 449"/>
              <a:gd name="T59" fmla="*/ 9968350 h 523"/>
              <a:gd name="T60" fmla="*/ 2745275 w 449"/>
              <a:gd name="T61" fmla="*/ 16164765 h 523"/>
              <a:gd name="T62" fmla="*/ 4209679 w 449"/>
              <a:gd name="T63" fmla="*/ 24516794 h 523"/>
              <a:gd name="T64" fmla="*/ 5673655 w 449"/>
              <a:gd name="T65" fmla="*/ 34484625 h 523"/>
              <a:gd name="T66" fmla="*/ 6954955 w 449"/>
              <a:gd name="T67" fmla="*/ 46339201 h 523"/>
              <a:gd name="T68" fmla="*/ 6771851 w 449"/>
              <a:gd name="T69" fmla="*/ 55498872 h 523"/>
              <a:gd name="T70" fmla="*/ 5307875 w 449"/>
              <a:gd name="T71" fmla="*/ 61964674 h 523"/>
              <a:gd name="T72" fmla="*/ 1281300 w 449"/>
              <a:gd name="T73" fmla="*/ 72471797 h 523"/>
              <a:gd name="T74" fmla="*/ 1830184 w 449"/>
              <a:gd name="T75" fmla="*/ 86481468 h 523"/>
              <a:gd name="T76" fmla="*/ 5124771 w 449"/>
              <a:gd name="T77" fmla="*/ 91330949 h 523"/>
              <a:gd name="T78" fmla="*/ 15373885 w 449"/>
              <a:gd name="T79" fmla="*/ 98874299 h 523"/>
              <a:gd name="T80" fmla="*/ 24891439 w 449"/>
              <a:gd name="T81" fmla="*/ 106687554 h 523"/>
              <a:gd name="T82" fmla="*/ 31113978 w 449"/>
              <a:gd name="T83" fmla="*/ 113153357 h 523"/>
              <a:gd name="T84" fmla="*/ 34591669 w 449"/>
              <a:gd name="T85" fmla="*/ 117464064 h 523"/>
              <a:gd name="T86" fmla="*/ 36238749 w 449"/>
              <a:gd name="T87" fmla="*/ 121504866 h 523"/>
              <a:gd name="T88" fmla="*/ 36787633 w 449"/>
              <a:gd name="T89" fmla="*/ 125007414 h 523"/>
              <a:gd name="T90" fmla="*/ 38252036 w 449"/>
              <a:gd name="T91" fmla="*/ 129048735 h 523"/>
              <a:gd name="T92" fmla="*/ 40265324 w 449"/>
              <a:gd name="T93" fmla="*/ 132550763 h 523"/>
              <a:gd name="T94" fmla="*/ 42644392 w 449"/>
              <a:gd name="T95" fmla="*/ 135514537 h 523"/>
              <a:gd name="T96" fmla="*/ 45206991 w 449"/>
              <a:gd name="T97" fmla="*/ 137939018 h 523"/>
              <a:gd name="T98" fmla="*/ 48318474 w 449"/>
              <a:gd name="T99" fmla="*/ 139825245 h 523"/>
              <a:gd name="T100" fmla="*/ 51429530 w 449"/>
              <a:gd name="T101" fmla="*/ 140902792 h 523"/>
              <a:gd name="T102" fmla="*/ 55639209 w 449"/>
              <a:gd name="T103" fmla="*/ 135245150 h 523"/>
              <a:gd name="T104" fmla="*/ 61312864 w 449"/>
              <a:gd name="T105" fmla="*/ 124468640 h 523"/>
              <a:gd name="T106" fmla="*/ 66803843 w 449"/>
              <a:gd name="T107" fmla="*/ 115039064 h 523"/>
              <a:gd name="T108" fmla="*/ 72111290 w 449"/>
              <a:gd name="T109" fmla="*/ 105070714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76" name="Freeform 467">
            <a:extLst>
              <a:ext uri="{FF2B5EF4-FFF2-40B4-BE49-F238E27FC236}">
                <a16:creationId xmlns:a16="http://schemas.microsoft.com/office/drawing/2014/main" id="{204ED9D2-5F17-4F79-B82B-D7E3EEF54522}"/>
              </a:ext>
            </a:extLst>
          </p:cNvPr>
          <p:cNvSpPr>
            <a:spLocks/>
          </p:cNvSpPr>
          <p:nvPr>
            <p:custDataLst>
              <p:tags r:id="rId305"/>
            </p:custDataLst>
          </p:nvPr>
        </p:nvSpPr>
        <p:spPr bwMode="auto">
          <a:xfrm>
            <a:off x="6569211" y="2900409"/>
            <a:ext cx="139959" cy="168724"/>
          </a:xfrm>
          <a:custGeom>
            <a:avLst/>
            <a:gdLst>
              <a:gd name="T0" fmla="*/ 2425363 w 226"/>
              <a:gd name="T1" fmla="*/ 63843958 h 246"/>
              <a:gd name="T2" fmla="*/ 7275639 w 226"/>
              <a:gd name="T3" fmla="*/ 67204167 h 246"/>
              <a:gd name="T4" fmla="*/ 10711607 w 226"/>
              <a:gd name="T5" fmla="*/ 68604342 h 246"/>
              <a:gd name="T6" fmla="*/ 13742973 w 226"/>
              <a:gd name="T7" fmla="*/ 68604342 h 246"/>
              <a:gd name="T8" fmla="*/ 17178492 w 226"/>
              <a:gd name="T9" fmla="*/ 67484096 h 246"/>
              <a:gd name="T10" fmla="*/ 22231069 w 226"/>
              <a:gd name="T11" fmla="*/ 63843958 h 246"/>
              <a:gd name="T12" fmla="*/ 28496552 w 226"/>
              <a:gd name="T13" fmla="*/ 57403471 h 246"/>
              <a:gd name="T14" fmla="*/ 32538524 w 226"/>
              <a:gd name="T15" fmla="*/ 51523371 h 246"/>
              <a:gd name="T16" fmla="*/ 32134372 w 226"/>
              <a:gd name="T17" fmla="*/ 48443092 h 246"/>
              <a:gd name="T18" fmla="*/ 30113161 w 226"/>
              <a:gd name="T19" fmla="*/ 44802954 h 246"/>
              <a:gd name="T20" fmla="*/ 28900704 w 226"/>
              <a:gd name="T21" fmla="*/ 40602429 h 246"/>
              <a:gd name="T22" fmla="*/ 28496552 w 226"/>
              <a:gd name="T23" fmla="*/ 36402433 h 246"/>
              <a:gd name="T24" fmla="*/ 28496552 w 226"/>
              <a:gd name="T25" fmla="*/ 32481837 h 246"/>
              <a:gd name="T26" fmla="*/ 29506708 w 226"/>
              <a:gd name="T27" fmla="*/ 29401558 h 246"/>
              <a:gd name="T28" fmla="*/ 31527919 w 226"/>
              <a:gd name="T29" fmla="*/ 26321808 h 246"/>
              <a:gd name="T30" fmla="*/ 33953281 w 226"/>
              <a:gd name="T31" fmla="*/ 24081317 h 246"/>
              <a:gd name="T32" fmla="*/ 41228920 w 226"/>
              <a:gd name="T33" fmla="*/ 19881321 h 246"/>
              <a:gd name="T34" fmla="*/ 45472743 w 226"/>
              <a:gd name="T35" fmla="*/ 13720762 h 246"/>
              <a:gd name="T36" fmla="*/ 44664439 w 226"/>
              <a:gd name="T37" fmla="*/ 8400521 h 246"/>
              <a:gd name="T38" fmla="*/ 43249681 w 226"/>
              <a:gd name="T39" fmla="*/ 4760383 h 246"/>
              <a:gd name="T40" fmla="*/ 42845529 w 226"/>
              <a:gd name="T41" fmla="*/ 1680104 h 246"/>
              <a:gd name="T42" fmla="*/ 40824768 w 226"/>
              <a:gd name="T43" fmla="*/ 279929 h 246"/>
              <a:gd name="T44" fmla="*/ 36580496 w 226"/>
              <a:gd name="T45" fmla="*/ 1960033 h 246"/>
              <a:gd name="T46" fmla="*/ 31123766 w 226"/>
              <a:gd name="T47" fmla="*/ 5600171 h 246"/>
              <a:gd name="T48" fmla="*/ 24454131 w 226"/>
              <a:gd name="T49" fmla="*/ 10640483 h 246"/>
              <a:gd name="T50" fmla="*/ 20210308 w 226"/>
              <a:gd name="T51" fmla="*/ 14280621 h 246"/>
              <a:gd name="T52" fmla="*/ 17583094 w 226"/>
              <a:gd name="T53" fmla="*/ 15400867 h 246"/>
              <a:gd name="T54" fmla="*/ 15157731 w 226"/>
              <a:gd name="T55" fmla="*/ 15120937 h 246"/>
              <a:gd name="T56" fmla="*/ 11924064 w 226"/>
              <a:gd name="T57" fmla="*/ 13160904 h 246"/>
              <a:gd name="T58" fmla="*/ 7275639 w 226"/>
              <a:gd name="T59" fmla="*/ 8680450 h 246"/>
              <a:gd name="T60" fmla="*/ 4850276 w 226"/>
              <a:gd name="T61" fmla="*/ 10920942 h 246"/>
              <a:gd name="T62" fmla="*/ 3637819 w 226"/>
              <a:gd name="T63" fmla="*/ 26601737 h 246"/>
              <a:gd name="T64" fmla="*/ 2021211 w 226"/>
              <a:gd name="T65" fmla="*/ 45642742 h 246"/>
              <a:gd name="T66" fmla="*/ 606453 w 226"/>
              <a:gd name="T67" fmla="*/ 59363504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chemeClr val="accent6">
              <a:lumMod val="40000"/>
              <a:lumOff val="60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77" name="Freeform 468">
            <a:extLst>
              <a:ext uri="{FF2B5EF4-FFF2-40B4-BE49-F238E27FC236}">
                <a16:creationId xmlns:a16="http://schemas.microsoft.com/office/drawing/2014/main" id="{C84A784D-D49E-4751-8A2E-76574AB02CAD}"/>
              </a:ext>
            </a:extLst>
          </p:cNvPr>
          <p:cNvSpPr>
            <a:spLocks/>
          </p:cNvSpPr>
          <p:nvPr>
            <p:custDataLst>
              <p:tags r:id="rId306"/>
            </p:custDataLst>
          </p:nvPr>
        </p:nvSpPr>
        <p:spPr bwMode="auto">
          <a:xfrm>
            <a:off x="6982818" y="3034576"/>
            <a:ext cx="31335" cy="71148"/>
          </a:xfrm>
          <a:custGeom>
            <a:avLst/>
            <a:gdLst>
              <a:gd name="T0" fmla="*/ 3704537 w 60"/>
              <a:gd name="T1" fmla="*/ 0 h 81"/>
              <a:gd name="T2" fmla="*/ 3979016 w 60"/>
              <a:gd name="T3" fmla="*/ 941124 h 81"/>
              <a:gd name="T4" fmla="*/ 4390549 w 60"/>
              <a:gd name="T5" fmla="*/ 1411686 h 81"/>
              <a:gd name="T6" fmla="*/ 4939506 w 60"/>
              <a:gd name="T7" fmla="*/ 1411686 h 81"/>
              <a:gd name="T8" fmla="*/ 5488464 w 60"/>
              <a:gd name="T9" fmla="*/ 941124 h 81"/>
              <a:gd name="T10" fmla="*/ 6448954 w 60"/>
              <a:gd name="T11" fmla="*/ 470562 h 81"/>
              <a:gd name="T12" fmla="*/ 7272020 w 60"/>
              <a:gd name="T13" fmla="*/ 0 h 81"/>
              <a:gd name="T14" fmla="*/ 7272020 w 60"/>
              <a:gd name="T15" fmla="*/ 12233929 h 81"/>
              <a:gd name="T16" fmla="*/ 7409445 w 60"/>
              <a:gd name="T17" fmla="*/ 22115048 h 81"/>
              <a:gd name="T18" fmla="*/ 7409445 w 60"/>
              <a:gd name="T19" fmla="*/ 26819983 h 81"/>
              <a:gd name="T20" fmla="*/ 7683553 w 60"/>
              <a:gd name="T21" fmla="*/ 30584480 h 81"/>
              <a:gd name="T22" fmla="*/ 7958032 w 60"/>
              <a:gd name="T23" fmla="*/ 34348291 h 81"/>
              <a:gd name="T24" fmla="*/ 8232510 w 60"/>
              <a:gd name="T25" fmla="*/ 38112788 h 81"/>
              <a:gd name="T26" fmla="*/ 2744047 w 60"/>
              <a:gd name="T27" fmla="*/ 38112788 h 81"/>
              <a:gd name="T28" fmla="*/ 1920981 w 60"/>
              <a:gd name="T29" fmla="*/ 37642226 h 81"/>
              <a:gd name="T30" fmla="*/ 960490 w 60"/>
              <a:gd name="T31" fmla="*/ 36230540 h 81"/>
              <a:gd name="T32" fmla="*/ 686012 w 60"/>
              <a:gd name="T33" fmla="*/ 34818853 h 81"/>
              <a:gd name="T34" fmla="*/ 274479 w 60"/>
              <a:gd name="T35" fmla="*/ 33877729 h 81"/>
              <a:gd name="T36" fmla="*/ 137054 w 60"/>
              <a:gd name="T37" fmla="*/ 32937291 h 81"/>
              <a:gd name="T38" fmla="*/ 0 w 60"/>
              <a:gd name="T39" fmla="*/ 31996167 h 81"/>
              <a:gd name="T40" fmla="*/ 960490 w 60"/>
              <a:gd name="T41" fmla="*/ 5646060 h 81"/>
              <a:gd name="T42" fmla="*/ 2744047 w 60"/>
              <a:gd name="T43" fmla="*/ 2823373 h 81"/>
              <a:gd name="T44" fmla="*/ 4665028 w 60"/>
              <a:gd name="T45" fmla="*/ 0 h 81"/>
              <a:gd name="T46" fmla="*/ 3704537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0000"/>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78" name="Freeform 469">
            <a:extLst>
              <a:ext uri="{FF2B5EF4-FFF2-40B4-BE49-F238E27FC236}">
                <a16:creationId xmlns:a16="http://schemas.microsoft.com/office/drawing/2014/main" id="{86BD10B4-50D6-4218-A7E8-4714CC4D201A}"/>
              </a:ext>
            </a:extLst>
          </p:cNvPr>
          <p:cNvSpPr>
            <a:spLocks/>
          </p:cNvSpPr>
          <p:nvPr>
            <p:custDataLst>
              <p:tags r:id="rId307"/>
            </p:custDataLst>
          </p:nvPr>
        </p:nvSpPr>
        <p:spPr bwMode="auto">
          <a:xfrm>
            <a:off x="5990579" y="1908390"/>
            <a:ext cx="225604" cy="87411"/>
          </a:xfrm>
          <a:custGeom>
            <a:avLst/>
            <a:gdLst>
              <a:gd name="T0" fmla="*/ 47881223 w 370"/>
              <a:gd name="T1" fmla="*/ 31256103 h 129"/>
              <a:gd name="T2" fmla="*/ 49413383 w 370"/>
              <a:gd name="T3" fmla="*/ 31790020 h 129"/>
              <a:gd name="T4" fmla="*/ 53052319 w 370"/>
              <a:gd name="T5" fmla="*/ 32858887 h 129"/>
              <a:gd name="T6" fmla="*/ 56499571 w 370"/>
              <a:gd name="T7" fmla="*/ 33927238 h 129"/>
              <a:gd name="T8" fmla="*/ 58031732 w 370"/>
              <a:gd name="T9" fmla="*/ 34461672 h 129"/>
              <a:gd name="T10" fmla="*/ 70864069 w 370"/>
              <a:gd name="T11" fmla="*/ 25912799 h 129"/>
              <a:gd name="T12" fmla="*/ 68565610 w 370"/>
              <a:gd name="T13" fmla="*/ 20036096 h 129"/>
              <a:gd name="T14" fmla="*/ 66075903 w 370"/>
              <a:gd name="T15" fmla="*/ 12822791 h 129"/>
              <a:gd name="T16" fmla="*/ 64160812 w 370"/>
              <a:gd name="T17" fmla="*/ 7212788 h 129"/>
              <a:gd name="T18" fmla="*/ 63203266 w 370"/>
              <a:gd name="T19" fmla="*/ 4808353 h 129"/>
              <a:gd name="T20" fmla="*/ 57457555 w 370"/>
              <a:gd name="T21" fmla="*/ 4007219 h 129"/>
              <a:gd name="T22" fmla="*/ 49221699 w 370"/>
              <a:gd name="T23" fmla="*/ 2404435 h 129"/>
              <a:gd name="T24" fmla="*/ 40986281 w 370"/>
              <a:gd name="T25" fmla="*/ 534434 h 129"/>
              <a:gd name="T26" fmla="*/ 35048885 w 370"/>
              <a:gd name="T27" fmla="*/ 0 h 129"/>
              <a:gd name="T28" fmla="*/ 34283024 w 370"/>
              <a:gd name="T29" fmla="*/ 0 h 129"/>
              <a:gd name="T30" fmla="*/ 33708409 w 370"/>
              <a:gd name="T31" fmla="*/ 267217 h 129"/>
              <a:gd name="T32" fmla="*/ 32942110 w 370"/>
              <a:gd name="T33" fmla="*/ 534434 h 129"/>
              <a:gd name="T34" fmla="*/ 32559179 w 370"/>
              <a:gd name="T35" fmla="*/ 801651 h 129"/>
              <a:gd name="T36" fmla="*/ 31027018 w 370"/>
              <a:gd name="T37" fmla="*/ 1870001 h 129"/>
              <a:gd name="T38" fmla="*/ 28728558 w 370"/>
              <a:gd name="T39" fmla="*/ 3205569 h 129"/>
              <a:gd name="T40" fmla="*/ 28153944 w 370"/>
              <a:gd name="T41" fmla="*/ 5610003 h 129"/>
              <a:gd name="T42" fmla="*/ 26813467 w 370"/>
              <a:gd name="T43" fmla="*/ 9350006 h 129"/>
              <a:gd name="T44" fmla="*/ 25664237 w 370"/>
              <a:gd name="T45" fmla="*/ 12822791 h 129"/>
              <a:gd name="T46" fmla="*/ 25089622 w 370"/>
              <a:gd name="T47" fmla="*/ 14692792 h 129"/>
              <a:gd name="T48" fmla="*/ 23365778 w 370"/>
              <a:gd name="T49" fmla="*/ 14425576 h 129"/>
              <a:gd name="T50" fmla="*/ 21259440 w 370"/>
              <a:gd name="T51" fmla="*/ 13090008 h 129"/>
              <a:gd name="T52" fmla="*/ 18769296 w 370"/>
              <a:gd name="T53" fmla="*/ 11754441 h 129"/>
              <a:gd name="T54" fmla="*/ 16087905 w 370"/>
              <a:gd name="T55" fmla="*/ 10151656 h 129"/>
              <a:gd name="T56" fmla="*/ 11491423 w 370"/>
              <a:gd name="T57" fmla="*/ 6945571 h 129"/>
              <a:gd name="T58" fmla="*/ 8427102 w 370"/>
              <a:gd name="T59" fmla="*/ 4808353 h 129"/>
              <a:gd name="T60" fmla="*/ 6128642 w 370"/>
              <a:gd name="T61" fmla="*/ 6678871 h 129"/>
              <a:gd name="T62" fmla="*/ 4021867 w 370"/>
              <a:gd name="T63" fmla="*/ 8815572 h 129"/>
              <a:gd name="T64" fmla="*/ 3064321 w 370"/>
              <a:gd name="T65" fmla="*/ 9884440 h 129"/>
              <a:gd name="T66" fmla="*/ 2298460 w 370"/>
              <a:gd name="T67" fmla="*/ 10952790 h 129"/>
              <a:gd name="T68" fmla="*/ 1723845 w 370"/>
              <a:gd name="T69" fmla="*/ 12288874 h 129"/>
              <a:gd name="T70" fmla="*/ 957546 w 370"/>
              <a:gd name="T71" fmla="*/ 13891659 h 129"/>
              <a:gd name="T72" fmla="*/ 574615 w 370"/>
              <a:gd name="T73" fmla="*/ 15227226 h 129"/>
              <a:gd name="T74" fmla="*/ 191684 w 370"/>
              <a:gd name="T75" fmla="*/ 16830010 h 129"/>
              <a:gd name="T76" fmla="*/ 0 w 370"/>
              <a:gd name="T77" fmla="*/ 18432795 h 129"/>
              <a:gd name="T78" fmla="*/ 0 w 370"/>
              <a:gd name="T79" fmla="*/ 20036096 h 129"/>
              <a:gd name="T80" fmla="*/ 191684 w 370"/>
              <a:gd name="T81" fmla="*/ 21906097 h 129"/>
              <a:gd name="T82" fmla="*/ 574615 w 370"/>
              <a:gd name="T83" fmla="*/ 23508881 h 129"/>
              <a:gd name="T84" fmla="*/ 1149230 w 370"/>
              <a:gd name="T85" fmla="*/ 25646099 h 129"/>
              <a:gd name="T86" fmla="*/ 2106776 w 370"/>
              <a:gd name="T87" fmla="*/ 27516101 h 129"/>
              <a:gd name="T88" fmla="*/ 3830620 w 370"/>
              <a:gd name="T89" fmla="*/ 26981667 h 129"/>
              <a:gd name="T90" fmla="*/ 6320327 w 370"/>
              <a:gd name="T91" fmla="*/ 26447233 h 129"/>
              <a:gd name="T92" fmla="*/ 9576332 w 370"/>
              <a:gd name="T93" fmla="*/ 25912799 h 129"/>
              <a:gd name="T94" fmla="*/ 13215268 w 370"/>
              <a:gd name="T95" fmla="*/ 25378883 h 129"/>
              <a:gd name="T96" fmla="*/ 19535595 w 370"/>
              <a:gd name="T97" fmla="*/ 24577232 h 129"/>
              <a:gd name="T98" fmla="*/ 22408232 w 370"/>
              <a:gd name="T99" fmla="*/ 24310015 h 129"/>
              <a:gd name="T100" fmla="*/ 26238852 w 370"/>
              <a:gd name="T101" fmla="*/ 24577232 h 129"/>
              <a:gd name="T102" fmla="*/ 29111927 w 370"/>
              <a:gd name="T103" fmla="*/ 25111666 h 129"/>
              <a:gd name="T104" fmla="*/ 31792880 w 370"/>
              <a:gd name="T105" fmla="*/ 25912799 h 129"/>
              <a:gd name="T106" fmla="*/ 33899655 w 370"/>
              <a:gd name="T107" fmla="*/ 26714450 h 129"/>
              <a:gd name="T108" fmla="*/ 36198115 w 370"/>
              <a:gd name="T109" fmla="*/ 27782801 h 129"/>
              <a:gd name="T110" fmla="*/ 38496575 w 370"/>
              <a:gd name="T111" fmla="*/ 28851668 h 129"/>
              <a:gd name="T112" fmla="*/ 41560896 w 370"/>
              <a:gd name="T113" fmla="*/ 29386102 h 129"/>
              <a:gd name="T114" fmla="*/ 45391516 w 370"/>
              <a:gd name="T115" fmla="*/ 29653319 h 129"/>
              <a:gd name="T116" fmla="*/ 45391516 w 370"/>
              <a:gd name="T117" fmla="*/ 31256103 h 129"/>
              <a:gd name="T118" fmla="*/ 47881223 w 370"/>
              <a:gd name="T119" fmla="*/ 31256103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79" name="Freeform 470">
            <a:extLst>
              <a:ext uri="{FF2B5EF4-FFF2-40B4-BE49-F238E27FC236}">
                <a16:creationId xmlns:a16="http://schemas.microsoft.com/office/drawing/2014/main" id="{90076D2B-242C-43B0-AC3B-C7406FD4DA89}"/>
              </a:ext>
            </a:extLst>
          </p:cNvPr>
          <p:cNvSpPr>
            <a:spLocks/>
          </p:cNvSpPr>
          <p:nvPr>
            <p:custDataLst>
              <p:tags r:id="rId308"/>
            </p:custDataLst>
          </p:nvPr>
        </p:nvSpPr>
        <p:spPr bwMode="auto">
          <a:xfrm>
            <a:off x="6562944" y="2845523"/>
            <a:ext cx="41779" cy="75216"/>
          </a:xfrm>
          <a:custGeom>
            <a:avLst/>
            <a:gdLst>
              <a:gd name="T0" fmla="*/ 3838115 w 80"/>
              <a:gd name="T1" fmla="*/ 369651 h 94"/>
              <a:gd name="T2" fmla="*/ 4833083 w 80"/>
              <a:gd name="T3" fmla="*/ 0 h 94"/>
              <a:gd name="T4" fmla="*/ 5828052 w 80"/>
              <a:gd name="T5" fmla="*/ 0 h 94"/>
              <a:gd name="T6" fmla="*/ 6680883 w 80"/>
              <a:gd name="T7" fmla="*/ 739302 h 94"/>
              <a:gd name="T8" fmla="*/ 7675852 w 80"/>
              <a:gd name="T9" fmla="*/ 1478604 h 94"/>
              <a:gd name="T10" fmla="*/ 8529060 w 80"/>
              <a:gd name="T11" fmla="*/ 2217906 h 94"/>
              <a:gd name="T12" fmla="*/ 9381890 w 80"/>
              <a:gd name="T13" fmla="*/ 2957209 h 94"/>
              <a:gd name="T14" fmla="*/ 10376859 w 80"/>
              <a:gd name="T15" fmla="*/ 2957209 h 94"/>
              <a:gd name="T16" fmla="*/ 11371828 w 80"/>
              <a:gd name="T17" fmla="*/ 2587557 h 94"/>
              <a:gd name="T18" fmla="*/ 11371828 w 80"/>
              <a:gd name="T19" fmla="*/ 14046132 h 94"/>
              <a:gd name="T20" fmla="*/ 10661136 w 80"/>
              <a:gd name="T21" fmla="*/ 16264039 h 94"/>
              <a:gd name="T22" fmla="*/ 9808305 w 80"/>
              <a:gd name="T23" fmla="*/ 18851596 h 94"/>
              <a:gd name="T24" fmla="*/ 9097613 w 80"/>
              <a:gd name="T25" fmla="*/ 21808805 h 94"/>
              <a:gd name="T26" fmla="*/ 8244406 w 80"/>
              <a:gd name="T27" fmla="*/ 25135664 h 94"/>
              <a:gd name="T28" fmla="*/ 7249437 w 80"/>
              <a:gd name="T29" fmla="*/ 31049473 h 94"/>
              <a:gd name="T30" fmla="*/ 6680883 w 80"/>
              <a:gd name="T31" fmla="*/ 34745984 h 94"/>
              <a:gd name="T32" fmla="*/ 6112329 w 80"/>
              <a:gd name="T33" fmla="*/ 34376333 h 94"/>
              <a:gd name="T34" fmla="*/ 5685914 w 80"/>
              <a:gd name="T35" fmla="*/ 34006682 h 94"/>
              <a:gd name="T36" fmla="*/ 5259499 w 80"/>
              <a:gd name="T37" fmla="*/ 33637031 h 94"/>
              <a:gd name="T38" fmla="*/ 4833083 w 80"/>
              <a:gd name="T39" fmla="*/ 32897729 h 94"/>
              <a:gd name="T40" fmla="*/ 4122391 w 80"/>
              <a:gd name="T41" fmla="*/ 31049473 h 94"/>
              <a:gd name="T42" fmla="*/ 3269561 w 80"/>
              <a:gd name="T43" fmla="*/ 28831567 h 94"/>
              <a:gd name="T44" fmla="*/ 2700630 w 80"/>
              <a:gd name="T45" fmla="*/ 26613661 h 94"/>
              <a:gd name="T46" fmla="*/ 1847800 w 80"/>
              <a:gd name="T47" fmla="*/ 24026711 h 94"/>
              <a:gd name="T48" fmla="*/ 994969 w 80"/>
              <a:gd name="T49" fmla="*/ 22178456 h 94"/>
              <a:gd name="T50" fmla="*/ 0 w 80"/>
              <a:gd name="T51" fmla="*/ 20699852 h 94"/>
              <a:gd name="T52" fmla="*/ 1137107 w 80"/>
              <a:gd name="T53" fmla="*/ 15155086 h 94"/>
              <a:gd name="T54" fmla="*/ 1847800 w 80"/>
              <a:gd name="T55" fmla="*/ 10719273 h 94"/>
              <a:gd name="T56" fmla="*/ 2700630 w 80"/>
              <a:gd name="T57" fmla="*/ 6284068 h 94"/>
              <a:gd name="T58" fmla="*/ 3838115 w 80"/>
              <a:gd name="T59" fmla="*/ 369651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0872A6"/>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80" name="Freeform 471">
            <a:extLst>
              <a:ext uri="{FF2B5EF4-FFF2-40B4-BE49-F238E27FC236}">
                <a16:creationId xmlns:a16="http://schemas.microsoft.com/office/drawing/2014/main" id="{34E8DC5A-80CA-431F-9FF5-3386F3E9183D}"/>
              </a:ext>
            </a:extLst>
          </p:cNvPr>
          <p:cNvSpPr>
            <a:spLocks/>
          </p:cNvSpPr>
          <p:nvPr>
            <p:custDataLst>
              <p:tags r:id="rId309"/>
            </p:custDataLst>
          </p:nvPr>
        </p:nvSpPr>
        <p:spPr bwMode="auto">
          <a:xfrm>
            <a:off x="6308096" y="5461771"/>
            <a:ext cx="85645" cy="73182"/>
          </a:xfrm>
          <a:custGeom>
            <a:avLst/>
            <a:gdLst>
              <a:gd name="T0" fmla="*/ 631044 w 135"/>
              <a:gd name="T1" fmla="*/ 18704379 h 98"/>
              <a:gd name="T2" fmla="*/ 2313674 w 135"/>
              <a:gd name="T3" fmla="*/ 18364394 h 98"/>
              <a:gd name="T4" fmla="*/ 3785804 w 135"/>
              <a:gd name="T5" fmla="*/ 18024410 h 98"/>
              <a:gd name="T6" fmla="*/ 5047892 w 135"/>
              <a:gd name="T7" fmla="*/ 17003874 h 98"/>
              <a:gd name="T8" fmla="*/ 6520022 w 135"/>
              <a:gd name="T9" fmla="*/ 15983922 h 98"/>
              <a:gd name="T10" fmla="*/ 8833696 w 135"/>
              <a:gd name="T11" fmla="*/ 12922898 h 98"/>
              <a:gd name="T12" fmla="*/ 10936869 w 135"/>
              <a:gd name="T13" fmla="*/ 9522473 h 98"/>
              <a:gd name="T14" fmla="*/ 12829542 w 135"/>
              <a:gd name="T15" fmla="*/ 6121465 h 98"/>
              <a:gd name="T16" fmla="*/ 14932716 w 135"/>
              <a:gd name="T17" fmla="*/ 2720457 h 98"/>
              <a:gd name="T18" fmla="*/ 15984303 w 135"/>
              <a:gd name="T19" fmla="*/ 1700504 h 98"/>
              <a:gd name="T20" fmla="*/ 17246390 w 135"/>
              <a:gd name="T21" fmla="*/ 679968 h 98"/>
              <a:gd name="T22" fmla="*/ 18508019 w 135"/>
              <a:gd name="T23" fmla="*/ 0 h 98"/>
              <a:gd name="T24" fmla="*/ 20190650 w 135"/>
              <a:gd name="T25" fmla="*/ 0 h 98"/>
              <a:gd name="T26" fmla="*/ 21452737 w 135"/>
              <a:gd name="T27" fmla="*/ 0 h 98"/>
              <a:gd name="T28" fmla="*/ 23135368 w 135"/>
              <a:gd name="T29" fmla="*/ 1019953 h 98"/>
              <a:gd name="T30" fmla="*/ 24607498 w 135"/>
              <a:gd name="T31" fmla="*/ 2040488 h 98"/>
              <a:gd name="T32" fmla="*/ 25869585 w 135"/>
              <a:gd name="T33" fmla="*/ 3740992 h 98"/>
              <a:gd name="T34" fmla="*/ 26921172 w 135"/>
              <a:gd name="T35" fmla="*/ 5441496 h 98"/>
              <a:gd name="T36" fmla="*/ 27762258 w 135"/>
              <a:gd name="T37" fmla="*/ 8161953 h 98"/>
              <a:gd name="T38" fmla="*/ 28182801 w 135"/>
              <a:gd name="T39" fmla="*/ 10202441 h 98"/>
              <a:gd name="T40" fmla="*/ 28393302 w 135"/>
              <a:gd name="T41" fmla="*/ 12582914 h 98"/>
              <a:gd name="T42" fmla="*/ 28182801 w 135"/>
              <a:gd name="T43" fmla="*/ 13603449 h 98"/>
              <a:gd name="T44" fmla="*/ 27762258 w 135"/>
              <a:gd name="T45" fmla="*/ 14623402 h 98"/>
              <a:gd name="T46" fmla="*/ 27131214 w 135"/>
              <a:gd name="T47" fmla="*/ 15983922 h 98"/>
              <a:gd name="T48" fmla="*/ 26079627 w 135"/>
              <a:gd name="T49" fmla="*/ 17343859 h 98"/>
              <a:gd name="T50" fmla="*/ 23766412 w 135"/>
              <a:gd name="T51" fmla="*/ 20744867 h 98"/>
              <a:gd name="T52" fmla="*/ 21032194 w 135"/>
              <a:gd name="T53" fmla="*/ 24485859 h 98"/>
              <a:gd name="T54" fmla="*/ 18297977 w 135"/>
              <a:gd name="T55" fmla="*/ 27886284 h 98"/>
              <a:gd name="T56" fmla="*/ 15563760 w 135"/>
              <a:gd name="T57" fmla="*/ 30947308 h 98"/>
              <a:gd name="T58" fmla="*/ 13250085 w 135"/>
              <a:gd name="T59" fmla="*/ 32647812 h 98"/>
              <a:gd name="T60" fmla="*/ 11567455 w 135"/>
              <a:gd name="T61" fmla="*/ 33327781 h 98"/>
              <a:gd name="T62" fmla="*/ 10726369 w 135"/>
              <a:gd name="T63" fmla="*/ 32987796 h 98"/>
              <a:gd name="T64" fmla="*/ 9043738 w 135"/>
              <a:gd name="T65" fmla="*/ 31287292 h 98"/>
              <a:gd name="T66" fmla="*/ 6730064 w 135"/>
              <a:gd name="T67" fmla="*/ 28906820 h 98"/>
              <a:gd name="T68" fmla="*/ 4416848 w 135"/>
              <a:gd name="T69" fmla="*/ 26186363 h 98"/>
              <a:gd name="T70" fmla="*/ 2313674 w 135"/>
              <a:gd name="T71" fmla="*/ 23125339 h 98"/>
              <a:gd name="T72" fmla="*/ 1051587 w 135"/>
              <a:gd name="T73" fmla="*/ 21084851 h 98"/>
              <a:gd name="T74" fmla="*/ 210501 w 135"/>
              <a:gd name="T75" fmla="*/ 20064898 h 98"/>
              <a:gd name="T76" fmla="*/ 0 w 135"/>
              <a:gd name="T77" fmla="*/ 19384347 h 98"/>
              <a:gd name="T78" fmla="*/ 0 w 135"/>
              <a:gd name="T79" fmla="*/ 19044363 h 98"/>
              <a:gd name="T80" fmla="*/ 631044 w 135"/>
              <a:gd name="T81" fmla="*/ 18704379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81" name="Freeform 472">
            <a:extLst>
              <a:ext uri="{FF2B5EF4-FFF2-40B4-BE49-F238E27FC236}">
                <a16:creationId xmlns:a16="http://schemas.microsoft.com/office/drawing/2014/main" id="{7E3D3B66-2BE7-4C0B-B6F7-AC49FAD35D2A}"/>
              </a:ext>
            </a:extLst>
          </p:cNvPr>
          <p:cNvSpPr>
            <a:spLocks/>
          </p:cNvSpPr>
          <p:nvPr>
            <p:custDataLst>
              <p:tags r:id="rId310"/>
            </p:custDataLst>
          </p:nvPr>
        </p:nvSpPr>
        <p:spPr bwMode="auto">
          <a:xfrm>
            <a:off x="5988490" y="1971407"/>
            <a:ext cx="183826" cy="109773"/>
          </a:xfrm>
          <a:custGeom>
            <a:avLst/>
            <a:gdLst>
              <a:gd name="T0" fmla="*/ 34242917 w 312"/>
              <a:gd name="T1" fmla="*/ 45672278 h 155"/>
              <a:gd name="T2" fmla="*/ 34599772 w 312"/>
              <a:gd name="T3" fmla="*/ 44493803 h 155"/>
              <a:gd name="T4" fmla="*/ 35134844 w 312"/>
              <a:gd name="T5" fmla="*/ 43609540 h 155"/>
              <a:gd name="T6" fmla="*/ 35669916 w 312"/>
              <a:gd name="T7" fmla="*/ 42725819 h 155"/>
              <a:gd name="T8" fmla="*/ 36204988 w 312"/>
              <a:gd name="T9" fmla="*/ 41841556 h 155"/>
              <a:gd name="T10" fmla="*/ 37631565 w 312"/>
              <a:gd name="T11" fmla="*/ 40368327 h 155"/>
              <a:gd name="T12" fmla="*/ 39236781 w 312"/>
              <a:gd name="T13" fmla="*/ 38895098 h 155"/>
              <a:gd name="T14" fmla="*/ 42447213 w 312"/>
              <a:gd name="T15" fmla="*/ 36243393 h 155"/>
              <a:gd name="T16" fmla="*/ 45122150 w 312"/>
              <a:gd name="T17" fmla="*/ 34475410 h 155"/>
              <a:gd name="T18" fmla="*/ 45479006 w 312"/>
              <a:gd name="T19" fmla="*/ 32117917 h 155"/>
              <a:gd name="T20" fmla="*/ 46370933 w 312"/>
              <a:gd name="T21" fmla="*/ 28581950 h 155"/>
              <a:gd name="T22" fmla="*/ 47084222 w 312"/>
              <a:gd name="T23" fmla="*/ 26813966 h 155"/>
              <a:gd name="T24" fmla="*/ 47619294 w 312"/>
              <a:gd name="T25" fmla="*/ 25340737 h 155"/>
              <a:gd name="T26" fmla="*/ 47975727 w 312"/>
              <a:gd name="T27" fmla="*/ 24162262 h 155"/>
              <a:gd name="T28" fmla="*/ 48510799 w 312"/>
              <a:gd name="T29" fmla="*/ 23867508 h 155"/>
              <a:gd name="T30" fmla="*/ 55644951 w 312"/>
              <a:gd name="T31" fmla="*/ 12964852 h 155"/>
              <a:gd name="T32" fmla="*/ 55644951 w 312"/>
              <a:gd name="T33" fmla="*/ 11491622 h 155"/>
              <a:gd name="T34" fmla="*/ 55288095 w 312"/>
              <a:gd name="T35" fmla="*/ 10313147 h 155"/>
              <a:gd name="T36" fmla="*/ 54574807 w 312"/>
              <a:gd name="T37" fmla="*/ 9428884 h 155"/>
              <a:gd name="T38" fmla="*/ 53861518 w 312"/>
              <a:gd name="T39" fmla="*/ 8839918 h 155"/>
              <a:gd name="T40" fmla="*/ 51899447 w 312"/>
              <a:gd name="T41" fmla="*/ 8250409 h 155"/>
              <a:gd name="T42" fmla="*/ 49937798 w 312"/>
              <a:gd name="T43" fmla="*/ 7955655 h 155"/>
              <a:gd name="T44" fmla="*/ 47797510 w 312"/>
              <a:gd name="T45" fmla="*/ 7955655 h 155"/>
              <a:gd name="T46" fmla="*/ 46192294 w 312"/>
              <a:gd name="T47" fmla="*/ 7955655 h 155"/>
              <a:gd name="T48" fmla="*/ 45657222 w 312"/>
              <a:gd name="T49" fmla="*/ 7660901 h 155"/>
              <a:gd name="T50" fmla="*/ 45122150 w 312"/>
              <a:gd name="T51" fmla="*/ 7366689 h 155"/>
              <a:gd name="T52" fmla="*/ 44943934 w 312"/>
              <a:gd name="T53" fmla="*/ 6777180 h 155"/>
              <a:gd name="T54" fmla="*/ 45122150 w 312"/>
              <a:gd name="T55" fmla="*/ 5893460 h 155"/>
              <a:gd name="T56" fmla="*/ 41377069 w 312"/>
              <a:gd name="T57" fmla="*/ 5598705 h 155"/>
              <a:gd name="T58" fmla="*/ 38523492 w 312"/>
              <a:gd name="T59" fmla="*/ 5009197 h 155"/>
              <a:gd name="T60" fmla="*/ 36026349 w 312"/>
              <a:gd name="T61" fmla="*/ 3830722 h 155"/>
              <a:gd name="T62" fmla="*/ 33707845 w 312"/>
              <a:gd name="T63" fmla="*/ 2651704 h 155"/>
              <a:gd name="T64" fmla="*/ 31567979 w 312"/>
              <a:gd name="T65" fmla="*/ 1767984 h 155"/>
              <a:gd name="T66" fmla="*/ 29070836 w 312"/>
              <a:gd name="T67" fmla="*/ 883720 h 155"/>
              <a:gd name="T68" fmla="*/ 26039043 w 312"/>
              <a:gd name="T69" fmla="*/ 294754 h 155"/>
              <a:gd name="T70" fmla="*/ 22472178 w 312"/>
              <a:gd name="T71" fmla="*/ 0 h 155"/>
              <a:gd name="T72" fmla="*/ 19618602 w 312"/>
              <a:gd name="T73" fmla="*/ 294754 h 155"/>
              <a:gd name="T74" fmla="*/ 13197738 w 312"/>
              <a:gd name="T75" fmla="*/ 1178475 h 155"/>
              <a:gd name="T76" fmla="*/ 9452657 w 312"/>
              <a:gd name="T77" fmla="*/ 1767984 h 155"/>
              <a:gd name="T78" fmla="*/ 6064008 w 312"/>
              <a:gd name="T79" fmla="*/ 2357492 h 155"/>
              <a:gd name="T80" fmla="*/ 3210432 w 312"/>
              <a:gd name="T81" fmla="*/ 2946458 h 155"/>
              <a:gd name="T82" fmla="*/ 1248360 w 312"/>
              <a:gd name="T83" fmla="*/ 3535967 h 155"/>
              <a:gd name="T84" fmla="*/ 1605216 w 312"/>
              <a:gd name="T85" fmla="*/ 5009197 h 155"/>
              <a:gd name="T86" fmla="*/ 1961649 w 312"/>
              <a:gd name="T87" fmla="*/ 5598705 h 155"/>
              <a:gd name="T88" fmla="*/ 2318504 w 312"/>
              <a:gd name="T89" fmla="*/ 5598705 h 155"/>
              <a:gd name="T90" fmla="*/ 2675360 w 312"/>
              <a:gd name="T91" fmla="*/ 5893460 h 155"/>
              <a:gd name="T92" fmla="*/ 3210432 w 312"/>
              <a:gd name="T93" fmla="*/ 5893460 h 155"/>
              <a:gd name="T94" fmla="*/ 3388648 w 312"/>
              <a:gd name="T95" fmla="*/ 5893460 h 155"/>
              <a:gd name="T96" fmla="*/ 3566865 w 312"/>
              <a:gd name="T97" fmla="*/ 6482426 h 155"/>
              <a:gd name="T98" fmla="*/ 3566865 w 312"/>
              <a:gd name="T99" fmla="*/ 7660901 h 155"/>
              <a:gd name="T100" fmla="*/ 3566865 w 312"/>
              <a:gd name="T101" fmla="*/ 8839918 h 155"/>
              <a:gd name="T102" fmla="*/ 3388648 w 312"/>
              <a:gd name="T103" fmla="*/ 10313147 h 155"/>
              <a:gd name="T104" fmla="*/ 3210432 w 312"/>
              <a:gd name="T105" fmla="*/ 11491622 h 155"/>
              <a:gd name="T106" fmla="*/ 2675360 w 312"/>
              <a:gd name="T107" fmla="*/ 12375886 h 155"/>
              <a:gd name="T108" fmla="*/ 2140288 w 312"/>
              <a:gd name="T109" fmla="*/ 13259606 h 155"/>
              <a:gd name="T110" fmla="*/ 1605216 w 312"/>
              <a:gd name="T111" fmla="*/ 14143869 h 155"/>
              <a:gd name="T112" fmla="*/ 713289 w 312"/>
              <a:gd name="T113" fmla="*/ 14438081 h 155"/>
              <a:gd name="T114" fmla="*/ 0 w 312"/>
              <a:gd name="T115" fmla="*/ 14732835 h 155"/>
              <a:gd name="T116" fmla="*/ 13197738 w 312"/>
              <a:gd name="T117" fmla="*/ 20036786 h 155"/>
              <a:gd name="T118" fmla="*/ 15516242 w 312"/>
              <a:gd name="T119" fmla="*/ 32707426 h 155"/>
              <a:gd name="T120" fmla="*/ 29605908 w 312"/>
              <a:gd name="T121" fmla="*/ 36243393 h 155"/>
              <a:gd name="T122" fmla="*/ 34242917 w 312"/>
              <a:gd name="T123" fmla="*/ 45672278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82" name="Freeform 473">
            <a:extLst>
              <a:ext uri="{FF2B5EF4-FFF2-40B4-BE49-F238E27FC236}">
                <a16:creationId xmlns:a16="http://schemas.microsoft.com/office/drawing/2014/main" id="{47D63507-0140-44F4-A7DD-D5F58443157D}"/>
              </a:ext>
            </a:extLst>
          </p:cNvPr>
          <p:cNvSpPr>
            <a:spLocks/>
          </p:cNvSpPr>
          <p:nvPr>
            <p:custDataLst>
              <p:tags r:id="rId311"/>
            </p:custDataLst>
          </p:nvPr>
        </p:nvSpPr>
        <p:spPr bwMode="auto">
          <a:xfrm>
            <a:off x="5581150" y="2211280"/>
            <a:ext cx="25067" cy="79280"/>
          </a:xfrm>
          <a:custGeom>
            <a:avLst/>
            <a:gdLst>
              <a:gd name="T0" fmla="*/ 0 w 46"/>
              <a:gd name="T1" fmla="*/ 36391660 h 50"/>
              <a:gd name="T2" fmla="*/ 342900 w 46"/>
              <a:gd name="T3" fmla="*/ 26201561 h 50"/>
              <a:gd name="T4" fmla="*/ 171450 w 46"/>
              <a:gd name="T5" fmla="*/ 20378992 h 50"/>
              <a:gd name="T6" fmla="*/ 342900 w 46"/>
              <a:gd name="T7" fmla="*/ 18923953 h 50"/>
              <a:gd name="T8" fmla="*/ 514350 w 46"/>
              <a:gd name="T9" fmla="*/ 18923953 h 50"/>
              <a:gd name="T10" fmla="*/ 1029114 w 46"/>
              <a:gd name="T11" fmla="*/ 17467707 h 50"/>
              <a:gd name="T12" fmla="*/ 2229678 w 46"/>
              <a:gd name="T13" fmla="*/ 17467707 h 50"/>
              <a:gd name="T14" fmla="*/ 7889185 w 46"/>
              <a:gd name="T15" fmla="*/ 0 h 50"/>
              <a:gd name="T16" fmla="*/ 7889185 w 46"/>
              <a:gd name="T17" fmla="*/ 72782113 h 50"/>
              <a:gd name="T18" fmla="*/ 6860071 w 46"/>
              <a:gd name="T19" fmla="*/ 71327074 h 50"/>
              <a:gd name="T20" fmla="*/ 5659507 w 46"/>
              <a:gd name="T21" fmla="*/ 65504505 h 50"/>
              <a:gd name="T22" fmla="*/ 4287492 w 46"/>
              <a:gd name="T23" fmla="*/ 59681936 h 50"/>
              <a:gd name="T24" fmla="*/ 2915478 w 46"/>
              <a:gd name="T25" fmla="*/ 53859367 h 50"/>
              <a:gd name="T26" fmla="*/ 857664 w 46"/>
              <a:gd name="T27" fmla="*/ 40757983 h 50"/>
              <a:gd name="T28" fmla="*/ 0 w 46"/>
              <a:gd name="T29" fmla="*/ 36391660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83" name="Freeform 474">
            <a:extLst>
              <a:ext uri="{FF2B5EF4-FFF2-40B4-BE49-F238E27FC236}">
                <a16:creationId xmlns:a16="http://schemas.microsoft.com/office/drawing/2014/main" id="{B1349745-46A1-4232-BDAF-2F46AA2C5DA7}"/>
              </a:ext>
            </a:extLst>
          </p:cNvPr>
          <p:cNvSpPr>
            <a:spLocks/>
          </p:cNvSpPr>
          <p:nvPr>
            <p:custDataLst>
              <p:tags r:id="rId312"/>
            </p:custDataLst>
          </p:nvPr>
        </p:nvSpPr>
        <p:spPr bwMode="auto">
          <a:xfrm>
            <a:off x="6550411" y="4662869"/>
            <a:ext cx="98179" cy="313055"/>
          </a:xfrm>
          <a:custGeom>
            <a:avLst/>
            <a:gdLst>
              <a:gd name="T0" fmla="*/ 1770655 w 166"/>
              <a:gd name="T1" fmla="*/ 78964896 h 456"/>
              <a:gd name="T2" fmla="*/ 3364161 w 166"/>
              <a:gd name="T3" fmla="*/ 81204858 h 456"/>
              <a:gd name="T4" fmla="*/ 6551173 w 166"/>
              <a:gd name="T5" fmla="*/ 84005208 h 456"/>
              <a:gd name="T6" fmla="*/ 10269212 w 166"/>
              <a:gd name="T7" fmla="*/ 85685313 h 456"/>
              <a:gd name="T8" fmla="*/ 12394167 w 166"/>
              <a:gd name="T9" fmla="*/ 87365417 h 456"/>
              <a:gd name="T10" fmla="*/ 14164823 w 166"/>
              <a:gd name="T11" fmla="*/ 89605379 h 456"/>
              <a:gd name="T12" fmla="*/ 15226879 w 166"/>
              <a:gd name="T13" fmla="*/ 92685658 h 456"/>
              <a:gd name="T14" fmla="*/ 15226879 w 166"/>
              <a:gd name="T15" fmla="*/ 97166113 h 456"/>
              <a:gd name="T16" fmla="*/ 13810523 w 166"/>
              <a:gd name="T17" fmla="*/ 101646567 h 456"/>
              <a:gd name="T18" fmla="*/ 12039868 w 166"/>
              <a:gd name="T19" fmla="*/ 105006775 h 456"/>
              <a:gd name="T20" fmla="*/ 10977811 w 166"/>
              <a:gd name="T21" fmla="*/ 108646912 h 456"/>
              <a:gd name="T22" fmla="*/ 10623512 w 166"/>
              <a:gd name="T23" fmla="*/ 112007121 h 456"/>
              <a:gd name="T24" fmla="*/ 11331690 w 166"/>
              <a:gd name="T25" fmla="*/ 115086871 h 456"/>
              <a:gd name="T26" fmla="*/ 13456645 w 166"/>
              <a:gd name="T27" fmla="*/ 118727537 h 456"/>
              <a:gd name="T28" fmla="*/ 18413891 w 166"/>
              <a:gd name="T29" fmla="*/ 124607637 h 456"/>
              <a:gd name="T30" fmla="*/ 21247023 w 166"/>
              <a:gd name="T31" fmla="*/ 124047779 h 456"/>
              <a:gd name="T32" fmla="*/ 21247023 w 166"/>
              <a:gd name="T33" fmla="*/ 118447079 h 456"/>
              <a:gd name="T34" fmla="*/ 23194829 w 166"/>
              <a:gd name="T35" fmla="*/ 115647258 h 456"/>
              <a:gd name="T36" fmla="*/ 25673662 w 166"/>
              <a:gd name="T37" fmla="*/ 113967154 h 456"/>
              <a:gd name="T38" fmla="*/ 27090018 w 166"/>
              <a:gd name="T39" fmla="*/ 112566979 h 456"/>
              <a:gd name="T40" fmla="*/ 28329224 w 166"/>
              <a:gd name="T41" fmla="*/ 110046558 h 456"/>
              <a:gd name="T42" fmla="*/ 29391702 w 166"/>
              <a:gd name="T43" fmla="*/ 105006775 h 456"/>
              <a:gd name="T44" fmla="*/ 29214552 w 166"/>
              <a:gd name="T45" fmla="*/ 98005900 h 456"/>
              <a:gd name="T46" fmla="*/ 27975346 w 166"/>
              <a:gd name="T47" fmla="*/ 91845871 h 456"/>
              <a:gd name="T48" fmla="*/ 26204690 w 166"/>
              <a:gd name="T49" fmla="*/ 85965242 h 456"/>
              <a:gd name="T50" fmla="*/ 24965063 w 166"/>
              <a:gd name="T51" fmla="*/ 79524754 h 456"/>
              <a:gd name="T52" fmla="*/ 23903007 w 166"/>
              <a:gd name="T53" fmla="*/ 75324758 h 456"/>
              <a:gd name="T54" fmla="*/ 20892724 w 166"/>
              <a:gd name="T55" fmla="*/ 70284446 h 456"/>
              <a:gd name="T56" fmla="*/ 17174684 w 166"/>
              <a:gd name="T57" fmla="*/ 62723712 h 456"/>
              <a:gd name="T58" fmla="*/ 15050150 w 166"/>
              <a:gd name="T59" fmla="*/ 57683400 h 456"/>
              <a:gd name="T60" fmla="*/ 14164823 w 166"/>
              <a:gd name="T61" fmla="*/ 54603121 h 456"/>
              <a:gd name="T62" fmla="*/ 14341552 w 166"/>
              <a:gd name="T63" fmla="*/ 49563338 h 456"/>
              <a:gd name="T64" fmla="*/ 15581179 w 166"/>
              <a:gd name="T65" fmla="*/ 41162817 h 456"/>
              <a:gd name="T66" fmla="*/ 16997535 w 166"/>
              <a:gd name="T67" fmla="*/ 36122504 h 456"/>
              <a:gd name="T68" fmla="*/ 17351834 w 166"/>
              <a:gd name="T69" fmla="*/ 31642050 h 456"/>
              <a:gd name="T70" fmla="*/ 16820385 w 166"/>
              <a:gd name="T71" fmla="*/ 22961600 h 456"/>
              <a:gd name="T72" fmla="*/ 16289357 w 166"/>
              <a:gd name="T73" fmla="*/ 12601046 h 456"/>
              <a:gd name="T74" fmla="*/ 15758328 w 166"/>
              <a:gd name="T75" fmla="*/ 5040313 h 456"/>
              <a:gd name="T76" fmla="*/ 12571317 w 166"/>
              <a:gd name="T77" fmla="*/ 2239963 h 456"/>
              <a:gd name="T78" fmla="*/ 5842995 w 166"/>
              <a:gd name="T79" fmla="*/ 1120246 h 456"/>
              <a:gd name="T80" fmla="*/ 2124534 w 166"/>
              <a:gd name="T81" fmla="*/ 2800350 h 456"/>
              <a:gd name="T82" fmla="*/ 3895189 w 166"/>
              <a:gd name="T83" fmla="*/ 7000346 h 456"/>
              <a:gd name="T84" fmla="*/ 5842995 w 166"/>
              <a:gd name="T85" fmla="*/ 8400521 h 456"/>
              <a:gd name="T86" fmla="*/ 7082201 w 166"/>
              <a:gd name="T87" fmla="*/ 12320588 h 456"/>
              <a:gd name="T88" fmla="*/ 7082201 w 166"/>
              <a:gd name="T89" fmla="*/ 17921288 h 456"/>
              <a:gd name="T90" fmla="*/ 7082201 w 166"/>
              <a:gd name="T91" fmla="*/ 21841354 h 456"/>
              <a:gd name="T92" fmla="*/ 6374023 w 166"/>
              <a:gd name="T93" fmla="*/ 23801388 h 456"/>
              <a:gd name="T94" fmla="*/ 5134817 w 166"/>
              <a:gd name="T95" fmla="*/ 26601737 h 456"/>
              <a:gd name="T96" fmla="*/ 2655983 w 166"/>
              <a:gd name="T97" fmla="*/ 30521804 h 456"/>
              <a:gd name="T98" fmla="*/ 531028 w 166"/>
              <a:gd name="T99" fmla="*/ 34161942 h 456"/>
              <a:gd name="T100" fmla="*/ 1239206 w 166"/>
              <a:gd name="T101" fmla="*/ 77564721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84" name="Freeform 475">
            <a:extLst>
              <a:ext uri="{FF2B5EF4-FFF2-40B4-BE49-F238E27FC236}">
                <a16:creationId xmlns:a16="http://schemas.microsoft.com/office/drawing/2014/main" id="{33E04A3C-EBAA-409B-8125-8CD7053F216F}"/>
              </a:ext>
            </a:extLst>
          </p:cNvPr>
          <p:cNvSpPr>
            <a:spLocks/>
          </p:cNvSpPr>
          <p:nvPr>
            <p:custDataLst>
              <p:tags r:id="rId313"/>
            </p:custDataLst>
          </p:nvPr>
        </p:nvSpPr>
        <p:spPr bwMode="auto">
          <a:xfrm>
            <a:off x="5844354" y="2804866"/>
            <a:ext cx="18800" cy="73182"/>
          </a:xfrm>
          <a:custGeom>
            <a:avLst/>
            <a:gdLst>
              <a:gd name="T0" fmla="*/ 7559940 w 27"/>
              <a:gd name="T1" fmla="*/ 0 h 19"/>
              <a:gd name="T2" fmla="*/ 7559940 w 27"/>
              <a:gd name="T3" fmla="*/ 108569961 h 19"/>
              <a:gd name="T4" fmla="*/ 7559940 w 27"/>
              <a:gd name="T5" fmla="*/ 171901184 h 19"/>
              <a:gd name="T6" fmla="*/ 2519803 w 27"/>
              <a:gd name="T7" fmla="*/ 171901184 h 19"/>
              <a:gd name="T8" fmla="*/ 0 w 27"/>
              <a:gd name="T9" fmla="*/ 171901184 h 19"/>
              <a:gd name="T10" fmla="*/ 2519803 w 27"/>
              <a:gd name="T11" fmla="*/ 108569961 h 19"/>
              <a:gd name="T12" fmla="*/ 7559940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85" name="Freeform 476">
            <a:extLst>
              <a:ext uri="{FF2B5EF4-FFF2-40B4-BE49-F238E27FC236}">
                <a16:creationId xmlns:a16="http://schemas.microsoft.com/office/drawing/2014/main" id="{E74D782E-4CD8-42A0-9EA0-7190283F91DC}"/>
              </a:ext>
            </a:extLst>
          </p:cNvPr>
          <p:cNvSpPr>
            <a:spLocks/>
          </p:cNvSpPr>
          <p:nvPr>
            <p:custDataLst>
              <p:tags r:id="rId314"/>
            </p:custDataLst>
          </p:nvPr>
        </p:nvSpPr>
        <p:spPr bwMode="auto">
          <a:xfrm>
            <a:off x="6287206" y="4910874"/>
            <a:ext cx="263204" cy="284595"/>
          </a:xfrm>
          <a:custGeom>
            <a:avLst/>
            <a:gdLst>
              <a:gd name="T0" fmla="*/ 52831806 w 438"/>
              <a:gd name="T1" fmla="*/ 2295399 h 406"/>
              <a:gd name="T2" fmla="*/ 59528729 w 438"/>
              <a:gd name="T3" fmla="*/ 7747573 h 406"/>
              <a:gd name="T4" fmla="*/ 67527771 w 438"/>
              <a:gd name="T5" fmla="*/ 13486872 h 406"/>
              <a:gd name="T6" fmla="*/ 73480687 w 438"/>
              <a:gd name="T7" fmla="*/ 16643648 h 406"/>
              <a:gd name="T8" fmla="*/ 77387046 w 438"/>
              <a:gd name="T9" fmla="*/ 17504489 h 406"/>
              <a:gd name="T10" fmla="*/ 79061384 w 438"/>
              <a:gd name="T11" fmla="*/ 23243254 h 406"/>
              <a:gd name="T12" fmla="*/ 79805391 w 438"/>
              <a:gd name="T13" fmla="*/ 34434727 h 406"/>
              <a:gd name="T14" fmla="*/ 80735723 w 438"/>
              <a:gd name="T15" fmla="*/ 45051950 h 406"/>
              <a:gd name="T16" fmla="*/ 81479730 w 438"/>
              <a:gd name="T17" fmla="*/ 55956298 h 406"/>
              <a:gd name="T18" fmla="*/ 81479730 w 438"/>
              <a:gd name="T19" fmla="*/ 63990996 h 406"/>
              <a:gd name="T20" fmla="*/ 80921617 w 438"/>
              <a:gd name="T21" fmla="*/ 68008613 h 406"/>
              <a:gd name="T22" fmla="*/ 79061384 w 438"/>
              <a:gd name="T23" fmla="*/ 74321629 h 406"/>
              <a:gd name="T24" fmla="*/ 75712707 w 438"/>
              <a:gd name="T25" fmla="*/ 82356327 h 406"/>
              <a:gd name="T26" fmla="*/ 72736681 w 438"/>
              <a:gd name="T27" fmla="*/ 88095091 h 406"/>
              <a:gd name="T28" fmla="*/ 70876017 w 438"/>
              <a:gd name="T29" fmla="*/ 91825583 h 406"/>
              <a:gd name="T30" fmla="*/ 69573898 w 438"/>
              <a:gd name="T31" fmla="*/ 95269484 h 406"/>
              <a:gd name="T32" fmla="*/ 69202110 w 438"/>
              <a:gd name="T33" fmla="*/ 101008248 h 406"/>
              <a:gd name="T34" fmla="*/ 66783765 w 438"/>
              <a:gd name="T35" fmla="*/ 106747548 h 406"/>
              <a:gd name="T36" fmla="*/ 59714623 w 438"/>
              <a:gd name="T37" fmla="*/ 115069372 h 406"/>
              <a:gd name="T38" fmla="*/ 38135410 w 438"/>
              <a:gd name="T39" fmla="*/ 111338881 h 406"/>
              <a:gd name="T40" fmla="*/ 33856833 w 438"/>
              <a:gd name="T41" fmla="*/ 108756356 h 406"/>
              <a:gd name="T42" fmla="*/ 30694481 w 438"/>
              <a:gd name="T43" fmla="*/ 106173296 h 406"/>
              <a:gd name="T44" fmla="*/ 27903917 w 438"/>
              <a:gd name="T45" fmla="*/ 103017057 h 406"/>
              <a:gd name="T46" fmla="*/ 25857790 w 438"/>
              <a:gd name="T47" fmla="*/ 99286565 h 406"/>
              <a:gd name="T48" fmla="*/ 23067226 w 438"/>
              <a:gd name="T49" fmla="*/ 92399834 h 406"/>
              <a:gd name="T50" fmla="*/ 20090768 w 438"/>
              <a:gd name="T51" fmla="*/ 84938851 h 406"/>
              <a:gd name="T52" fmla="*/ 17486529 w 438"/>
              <a:gd name="T53" fmla="*/ 80060393 h 406"/>
              <a:gd name="T54" fmla="*/ 13393845 w 438"/>
              <a:gd name="T55" fmla="*/ 74321629 h 406"/>
              <a:gd name="T56" fmla="*/ 8185367 w 438"/>
              <a:gd name="T57" fmla="*/ 67147772 h 406"/>
              <a:gd name="T58" fmla="*/ 4464471 w 438"/>
              <a:gd name="T59" fmla="*/ 61121347 h 406"/>
              <a:gd name="T60" fmla="*/ 2418345 w 438"/>
              <a:gd name="T61" fmla="*/ 55956298 h 406"/>
              <a:gd name="T62" fmla="*/ 744007 w 438"/>
              <a:gd name="T63" fmla="*/ 50504124 h 406"/>
              <a:gd name="T64" fmla="*/ 0 w 438"/>
              <a:gd name="T65" fmla="*/ 44191109 h 406"/>
              <a:gd name="T66" fmla="*/ 3348677 w 438"/>
              <a:gd name="T67" fmla="*/ 40460617 h 406"/>
              <a:gd name="T68" fmla="*/ 7440929 w 438"/>
              <a:gd name="T69" fmla="*/ 40460617 h 406"/>
              <a:gd name="T70" fmla="*/ 9859275 w 438"/>
              <a:gd name="T71" fmla="*/ 40460617 h 406"/>
              <a:gd name="T72" fmla="*/ 11719507 w 438"/>
              <a:gd name="T73" fmla="*/ 39599776 h 406"/>
              <a:gd name="T74" fmla="*/ 14324177 w 438"/>
              <a:gd name="T75" fmla="*/ 37590967 h 406"/>
              <a:gd name="T76" fmla="*/ 18416861 w 438"/>
              <a:gd name="T77" fmla="*/ 30991362 h 406"/>
              <a:gd name="T78" fmla="*/ 21765107 w 438"/>
              <a:gd name="T79" fmla="*/ 24964936 h 406"/>
              <a:gd name="T80" fmla="*/ 24183452 w 438"/>
              <a:gd name="T81" fmla="*/ 22956664 h 406"/>
              <a:gd name="T82" fmla="*/ 27903917 w 438"/>
              <a:gd name="T83" fmla="*/ 20373604 h 406"/>
              <a:gd name="T84" fmla="*/ 33298720 w 438"/>
              <a:gd name="T85" fmla="*/ 17217364 h 406"/>
              <a:gd name="T86" fmla="*/ 37763622 w 438"/>
              <a:gd name="T87" fmla="*/ 14347714 h 406"/>
              <a:gd name="T88" fmla="*/ 39251636 w 438"/>
              <a:gd name="T89" fmla="*/ 12338905 h 406"/>
              <a:gd name="T90" fmla="*/ 39065742 w 438"/>
              <a:gd name="T91" fmla="*/ 10904348 h 406"/>
              <a:gd name="T92" fmla="*/ 39251636 w 438"/>
              <a:gd name="T93" fmla="*/ 8608414 h 406"/>
              <a:gd name="T94" fmla="*/ 39623855 w 438"/>
              <a:gd name="T95" fmla="*/ 4878458 h 406"/>
              <a:gd name="T96" fmla="*/ 40367861 w 438"/>
              <a:gd name="T97" fmla="*/ 3443366 h 406"/>
              <a:gd name="T98" fmla="*/ 41855875 w 438"/>
              <a:gd name="T99" fmla="*/ 3443366 h 406"/>
              <a:gd name="T100" fmla="*/ 43158426 w 438"/>
              <a:gd name="T101" fmla="*/ 2582524 h 406"/>
              <a:gd name="T102" fmla="*/ 43902432 w 438"/>
              <a:gd name="T103" fmla="*/ 1147967 h 406"/>
              <a:gd name="T104" fmla="*/ 45390446 w 438"/>
              <a:gd name="T105" fmla="*/ 573716 h 406"/>
              <a:gd name="T106" fmla="*/ 46692565 w 438"/>
              <a:gd name="T107" fmla="*/ 860841 h 406"/>
              <a:gd name="T108" fmla="*/ 49110910 w 438"/>
              <a:gd name="T109" fmla="*/ 287126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86" name="Freeform 477">
            <a:extLst>
              <a:ext uri="{FF2B5EF4-FFF2-40B4-BE49-F238E27FC236}">
                <a16:creationId xmlns:a16="http://schemas.microsoft.com/office/drawing/2014/main" id="{68007408-7B12-4044-9B83-BDF042C9009D}"/>
              </a:ext>
            </a:extLst>
          </p:cNvPr>
          <p:cNvSpPr>
            <a:spLocks/>
          </p:cNvSpPr>
          <p:nvPr>
            <p:custDataLst>
              <p:tags r:id="rId315"/>
            </p:custDataLst>
          </p:nvPr>
        </p:nvSpPr>
        <p:spPr bwMode="auto">
          <a:xfrm>
            <a:off x="6166050" y="4620180"/>
            <a:ext cx="409429" cy="390303"/>
          </a:xfrm>
          <a:custGeom>
            <a:avLst/>
            <a:gdLst>
              <a:gd name="T0" fmla="*/ 96256131 w 678"/>
              <a:gd name="T1" fmla="*/ 2185991 h 574"/>
              <a:gd name="T2" fmla="*/ 103573615 w 678"/>
              <a:gd name="T3" fmla="*/ 7104210 h 574"/>
              <a:gd name="T4" fmla="*/ 121023735 w 678"/>
              <a:gd name="T5" fmla="*/ 17213504 h 574"/>
              <a:gd name="T6" fmla="*/ 123838018 w 678"/>
              <a:gd name="T7" fmla="*/ 24044334 h 574"/>
              <a:gd name="T8" fmla="*/ 127215419 w 678"/>
              <a:gd name="T9" fmla="*/ 25683566 h 574"/>
              <a:gd name="T10" fmla="*/ 127215419 w 678"/>
              <a:gd name="T11" fmla="*/ 34700388 h 574"/>
              <a:gd name="T12" fmla="*/ 127027858 w 678"/>
              <a:gd name="T13" fmla="*/ 39345227 h 574"/>
              <a:gd name="T14" fmla="*/ 125151380 w 678"/>
              <a:gd name="T15" fmla="*/ 43170450 h 574"/>
              <a:gd name="T16" fmla="*/ 121398857 w 678"/>
              <a:gd name="T17" fmla="*/ 48634905 h 574"/>
              <a:gd name="T18" fmla="*/ 119709940 w 678"/>
              <a:gd name="T19" fmla="*/ 94537583 h 574"/>
              <a:gd name="T20" fmla="*/ 86499052 w 678"/>
              <a:gd name="T21" fmla="*/ 106013252 h 574"/>
              <a:gd name="T22" fmla="*/ 86499052 w 678"/>
              <a:gd name="T23" fmla="*/ 113390319 h 574"/>
              <a:gd name="T24" fmla="*/ 85373252 w 678"/>
              <a:gd name="T25" fmla="*/ 118855297 h 574"/>
              <a:gd name="T26" fmla="*/ 83309212 w 678"/>
              <a:gd name="T27" fmla="*/ 118855297 h 574"/>
              <a:gd name="T28" fmla="*/ 81432734 w 678"/>
              <a:gd name="T29" fmla="*/ 120221149 h 574"/>
              <a:gd name="T30" fmla="*/ 79744251 w 678"/>
              <a:gd name="T31" fmla="*/ 121587525 h 574"/>
              <a:gd name="T32" fmla="*/ 77680212 w 678"/>
              <a:gd name="T33" fmla="*/ 122133761 h 574"/>
              <a:gd name="T34" fmla="*/ 77117528 w 678"/>
              <a:gd name="T35" fmla="*/ 126505743 h 574"/>
              <a:gd name="T36" fmla="*/ 76929534 w 678"/>
              <a:gd name="T37" fmla="*/ 129511350 h 574"/>
              <a:gd name="T38" fmla="*/ 75616172 w 678"/>
              <a:gd name="T39" fmla="*/ 131970198 h 574"/>
              <a:gd name="T40" fmla="*/ 68486249 w 678"/>
              <a:gd name="T41" fmla="*/ 136068801 h 574"/>
              <a:gd name="T42" fmla="*/ 61919009 w 678"/>
              <a:gd name="T43" fmla="*/ 140166881 h 574"/>
              <a:gd name="T44" fmla="*/ 58729170 w 678"/>
              <a:gd name="T45" fmla="*/ 143445868 h 574"/>
              <a:gd name="T46" fmla="*/ 51974369 w 678"/>
              <a:gd name="T47" fmla="*/ 154101921 h 574"/>
              <a:gd name="T48" fmla="*/ 48409407 w 678"/>
              <a:gd name="T49" fmla="*/ 156560769 h 574"/>
              <a:gd name="T50" fmla="*/ 44656884 w 678"/>
              <a:gd name="T51" fmla="*/ 156834149 h 574"/>
              <a:gd name="T52" fmla="*/ 36213167 w 678"/>
              <a:gd name="T53" fmla="*/ 156834149 h 574"/>
              <a:gd name="T54" fmla="*/ 34899805 w 678"/>
              <a:gd name="T55" fmla="*/ 152735546 h 574"/>
              <a:gd name="T56" fmla="*/ 30959721 w 678"/>
              <a:gd name="T57" fmla="*/ 149457082 h 574"/>
              <a:gd name="T58" fmla="*/ 24955165 w 678"/>
              <a:gd name="T59" fmla="*/ 148910323 h 574"/>
              <a:gd name="T60" fmla="*/ 17450119 w 678"/>
              <a:gd name="T61" fmla="*/ 151915930 h 574"/>
              <a:gd name="T62" fmla="*/ 6192118 w 678"/>
              <a:gd name="T63" fmla="*/ 143992104 h 574"/>
              <a:gd name="T64" fmla="*/ 0 w 678"/>
              <a:gd name="T65" fmla="*/ 77870838 h 574"/>
              <a:gd name="T66" fmla="*/ 13697163 w 678"/>
              <a:gd name="T67" fmla="*/ 78143695 h 574"/>
              <a:gd name="T68" fmla="*/ 19326164 w 678"/>
              <a:gd name="T69" fmla="*/ 77050699 h 574"/>
              <a:gd name="T70" fmla="*/ 22328442 w 678"/>
              <a:gd name="T71" fmla="*/ 75138088 h 574"/>
              <a:gd name="T72" fmla="*/ 24204920 w 678"/>
              <a:gd name="T73" fmla="*/ 69947012 h 574"/>
              <a:gd name="T74" fmla="*/ 24580043 w 678"/>
              <a:gd name="T75" fmla="*/ 62569945 h 574"/>
              <a:gd name="T76" fmla="*/ 23641804 w 678"/>
              <a:gd name="T77" fmla="*/ 50547517 h 574"/>
              <a:gd name="T78" fmla="*/ 24392481 w 678"/>
              <a:gd name="T79" fmla="*/ 45083062 h 574"/>
              <a:gd name="T80" fmla="*/ 26268526 w 678"/>
              <a:gd name="T81" fmla="*/ 46722294 h 574"/>
              <a:gd name="T82" fmla="*/ 32648205 w 678"/>
              <a:gd name="T83" fmla="*/ 47815289 h 574"/>
              <a:gd name="T84" fmla="*/ 35274928 w 678"/>
              <a:gd name="T85" fmla="*/ 50820896 h 574"/>
              <a:gd name="T86" fmla="*/ 36588722 w 678"/>
              <a:gd name="T87" fmla="*/ 54919499 h 574"/>
              <a:gd name="T88" fmla="*/ 39027884 w 678"/>
              <a:gd name="T89" fmla="*/ 57378347 h 574"/>
              <a:gd name="T90" fmla="*/ 45219568 w 678"/>
              <a:gd name="T91" fmla="*/ 59290959 h 574"/>
              <a:gd name="T92" fmla="*/ 50473446 w 678"/>
              <a:gd name="T93" fmla="*/ 58471343 h 574"/>
              <a:gd name="T94" fmla="*/ 56477570 w 678"/>
              <a:gd name="T95" fmla="*/ 54372740 h 574"/>
              <a:gd name="T96" fmla="*/ 59854970 w 678"/>
              <a:gd name="T97" fmla="*/ 53553124 h 574"/>
              <a:gd name="T98" fmla="*/ 62106570 w 678"/>
              <a:gd name="T99" fmla="*/ 52733508 h 574"/>
              <a:gd name="T100" fmla="*/ 64358171 w 678"/>
              <a:gd name="T101" fmla="*/ 51913892 h 574"/>
              <a:gd name="T102" fmla="*/ 66985327 w 678"/>
              <a:gd name="T103" fmla="*/ 49727901 h 574"/>
              <a:gd name="T104" fmla="*/ 69048933 w 678"/>
              <a:gd name="T105" fmla="*/ 45902678 h 574"/>
              <a:gd name="T106" fmla="*/ 71863650 w 678"/>
              <a:gd name="T107" fmla="*/ 34427008 h 574"/>
              <a:gd name="T108" fmla="*/ 75616172 w 678"/>
              <a:gd name="T109" fmla="*/ 12842045 h 574"/>
              <a:gd name="T110" fmla="*/ 77680212 w 678"/>
              <a:gd name="T111" fmla="*/ 2732228 h 574"/>
              <a:gd name="T112" fmla="*/ 80870051 w 678"/>
              <a:gd name="T113" fmla="*/ 1639232 h 574"/>
              <a:gd name="T114" fmla="*/ 84998129 w 678"/>
              <a:gd name="T115" fmla="*/ 2185991 h 574"/>
              <a:gd name="T116" fmla="*/ 90439136 w 678"/>
              <a:gd name="T117" fmla="*/ 273380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0872A6"/>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87" name="Freeform 478">
            <a:extLst>
              <a:ext uri="{FF2B5EF4-FFF2-40B4-BE49-F238E27FC236}">
                <a16:creationId xmlns:a16="http://schemas.microsoft.com/office/drawing/2014/main" id="{A9BC77DC-A36B-4B7A-831C-6719570447EE}"/>
              </a:ext>
            </a:extLst>
          </p:cNvPr>
          <p:cNvSpPr>
            <a:spLocks/>
          </p:cNvSpPr>
          <p:nvPr>
            <p:custDataLst>
              <p:tags r:id="rId316"/>
            </p:custDataLst>
          </p:nvPr>
        </p:nvSpPr>
        <p:spPr bwMode="auto">
          <a:xfrm>
            <a:off x="5798398" y="4975924"/>
            <a:ext cx="488808" cy="496009"/>
          </a:xfrm>
          <a:custGeom>
            <a:avLst/>
            <a:gdLst>
              <a:gd name="T0" fmla="*/ 149519799 w 810"/>
              <a:gd name="T1" fmla="*/ 11535338 h 727"/>
              <a:gd name="T2" fmla="*/ 143704135 w 810"/>
              <a:gd name="T3" fmla="*/ 7140999 h 727"/>
              <a:gd name="T4" fmla="*/ 134699318 w 810"/>
              <a:gd name="T5" fmla="*/ 9063293 h 727"/>
              <a:gd name="T6" fmla="*/ 118940673 w 810"/>
              <a:gd name="T7" fmla="*/ 12084565 h 727"/>
              <a:gd name="T8" fmla="*/ 113312555 w 810"/>
              <a:gd name="T9" fmla="*/ 15105838 h 727"/>
              <a:gd name="T10" fmla="*/ 52528962 w 810"/>
              <a:gd name="T11" fmla="*/ 10986111 h 727"/>
              <a:gd name="T12" fmla="*/ 43524145 w 810"/>
              <a:gd name="T13" fmla="*/ 10162271 h 727"/>
              <a:gd name="T14" fmla="*/ 32267908 w 810"/>
              <a:gd name="T15" fmla="*/ 4668953 h 727"/>
              <a:gd name="T16" fmla="*/ 21761856 w 810"/>
              <a:gd name="T17" fmla="*/ 0 h 727"/>
              <a:gd name="T18" fmla="*/ 15571099 w 810"/>
              <a:gd name="T19" fmla="*/ 1373067 h 727"/>
              <a:gd name="T20" fmla="*/ 9942980 w 810"/>
              <a:gd name="T21" fmla="*/ 6591772 h 727"/>
              <a:gd name="T22" fmla="*/ 0 w 810"/>
              <a:gd name="T23" fmla="*/ 15105838 h 727"/>
              <a:gd name="T24" fmla="*/ 1313257 w 810"/>
              <a:gd name="T25" fmla="*/ 18676337 h 727"/>
              <a:gd name="T26" fmla="*/ 4877501 w 810"/>
              <a:gd name="T27" fmla="*/ 20324018 h 727"/>
              <a:gd name="T28" fmla="*/ 6753829 w 810"/>
              <a:gd name="T29" fmla="*/ 35429856 h 727"/>
              <a:gd name="T30" fmla="*/ 11256237 w 810"/>
              <a:gd name="T31" fmla="*/ 52733125 h 727"/>
              <a:gd name="T32" fmla="*/ 20448600 w 810"/>
              <a:gd name="T33" fmla="*/ 75803802 h 727"/>
              <a:gd name="T34" fmla="*/ 24951441 w 810"/>
              <a:gd name="T35" fmla="*/ 82395050 h 727"/>
              <a:gd name="T36" fmla="*/ 29828941 w 810"/>
              <a:gd name="T37" fmla="*/ 82944801 h 727"/>
              <a:gd name="T38" fmla="*/ 29828941 w 810"/>
              <a:gd name="T39" fmla="*/ 91184253 h 727"/>
              <a:gd name="T40" fmla="*/ 28515685 w 810"/>
              <a:gd name="T41" fmla="*/ 98599865 h 727"/>
              <a:gd name="T42" fmla="*/ 27389975 w 810"/>
              <a:gd name="T43" fmla="*/ 108212385 h 727"/>
              <a:gd name="T44" fmla="*/ 28140592 w 810"/>
              <a:gd name="T45" fmla="*/ 116726451 h 727"/>
              <a:gd name="T46" fmla="*/ 32455454 w 810"/>
              <a:gd name="T47" fmla="*/ 132931267 h 727"/>
              <a:gd name="T48" fmla="*/ 33581165 w 810"/>
              <a:gd name="T49" fmla="*/ 142269173 h 727"/>
              <a:gd name="T50" fmla="*/ 35081967 w 810"/>
              <a:gd name="T51" fmla="*/ 166438304 h 727"/>
              <a:gd name="T52" fmla="*/ 38271119 w 810"/>
              <a:gd name="T53" fmla="*/ 177699029 h 727"/>
              <a:gd name="T54" fmla="*/ 43336599 w 810"/>
              <a:gd name="T55" fmla="*/ 189508981 h 727"/>
              <a:gd name="T56" fmla="*/ 45962679 w 810"/>
              <a:gd name="T57" fmla="*/ 192255640 h 727"/>
              <a:gd name="T58" fmla="*/ 48589192 w 810"/>
              <a:gd name="T59" fmla="*/ 196375366 h 727"/>
              <a:gd name="T60" fmla="*/ 49714902 w 810"/>
              <a:gd name="T61" fmla="*/ 186213095 h 727"/>
              <a:gd name="T62" fmla="*/ 57781988 w 810"/>
              <a:gd name="T63" fmla="*/ 191157186 h 727"/>
              <a:gd name="T64" fmla="*/ 61533778 w 810"/>
              <a:gd name="T65" fmla="*/ 195826139 h 727"/>
              <a:gd name="T66" fmla="*/ 69788409 w 810"/>
              <a:gd name="T67" fmla="*/ 199396638 h 727"/>
              <a:gd name="T68" fmla="*/ 76354692 w 810"/>
              <a:gd name="T69" fmla="*/ 198572798 h 727"/>
              <a:gd name="T70" fmla="*/ 80482008 w 810"/>
              <a:gd name="T71" fmla="*/ 195002298 h 727"/>
              <a:gd name="T72" fmla="*/ 84796870 w 810"/>
              <a:gd name="T73" fmla="*/ 185389254 h 727"/>
              <a:gd name="T74" fmla="*/ 86860311 w 810"/>
              <a:gd name="T75" fmla="*/ 145290446 h 727"/>
              <a:gd name="T76" fmla="*/ 87235403 w 810"/>
              <a:gd name="T77" fmla="*/ 131832289 h 727"/>
              <a:gd name="T78" fmla="*/ 88361114 w 810"/>
              <a:gd name="T79" fmla="*/ 128811541 h 727"/>
              <a:gd name="T80" fmla="*/ 86860311 w 810"/>
              <a:gd name="T81" fmla="*/ 117001065 h 727"/>
              <a:gd name="T82" fmla="*/ 87986021 w 810"/>
              <a:gd name="T83" fmla="*/ 101071387 h 727"/>
              <a:gd name="T84" fmla="*/ 93801686 w 810"/>
              <a:gd name="T85" fmla="*/ 90635026 h 727"/>
              <a:gd name="T86" fmla="*/ 98491640 w 810"/>
              <a:gd name="T87" fmla="*/ 87888367 h 727"/>
              <a:gd name="T88" fmla="*/ 100930607 w 810"/>
              <a:gd name="T89" fmla="*/ 63719237 h 727"/>
              <a:gd name="T90" fmla="*/ 103369574 w 810"/>
              <a:gd name="T91" fmla="*/ 40648560 h 727"/>
              <a:gd name="T92" fmla="*/ 101493246 w 810"/>
              <a:gd name="T93" fmla="*/ 34056788 h 727"/>
              <a:gd name="T94" fmla="*/ 99617351 w 810"/>
              <a:gd name="T95" fmla="*/ 27190403 h 727"/>
              <a:gd name="T96" fmla="*/ 101118154 w 810"/>
              <a:gd name="T97" fmla="*/ 23619904 h 727"/>
              <a:gd name="T98" fmla="*/ 115751521 w 810"/>
              <a:gd name="T99" fmla="*/ 21972223 h 727"/>
              <a:gd name="T100" fmla="*/ 132823423 w 810"/>
              <a:gd name="T101" fmla="*/ 17303270 h 727"/>
              <a:gd name="T102" fmla="*/ 150645510 w 810"/>
              <a:gd name="T103" fmla="*/ 16753519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88" name="Freeform 479">
            <a:extLst>
              <a:ext uri="{FF2B5EF4-FFF2-40B4-BE49-F238E27FC236}">
                <a16:creationId xmlns:a16="http://schemas.microsoft.com/office/drawing/2014/main" id="{F6F4425F-98CD-4576-87A0-C6C307CAD412}"/>
              </a:ext>
            </a:extLst>
          </p:cNvPr>
          <p:cNvSpPr>
            <a:spLocks/>
          </p:cNvSpPr>
          <p:nvPr>
            <p:custDataLst>
              <p:tags r:id="rId317"/>
            </p:custDataLst>
          </p:nvPr>
        </p:nvSpPr>
        <p:spPr bwMode="auto">
          <a:xfrm>
            <a:off x="4795715" y="3583439"/>
            <a:ext cx="225604" cy="182955"/>
          </a:xfrm>
          <a:custGeom>
            <a:avLst/>
            <a:gdLst>
              <a:gd name="T0" fmla="*/ 39951999 w 365"/>
              <a:gd name="T1" fmla="*/ 67953272 h 271"/>
              <a:gd name="T2" fmla="*/ 32079782 w 365"/>
              <a:gd name="T3" fmla="*/ 66866240 h 271"/>
              <a:gd name="T4" fmla="*/ 23813622 w 365"/>
              <a:gd name="T5" fmla="*/ 67137868 h 271"/>
              <a:gd name="T6" fmla="*/ 18106320 w 365"/>
              <a:gd name="T7" fmla="*/ 67953272 h 271"/>
              <a:gd name="T8" fmla="*/ 14563934 w 365"/>
              <a:gd name="T9" fmla="*/ 69312452 h 271"/>
              <a:gd name="T10" fmla="*/ 5116830 w 365"/>
              <a:gd name="T11" fmla="*/ 73661620 h 271"/>
              <a:gd name="T12" fmla="*/ 3936330 w 365"/>
              <a:gd name="T13" fmla="*/ 73389992 h 271"/>
              <a:gd name="T14" fmla="*/ 3345858 w 365"/>
              <a:gd name="T15" fmla="*/ 72302440 h 271"/>
              <a:gd name="T16" fmla="*/ 3542387 w 365"/>
              <a:gd name="T17" fmla="*/ 69040824 h 271"/>
              <a:gd name="T18" fmla="*/ 5116830 w 365"/>
              <a:gd name="T19" fmla="*/ 61973818 h 271"/>
              <a:gd name="T20" fmla="*/ 12005075 w 365"/>
              <a:gd name="T21" fmla="*/ 61430041 h 271"/>
              <a:gd name="T22" fmla="*/ 17515849 w 365"/>
              <a:gd name="T23" fmla="*/ 60342489 h 271"/>
              <a:gd name="T24" fmla="*/ 22632679 w 365"/>
              <a:gd name="T25" fmla="*/ 59255457 h 271"/>
              <a:gd name="T26" fmla="*/ 28733924 w 365"/>
              <a:gd name="T27" fmla="*/ 58711681 h 271"/>
              <a:gd name="T28" fmla="*/ 35819141 w 365"/>
              <a:gd name="T29" fmla="*/ 59255457 h 271"/>
              <a:gd name="T30" fmla="*/ 39164556 w 365"/>
              <a:gd name="T31" fmla="*/ 59255457 h 271"/>
              <a:gd name="T32" fmla="*/ 43100886 w 365"/>
              <a:gd name="T33" fmla="*/ 58711681 h 271"/>
              <a:gd name="T34" fmla="*/ 42313442 w 365"/>
              <a:gd name="T35" fmla="*/ 56537097 h 271"/>
              <a:gd name="T36" fmla="*/ 41329471 w 365"/>
              <a:gd name="T37" fmla="*/ 54634662 h 271"/>
              <a:gd name="T38" fmla="*/ 38377556 w 365"/>
              <a:gd name="T39" fmla="*/ 52731705 h 271"/>
              <a:gd name="T40" fmla="*/ 34441226 w 365"/>
              <a:gd name="T41" fmla="*/ 51916302 h 271"/>
              <a:gd name="T42" fmla="*/ 29914867 w 365"/>
              <a:gd name="T43" fmla="*/ 51644674 h 271"/>
              <a:gd name="T44" fmla="*/ 18303292 w 365"/>
              <a:gd name="T45" fmla="*/ 52188451 h 271"/>
              <a:gd name="T46" fmla="*/ 12595547 w 365"/>
              <a:gd name="T47" fmla="*/ 53275482 h 271"/>
              <a:gd name="T48" fmla="*/ 6494745 w 365"/>
              <a:gd name="T49" fmla="*/ 55178438 h 271"/>
              <a:gd name="T50" fmla="*/ 7478717 w 365"/>
              <a:gd name="T51" fmla="*/ 49742239 h 271"/>
              <a:gd name="T52" fmla="*/ 7675689 w 365"/>
              <a:gd name="T53" fmla="*/ 46752251 h 271"/>
              <a:gd name="T54" fmla="*/ 5116830 w 365"/>
              <a:gd name="T55" fmla="*/ 44577667 h 271"/>
              <a:gd name="T56" fmla="*/ 2558415 w 365"/>
              <a:gd name="T57" fmla="*/ 43490115 h 271"/>
              <a:gd name="T58" fmla="*/ 2164915 w 365"/>
              <a:gd name="T59" fmla="*/ 39956872 h 271"/>
              <a:gd name="T60" fmla="*/ 1180943 w 365"/>
              <a:gd name="T61" fmla="*/ 38869319 h 271"/>
              <a:gd name="T62" fmla="*/ 393500 w 365"/>
              <a:gd name="T63" fmla="*/ 38325543 h 271"/>
              <a:gd name="T64" fmla="*/ 0 w 365"/>
              <a:gd name="T65" fmla="*/ 36694735 h 271"/>
              <a:gd name="T66" fmla="*/ 983972 w 365"/>
              <a:gd name="T67" fmla="*/ 31258536 h 271"/>
              <a:gd name="T68" fmla="*/ 3345858 w 365"/>
              <a:gd name="T69" fmla="*/ 25006933 h 271"/>
              <a:gd name="T70" fmla="*/ 5904273 w 365"/>
              <a:gd name="T71" fmla="*/ 18755330 h 271"/>
              <a:gd name="T72" fmla="*/ 7675689 w 365"/>
              <a:gd name="T73" fmla="*/ 13319131 h 271"/>
              <a:gd name="T74" fmla="*/ 9446660 w 365"/>
              <a:gd name="T75" fmla="*/ 11416175 h 271"/>
              <a:gd name="T76" fmla="*/ 9643632 w 365"/>
              <a:gd name="T77" fmla="*/ 13046982 h 271"/>
              <a:gd name="T78" fmla="*/ 10234104 w 365"/>
              <a:gd name="T79" fmla="*/ 9785367 h 271"/>
              <a:gd name="T80" fmla="*/ 14760462 w 365"/>
              <a:gd name="T81" fmla="*/ 8426187 h 271"/>
              <a:gd name="T82" fmla="*/ 22436151 w 365"/>
              <a:gd name="T83" fmla="*/ 4892423 h 271"/>
              <a:gd name="T84" fmla="*/ 32473282 w 365"/>
              <a:gd name="T85" fmla="*/ 0 h 271"/>
              <a:gd name="T86" fmla="*/ 36212641 w 365"/>
              <a:gd name="T87" fmla="*/ 4077019 h 271"/>
              <a:gd name="T88" fmla="*/ 39755027 w 365"/>
              <a:gd name="T89" fmla="*/ 6523752 h 271"/>
              <a:gd name="T90" fmla="*/ 43297858 w 365"/>
              <a:gd name="T91" fmla="*/ 7882411 h 271"/>
              <a:gd name="T92" fmla="*/ 47037216 w 365"/>
              <a:gd name="T93" fmla="*/ 8154559 h 271"/>
              <a:gd name="T94" fmla="*/ 47430716 w 365"/>
              <a:gd name="T95" fmla="*/ 14134535 h 271"/>
              <a:gd name="T96" fmla="*/ 48611660 w 365"/>
              <a:gd name="T97" fmla="*/ 18755330 h 271"/>
              <a:gd name="T98" fmla="*/ 49989131 w 365"/>
              <a:gd name="T99" fmla="*/ 22832349 h 271"/>
              <a:gd name="T100" fmla="*/ 51957074 w 365"/>
              <a:gd name="T101" fmla="*/ 25822337 h 271"/>
              <a:gd name="T102" fmla="*/ 60026263 w 365"/>
              <a:gd name="T103" fmla="*/ 35063928 h 271"/>
              <a:gd name="T104" fmla="*/ 69276395 w 365"/>
              <a:gd name="T105" fmla="*/ 63604625 h 271"/>
              <a:gd name="T106" fmla="*/ 70653867 w 365"/>
              <a:gd name="T107" fmla="*/ 69856228 h 271"/>
              <a:gd name="T108" fmla="*/ 71834810 w 365"/>
              <a:gd name="T109" fmla="*/ 73661620 h 271"/>
              <a:gd name="T110" fmla="*/ 63175150 w 365"/>
              <a:gd name="T111" fmla="*/ 70400004 h 271"/>
              <a:gd name="T112" fmla="*/ 54121989 w 365"/>
              <a:gd name="T113" fmla="*/ 68497048 h 271"/>
              <a:gd name="T114" fmla="*/ 48808188 w 365"/>
              <a:gd name="T115" fmla="*/ 68225421 h 271"/>
              <a:gd name="T116" fmla="*/ 43100886 w 365"/>
              <a:gd name="T117" fmla="*/ 68497048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0872A6"/>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89" name="Freeform 480">
            <a:extLst>
              <a:ext uri="{FF2B5EF4-FFF2-40B4-BE49-F238E27FC236}">
                <a16:creationId xmlns:a16="http://schemas.microsoft.com/office/drawing/2014/main" id="{BA0BCBA5-520C-4E65-A330-0D43FB3CEF92}"/>
              </a:ext>
            </a:extLst>
          </p:cNvPr>
          <p:cNvSpPr>
            <a:spLocks/>
          </p:cNvSpPr>
          <p:nvPr>
            <p:custDataLst>
              <p:tags r:id="rId318"/>
            </p:custDataLst>
          </p:nvPr>
        </p:nvSpPr>
        <p:spPr bwMode="auto">
          <a:xfrm>
            <a:off x="6429254" y="4315256"/>
            <a:ext cx="376007" cy="435025"/>
          </a:xfrm>
          <a:custGeom>
            <a:avLst/>
            <a:gdLst>
              <a:gd name="T0" fmla="*/ 27309274 w 624"/>
              <a:gd name="T1" fmla="*/ 3287348 h 640"/>
              <a:gd name="T2" fmla="*/ 44704967 w 624"/>
              <a:gd name="T3" fmla="*/ 3287348 h 640"/>
              <a:gd name="T4" fmla="*/ 53683068 w 624"/>
              <a:gd name="T5" fmla="*/ 1369685 h 640"/>
              <a:gd name="T6" fmla="*/ 60977910 w 624"/>
              <a:gd name="T7" fmla="*/ 6026194 h 640"/>
              <a:gd name="T8" fmla="*/ 74071605 w 624"/>
              <a:gd name="T9" fmla="*/ 18079105 h 640"/>
              <a:gd name="T10" fmla="*/ 86978031 w 624"/>
              <a:gd name="T11" fmla="*/ 30405743 h 640"/>
              <a:gd name="T12" fmla="*/ 87726242 w 624"/>
              <a:gd name="T13" fmla="*/ 35884482 h 640"/>
              <a:gd name="T14" fmla="*/ 89783607 w 624"/>
              <a:gd name="T15" fmla="*/ 41910675 h 640"/>
              <a:gd name="T16" fmla="*/ 92963720 w 624"/>
              <a:gd name="T17" fmla="*/ 46567708 h 640"/>
              <a:gd name="T18" fmla="*/ 97078449 w 624"/>
              <a:gd name="T19" fmla="*/ 50128260 h 640"/>
              <a:gd name="T20" fmla="*/ 101567716 w 624"/>
              <a:gd name="T21" fmla="*/ 52045923 h 640"/>
              <a:gd name="T22" fmla="*/ 103625513 w 624"/>
              <a:gd name="T23" fmla="*/ 53415608 h 640"/>
              <a:gd name="T24" fmla="*/ 105682877 w 624"/>
              <a:gd name="T25" fmla="*/ 56154977 h 640"/>
              <a:gd name="T26" fmla="*/ 104934666 w 624"/>
              <a:gd name="T27" fmla="*/ 62181171 h 640"/>
              <a:gd name="T28" fmla="*/ 100445399 w 624"/>
              <a:gd name="T29" fmla="*/ 69029594 h 640"/>
              <a:gd name="T30" fmla="*/ 98200766 w 624"/>
              <a:gd name="T31" fmla="*/ 74234081 h 640"/>
              <a:gd name="T32" fmla="*/ 99697188 w 624"/>
              <a:gd name="T33" fmla="*/ 78616863 h 640"/>
              <a:gd name="T34" fmla="*/ 102315927 w 624"/>
              <a:gd name="T35" fmla="*/ 81904211 h 640"/>
              <a:gd name="T36" fmla="*/ 103251407 w 624"/>
              <a:gd name="T37" fmla="*/ 116418484 h 640"/>
              <a:gd name="T38" fmla="*/ 102877301 w 624"/>
              <a:gd name="T39" fmla="*/ 120253811 h 640"/>
              <a:gd name="T40" fmla="*/ 104373724 w 624"/>
              <a:gd name="T41" fmla="*/ 126553732 h 640"/>
              <a:gd name="T42" fmla="*/ 104373724 w 624"/>
              <a:gd name="T43" fmla="*/ 133950134 h 640"/>
              <a:gd name="T44" fmla="*/ 104934666 w 624"/>
              <a:gd name="T45" fmla="*/ 141072284 h 640"/>
              <a:gd name="T46" fmla="*/ 111107192 w 624"/>
              <a:gd name="T47" fmla="*/ 150385303 h 640"/>
              <a:gd name="T48" fmla="*/ 115222353 w 624"/>
              <a:gd name="T49" fmla="*/ 158603410 h 640"/>
              <a:gd name="T50" fmla="*/ 107553405 w 624"/>
              <a:gd name="T51" fmla="*/ 164355877 h 640"/>
              <a:gd name="T52" fmla="*/ 91841403 w 624"/>
              <a:gd name="T53" fmla="*/ 172847712 h 640"/>
              <a:gd name="T54" fmla="*/ 82862870 w 624"/>
              <a:gd name="T55" fmla="*/ 174764852 h 640"/>
              <a:gd name="T56" fmla="*/ 73323394 w 624"/>
              <a:gd name="T57" fmla="*/ 172025482 h 640"/>
              <a:gd name="T58" fmla="*/ 63409813 w 624"/>
              <a:gd name="T59" fmla="*/ 173395167 h 640"/>
              <a:gd name="T60" fmla="*/ 57237287 w 624"/>
              <a:gd name="T61" fmla="*/ 172025482 h 640"/>
              <a:gd name="T62" fmla="*/ 55927701 w 624"/>
              <a:gd name="T63" fmla="*/ 168190679 h 640"/>
              <a:gd name="T64" fmla="*/ 54992654 w 624"/>
              <a:gd name="T65" fmla="*/ 156959998 h 640"/>
              <a:gd name="T66" fmla="*/ 53870337 w 624"/>
              <a:gd name="T67" fmla="*/ 144907087 h 640"/>
              <a:gd name="T68" fmla="*/ 47323273 w 624"/>
              <a:gd name="T69" fmla="*/ 141619740 h 640"/>
              <a:gd name="T70" fmla="*/ 34604116 w 624"/>
              <a:gd name="T71" fmla="*/ 137511209 h 640"/>
              <a:gd name="T72" fmla="*/ 16834318 w 624"/>
              <a:gd name="T73" fmla="*/ 125732026 h 640"/>
              <a:gd name="T74" fmla="*/ 12719157 w 624"/>
              <a:gd name="T75" fmla="*/ 122170950 h 640"/>
              <a:gd name="T76" fmla="*/ 12345051 w 624"/>
              <a:gd name="T77" fmla="*/ 117240714 h 640"/>
              <a:gd name="T78" fmla="*/ 12158215 w 624"/>
              <a:gd name="T79" fmla="*/ 110118563 h 640"/>
              <a:gd name="T80" fmla="*/ 9913581 w 624"/>
              <a:gd name="T81" fmla="*/ 103270140 h 640"/>
              <a:gd name="T82" fmla="*/ 7668948 w 624"/>
              <a:gd name="T83" fmla="*/ 97791924 h 640"/>
              <a:gd name="T84" fmla="*/ 5050209 w 624"/>
              <a:gd name="T85" fmla="*/ 95052555 h 640"/>
              <a:gd name="T86" fmla="*/ 2244633 w 624"/>
              <a:gd name="T87" fmla="*/ 90943501 h 640"/>
              <a:gd name="T88" fmla="*/ 935048 w 624"/>
              <a:gd name="T89" fmla="*/ 84369329 h 640"/>
              <a:gd name="T90" fmla="*/ 0 w 624"/>
              <a:gd name="T91" fmla="*/ 71768440 h 640"/>
              <a:gd name="T92" fmla="*/ 0 w 624"/>
              <a:gd name="T93" fmla="*/ 64098834 h 640"/>
              <a:gd name="T94" fmla="*/ 1870528 w 624"/>
              <a:gd name="T95" fmla="*/ 58072117 h 640"/>
              <a:gd name="T96" fmla="*/ 7108006 w 624"/>
              <a:gd name="T97" fmla="*/ 53415608 h 640"/>
              <a:gd name="T98" fmla="*/ 11410004 w 624"/>
              <a:gd name="T99" fmla="*/ 47389414 h 640"/>
              <a:gd name="T100" fmla="*/ 14402848 w 624"/>
              <a:gd name="T101" fmla="*/ 21092201 h 640"/>
              <a:gd name="T102" fmla="*/ 15712001 w 624"/>
              <a:gd name="T103" fmla="*/ 11778660 h 640"/>
              <a:gd name="T104" fmla="*/ 15337896 w 624"/>
              <a:gd name="T105" fmla="*/ 2191391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0872A6"/>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B050"/>
              </a:solidFill>
              <a:effectLst/>
              <a:uLnTx/>
              <a:uFillTx/>
              <a:latin typeface="Arial" panose="020B0604020202020204" pitchFamily="34" charset="0"/>
              <a:ea typeface="MS PGothic" panose="020B0600070205080204" pitchFamily="34" charset="-128"/>
              <a:cs typeface="Arial"/>
            </a:endParaRPr>
          </a:p>
        </p:txBody>
      </p:sp>
      <p:sp>
        <p:nvSpPr>
          <p:cNvPr id="890" name="Freeform 481">
            <a:extLst>
              <a:ext uri="{FF2B5EF4-FFF2-40B4-BE49-F238E27FC236}">
                <a16:creationId xmlns:a16="http://schemas.microsoft.com/office/drawing/2014/main" id="{2C80688F-293C-496C-A3BD-F7A613E5A03B}"/>
              </a:ext>
            </a:extLst>
          </p:cNvPr>
          <p:cNvSpPr>
            <a:spLocks/>
          </p:cNvSpPr>
          <p:nvPr>
            <p:custDataLst>
              <p:tags r:id="rId319"/>
            </p:custDataLst>
          </p:nvPr>
        </p:nvSpPr>
        <p:spPr bwMode="auto">
          <a:xfrm>
            <a:off x="9997137" y="2384071"/>
            <a:ext cx="27155" cy="73182"/>
          </a:xfrm>
          <a:custGeom>
            <a:avLst/>
            <a:gdLst>
              <a:gd name="T0" fmla="*/ 1744907 w 52"/>
              <a:gd name="T1" fmla="*/ 65322450 h 50"/>
              <a:gd name="T2" fmla="*/ 0 w 52"/>
              <a:gd name="T3" fmla="*/ 41806368 h 50"/>
              <a:gd name="T4" fmla="*/ 268532 w 52"/>
              <a:gd name="T5" fmla="*/ 32661225 h 50"/>
              <a:gd name="T6" fmla="*/ 805229 w 52"/>
              <a:gd name="T7" fmla="*/ 23516082 h 50"/>
              <a:gd name="T8" fmla="*/ 1610458 w 52"/>
              <a:gd name="T9" fmla="*/ 16983837 h 50"/>
              <a:gd name="T10" fmla="*/ 2415687 w 52"/>
              <a:gd name="T11" fmla="*/ 11758041 h 50"/>
              <a:gd name="T12" fmla="*/ 3489447 w 52"/>
              <a:gd name="T13" fmla="*/ 6532245 h 50"/>
              <a:gd name="T14" fmla="*/ 4563208 w 52"/>
              <a:gd name="T15" fmla="*/ 3919347 h 50"/>
              <a:gd name="T16" fmla="*/ 5771051 w 52"/>
              <a:gd name="T17" fmla="*/ 1306449 h 50"/>
              <a:gd name="T18" fmla="*/ 6978894 w 52"/>
              <a:gd name="T19" fmla="*/ 0 h 50"/>
              <a:gd name="T20" fmla="*/ 5368437 w 52"/>
              <a:gd name="T21" fmla="*/ 14370939 h 50"/>
              <a:gd name="T22" fmla="*/ 3623530 w 52"/>
              <a:gd name="T23" fmla="*/ 28741878 h 50"/>
              <a:gd name="T24" fmla="*/ 2952750 w 52"/>
              <a:gd name="T25" fmla="*/ 39193470 h 50"/>
              <a:gd name="T26" fmla="*/ 2281604 w 52"/>
              <a:gd name="T27" fmla="*/ 47032164 h 50"/>
              <a:gd name="T28" fmla="*/ 1878989 w 52"/>
              <a:gd name="T29" fmla="*/ 56177307 h 50"/>
              <a:gd name="T30" fmla="*/ 1744907 w 52"/>
              <a:gd name="T31" fmla="*/ 65322450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91" name="Freeform 482">
            <a:extLst>
              <a:ext uri="{FF2B5EF4-FFF2-40B4-BE49-F238E27FC236}">
                <a16:creationId xmlns:a16="http://schemas.microsoft.com/office/drawing/2014/main" id="{45BAAAB6-0158-4F5D-8241-D4D05726791B}"/>
              </a:ext>
            </a:extLst>
          </p:cNvPr>
          <p:cNvSpPr>
            <a:spLocks/>
          </p:cNvSpPr>
          <p:nvPr>
            <p:custDataLst>
              <p:tags r:id="rId320"/>
            </p:custDataLst>
          </p:nvPr>
        </p:nvSpPr>
        <p:spPr bwMode="auto">
          <a:xfrm>
            <a:off x="9800779" y="2386104"/>
            <a:ext cx="196359" cy="162626"/>
          </a:xfrm>
          <a:custGeom>
            <a:avLst/>
            <a:gdLst>
              <a:gd name="T0" fmla="*/ 14815813 w 320"/>
              <a:gd name="T1" fmla="*/ 66352595 h 234"/>
              <a:gd name="T2" fmla="*/ 11891593 w 320"/>
              <a:gd name="T3" fmla="*/ 64916253 h 234"/>
              <a:gd name="T4" fmla="*/ 12866480 w 320"/>
              <a:gd name="T5" fmla="*/ 63767714 h 234"/>
              <a:gd name="T6" fmla="*/ 15010525 w 320"/>
              <a:gd name="T7" fmla="*/ 62331372 h 234"/>
              <a:gd name="T8" fmla="*/ 12476613 w 320"/>
              <a:gd name="T9" fmla="*/ 58597417 h 234"/>
              <a:gd name="T10" fmla="*/ 8382794 w 320"/>
              <a:gd name="T11" fmla="*/ 54288389 h 234"/>
              <a:gd name="T12" fmla="*/ 7018040 w 320"/>
              <a:gd name="T13" fmla="*/ 51416240 h 234"/>
              <a:gd name="T14" fmla="*/ 6628173 w 320"/>
              <a:gd name="T15" fmla="*/ 49118092 h 234"/>
              <a:gd name="T16" fmla="*/ 6628173 w 320"/>
              <a:gd name="T17" fmla="*/ 47107749 h 234"/>
              <a:gd name="T18" fmla="*/ 7018040 w 320"/>
              <a:gd name="T19" fmla="*/ 45096869 h 234"/>
              <a:gd name="T20" fmla="*/ 8382794 w 320"/>
              <a:gd name="T21" fmla="*/ 42798721 h 234"/>
              <a:gd name="T22" fmla="*/ 10916706 w 320"/>
              <a:gd name="T23" fmla="*/ 40501109 h 234"/>
              <a:gd name="T24" fmla="*/ 14230792 w 320"/>
              <a:gd name="T25" fmla="*/ 39352035 h 234"/>
              <a:gd name="T26" fmla="*/ 15595546 w 320"/>
              <a:gd name="T27" fmla="*/ 36192617 h 234"/>
              <a:gd name="T28" fmla="*/ 13061193 w 320"/>
              <a:gd name="T29" fmla="*/ 31883589 h 234"/>
              <a:gd name="T30" fmla="*/ 11891593 w 320"/>
              <a:gd name="T31" fmla="*/ 29298709 h 234"/>
              <a:gd name="T32" fmla="*/ 11696880 w 320"/>
              <a:gd name="T33" fmla="*/ 24702948 h 234"/>
              <a:gd name="T34" fmla="*/ 10721993 w 320"/>
              <a:gd name="T35" fmla="*/ 20106652 h 234"/>
              <a:gd name="T36" fmla="*/ 8967373 w 320"/>
              <a:gd name="T37" fmla="*/ 13213280 h 234"/>
              <a:gd name="T38" fmla="*/ 6433019 w 320"/>
              <a:gd name="T39" fmla="*/ 8904252 h 234"/>
              <a:gd name="T40" fmla="*/ 3899107 w 320"/>
              <a:gd name="T41" fmla="*/ 7181177 h 234"/>
              <a:gd name="T42" fmla="*/ 1364754 w 320"/>
              <a:gd name="T43" fmla="*/ 2872149 h 234"/>
              <a:gd name="T44" fmla="*/ 1754620 w 320"/>
              <a:gd name="T45" fmla="*/ 0 h 234"/>
              <a:gd name="T46" fmla="*/ 4678840 w 320"/>
              <a:gd name="T47" fmla="*/ 0 h 234"/>
              <a:gd name="T48" fmla="*/ 7407906 w 320"/>
              <a:gd name="T49" fmla="*/ 861806 h 234"/>
              <a:gd name="T50" fmla="*/ 10916706 w 320"/>
              <a:gd name="T51" fmla="*/ 4595760 h 234"/>
              <a:gd name="T52" fmla="*/ 15205679 w 320"/>
              <a:gd name="T53" fmla="*/ 10053326 h 234"/>
              <a:gd name="T54" fmla="*/ 18714479 w 320"/>
              <a:gd name="T55" fmla="*/ 13787817 h 234"/>
              <a:gd name="T56" fmla="*/ 23198165 w 320"/>
              <a:gd name="T57" fmla="*/ 16659966 h 234"/>
              <a:gd name="T58" fmla="*/ 29631626 w 320"/>
              <a:gd name="T59" fmla="*/ 20106652 h 234"/>
              <a:gd name="T60" fmla="*/ 35284912 w 320"/>
              <a:gd name="T61" fmla="*/ 22692069 h 234"/>
              <a:gd name="T62" fmla="*/ 41717931 w 320"/>
              <a:gd name="T63" fmla="*/ 24415680 h 234"/>
              <a:gd name="T64" fmla="*/ 46006905 w 320"/>
              <a:gd name="T65" fmla="*/ 22117532 h 234"/>
              <a:gd name="T66" fmla="*/ 50100725 w 320"/>
              <a:gd name="T67" fmla="*/ 23841143 h 234"/>
              <a:gd name="T68" fmla="*/ 55364144 w 320"/>
              <a:gd name="T69" fmla="*/ 30735051 h 234"/>
              <a:gd name="T70" fmla="*/ 59457964 w 320"/>
              <a:gd name="T71" fmla="*/ 34181737 h 234"/>
              <a:gd name="T72" fmla="*/ 57898498 w 320"/>
              <a:gd name="T73" fmla="*/ 38202961 h 234"/>
              <a:gd name="T74" fmla="*/ 52245212 w 320"/>
              <a:gd name="T75" fmla="*/ 41362914 h 234"/>
              <a:gd name="T76" fmla="*/ 48541259 w 320"/>
              <a:gd name="T77" fmla="*/ 42511452 h 234"/>
              <a:gd name="T78" fmla="*/ 46201618 w 320"/>
              <a:gd name="T79" fmla="*/ 45671406 h 234"/>
              <a:gd name="T80" fmla="*/ 45227172 w 320"/>
              <a:gd name="T81" fmla="*/ 50554435 h 234"/>
              <a:gd name="T82" fmla="*/ 45032018 w 320"/>
              <a:gd name="T83" fmla="*/ 53713852 h 234"/>
              <a:gd name="T84" fmla="*/ 43277839 w 320"/>
              <a:gd name="T85" fmla="*/ 55150195 h 234"/>
              <a:gd name="T86" fmla="*/ 39768598 w 320"/>
              <a:gd name="T87" fmla="*/ 54288389 h 234"/>
              <a:gd name="T88" fmla="*/ 36259799 w 320"/>
              <a:gd name="T89" fmla="*/ 51990777 h 234"/>
              <a:gd name="T90" fmla="*/ 32750558 w 320"/>
              <a:gd name="T91" fmla="*/ 48830824 h 234"/>
              <a:gd name="T92" fmla="*/ 30216205 w 320"/>
              <a:gd name="T93" fmla="*/ 47107749 h 234"/>
              <a:gd name="T94" fmla="*/ 28266872 w 320"/>
              <a:gd name="T95" fmla="*/ 46245943 h 234"/>
              <a:gd name="T96" fmla="*/ 25537806 w 320"/>
              <a:gd name="T97" fmla="*/ 46533211 h 234"/>
              <a:gd name="T98" fmla="*/ 22223719 w 320"/>
              <a:gd name="T99" fmla="*/ 47969018 h 234"/>
              <a:gd name="T100" fmla="*/ 19494653 w 320"/>
              <a:gd name="T101" fmla="*/ 49692629 h 234"/>
              <a:gd name="T102" fmla="*/ 16960300 w 320"/>
              <a:gd name="T103" fmla="*/ 51128972 h 234"/>
              <a:gd name="T104" fmla="*/ 16570433 w 320"/>
              <a:gd name="T105" fmla="*/ 52565314 h 234"/>
              <a:gd name="T106" fmla="*/ 18714479 w 320"/>
              <a:gd name="T107" fmla="*/ 54862926 h 234"/>
              <a:gd name="T108" fmla="*/ 22613586 w 320"/>
              <a:gd name="T109" fmla="*/ 57448343 h 234"/>
              <a:gd name="T110" fmla="*/ 24562919 w 320"/>
              <a:gd name="T111" fmla="*/ 60895029 h 234"/>
              <a:gd name="T112" fmla="*/ 22028565 w 320"/>
              <a:gd name="T113" fmla="*/ 64342251 h 234"/>
              <a:gd name="T114" fmla="*/ 19884520 w 320"/>
              <a:gd name="T115" fmla="*/ 66352595 h 234"/>
              <a:gd name="T116" fmla="*/ 17740033 w 320"/>
              <a:gd name="T117" fmla="*/ 67214401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92" name="Freeform 483">
            <a:extLst>
              <a:ext uri="{FF2B5EF4-FFF2-40B4-BE49-F238E27FC236}">
                <a16:creationId xmlns:a16="http://schemas.microsoft.com/office/drawing/2014/main" id="{917071C3-EC07-4035-A7E9-A6AF6045D4FC}"/>
              </a:ext>
            </a:extLst>
          </p:cNvPr>
          <p:cNvSpPr>
            <a:spLocks/>
          </p:cNvSpPr>
          <p:nvPr>
            <p:custDataLst>
              <p:tags r:id="rId321"/>
            </p:custDataLst>
          </p:nvPr>
        </p:nvSpPr>
        <p:spPr bwMode="auto">
          <a:xfrm>
            <a:off x="9759000" y="2845523"/>
            <a:ext cx="73111" cy="75216"/>
          </a:xfrm>
          <a:custGeom>
            <a:avLst/>
            <a:gdLst>
              <a:gd name="T0" fmla="*/ 5796098 w 125"/>
              <a:gd name="T1" fmla="*/ 7175090 h 93"/>
              <a:gd name="T2" fmla="*/ 7552529 w 125"/>
              <a:gd name="T3" fmla="*/ 7175090 h 93"/>
              <a:gd name="T4" fmla="*/ 9133359 w 125"/>
              <a:gd name="T5" fmla="*/ 7175090 h 93"/>
              <a:gd name="T6" fmla="*/ 9660163 w 125"/>
              <a:gd name="T7" fmla="*/ 7175090 h 93"/>
              <a:gd name="T8" fmla="*/ 10187386 w 125"/>
              <a:gd name="T9" fmla="*/ 6419850 h 93"/>
              <a:gd name="T10" fmla="*/ 10714189 w 125"/>
              <a:gd name="T11" fmla="*/ 5664610 h 93"/>
              <a:gd name="T12" fmla="*/ 11416594 w 125"/>
              <a:gd name="T13" fmla="*/ 4154129 h 93"/>
              <a:gd name="T14" fmla="*/ 11943817 w 125"/>
              <a:gd name="T15" fmla="*/ 3020961 h 93"/>
              <a:gd name="T16" fmla="*/ 12295019 w 125"/>
              <a:gd name="T17" fmla="*/ 1888408 h 93"/>
              <a:gd name="T18" fmla="*/ 12646222 w 125"/>
              <a:gd name="T19" fmla="*/ 1133168 h 93"/>
              <a:gd name="T20" fmla="*/ 12646222 w 125"/>
              <a:gd name="T21" fmla="*/ 0 h 93"/>
              <a:gd name="T22" fmla="*/ 20725554 w 125"/>
              <a:gd name="T23" fmla="*/ 0 h 93"/>
              <a:gd name="T24" fmla="*/ 21428378 w 125"/>
              <a:gd name="T25" fmla="*/ 5664610 h 93"/>
              <a:gd name="T26" fmla="*/ 21955182 w 125"/>
              <a:gd name="T27" fmla="*/ 9440811 h 93"/>
              <a:gd name="T28" fmla="*/ 21779581 w 125"/>
              <a:gd name="T29" fmla="*/ 10951292 h 93"/>
              <a:gd name="T30" fmla="*/ 21428378 w 125"/>
              <a:gd name="T31" fmla="*/ 12461773 h 93"/>
              <a:gd name="T32" fmla="*/ 20901156 w 125"/>
              <a:gd name="T33" fmla="*/ 13217013 h 93"/>
              <a:gd name="T34" fmla="*/ 20549953 w 125"/>
              <a:gd name="T35" fmla="*/ 13972253 h 93"/>
              <a:gd name="T36" fmla="*/ 19496346 w 125"/>
              <a:gd name="T37" fmla="*/ 15105421 h 93"/>
              <a:gd name="T38" fmla="*/ 18266718 w 125"/>
              <a:gd name="T39" fmla="*/ 15482734 h 93"/>
              <a:gd name="T40" fmla="*/ 15456260 w 125"/>
              <a:gd name="T41" fmla="*/ 15482734 h 93"/>
              <a:gd name="T42" fmla="*/ 12646222 w 125"/>
              <a:gd name="T43" fmla="*/ 16237974 h 93"/>
              <a:gd name="T44" fmla="*/ 12295019 w 125"/>
              <a:gd name="T45" fmla="*/ 17748455 h 93"/>
              <a:gd name="T46" fmla="*/ 12119418 w 125"/>
              <a:gd name="T47" fmla="*/ 20014176 h 93"/>
              <a:gd name="T48" fmla="*/ 11767797 w 125"/>
              <a:gd name="T49" fmla="*/ 23035137 h 93"/>
              <a:gd name="T50" fmla="*/ 11767797 w 125"/>
              <a:gd name="T51" fmla="*/ 26811953 h 93"/>
              <a:gd name="T52" fmla="*/ 11592195 w 125"/>
              <a:gd name="T53" fmla="*/ 32475948 h 93"/>
              <a:gd name="T54" fmla="*/ 11592195 w 125"/>
              <a:gd name="T55" fmla="*/ 35119597 h 93"/>
              <a:gd name="T56" fmla="*/ 8606555 w 125"/>
              <a:gd name="T57" fmla="*/ 32098635 h 93"/>
              <a:gd name="T58" fmla="*/ 4742490 w 125"/>
              <a:gd name="T59" fmla="*/ 27567194 h 93"/>
              <a:gd name="T60" fmla="*/ 2810458 w 125"/>
              <a:gd name="T61" fmla="*/ 24546232 h 93"/>
              <a:gd name="T62" fmla="*/ 1229628 w 125"/>
              <a:gd name="T63" fmla="*/ 21902584 h 93"/>
              <a:gd name="T64" fmla="*/ 702405 w 125"/>
              <a:gd name="T65" fmla="*/ 20392103 h 93"/>
              <a:gd name="T66" fmla="*/ 351202 w 125"/>
              <a:gd name="T67" fmla="*/ 18881623 h 93"/>
              <a:gd name="T68" fmla="*/ 0 w 125"/>
              <a:gd name="T69" fmla="*/ 17748455 h 93"/>
              <a:gd name="T70" fmla="*/ 0 w 125"/>
              <a:gd name="T71" fmla="*/ 16237974 h 93"/>
              <a:gd name="T72" fmla="*/ 1229628 w 125"/>
              <a:gd name="T73" fmla="*/ 16237974 h 93"/>
              <a:gd name="T74" fmla="*/ 2634437 w 125"/>
              <a:gd name="T75" fmla="*/ 15482734 h 93"/>
              <a:gd name="T76" fmla="*/ 3512863 w 125"/>
              <a:gd name="T77" fmla="*/ 14727494 h 93"/>
              <a:gd name="T78" fmla="*/ 4039666 w 125"/>
              <a:gd name="T79" fmla="*/ 13594940 h 93"/>
              <a:gd name="T80" fmla="*/ 4918092 w 125"/>
              <a:gd name="T81" fmla="*/ 10573365 h 93"/>
              <a:gd name="T82" fmla="*/ 5796098 w 125"/>
              <a:gd name="T83" fmla="*/ 7175090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93" name="Freeform 484">
            <a:extLst>
              <a:ext uri="{FF2B5EF4-FFF2-40B4-BE49-F238E27FC236}">
                <a16:creationId xmlns:a16="http://schemas.microsoft.com/office/drawing/2014/main" id="{07C3552C-96B0-440A-A491-A22ABF1FCA0B}"/>
              </a:ext>
            </a:extLst>
          </p:cNvPr>
          <p:cNvSpPr>
            <a:spLocks/>
          </p:cNvSpPr>
          <p:nvPr>
            <p:custDataLst>
              <p:tags r:id="rId322"/>
            </p:custDataLst>
          </p:nvPr>
        </p:nvSpPr>
        <p:spPr bwMode="auto">
          <a:xfrm>
            <a:off x="9683798" y="2863819"/>
            <a:ext cx="83557" cy="109773"/>
          </a:xfrm>
          <a:custGeom>
            <a:avLst/>
            <a:gdLst>
              <a:gd name="T0" fmla="*/ 4114346 w 133"/>
              <a:gd name="T1" fmla="*/ 3581832 h 154"/>
              <a:gd name="T2" fmla="*/ 4937579 w 133"/>
              <a:gd name="T3" fmla="*/ 2984678 h 154"/>
              <a:gd name="T4" fmla="*/ 6377668 w 133"/>
              <a:gd name="T5" fmla="*/ 1790916 h 154"/>
              <a:gd name="T6" fmla="*/ 6994525 w 133"/>
              <a:gd name="T7" fmla="*/ 1193762 h 154"/>
              <a:gd name="T8" fmla="*/ 7611836 w 133"/>
              <a:gd name="T9" fmla="*/ 597154 h 154"/>
              <a:gd name="T10" fmla="*/ 8640536 w 133"/>
              <a:gd name="T11" fmla="*/ 298304 h 154"/>
              <a:gd name="T12" fmla="*/ 9463314 w 133"/>
              <a:gd name="T13" fmla="*/ 0 h 154"/>
              <a:gd name="T14" fmla="*/ 12138025 w 133"/>
              <a:gd name="T15" fmla="*/ 298304 h 154"/>
              <a:gd name="T16" fmla="*/ 14400893 w 133"/>
              <a:gd name="T17" fmla="*/ 1193762 h 154"/>
              <a:gd name="T18" fmla="*/ 16663761 w 133"/>
              <a:gd name="T19" fmla="*/ 2388070 h 154"/>
              <a:gd name="T20" fmla="*/ 18515239 w 133"/>
              <a:gd name="T21" fmla="*/ 4178986 h 154"/>
              <a:gd name="T22" fmla="*/ 20367171 w 133"/>
              <a:gd name="T23" fmla="*/ 6268207 h 154"/>
              <a:gd name="T24" fmla="*/ 21601339 w 133"/>
              <a:gd name="T25" fmla="*/ 8954581 h 154"/>
              <a:gd name="T26" fmla="*/ 23041429 w 133"/>
              <a:gd name="T27" fmla="*/ 11939805 h 154"/>
              <a:gd name="T28" fmla="*/ 23864207 w 133"/>
              <a:gd name="T29" fmla="*/ 14924483 h 154"/>
              <a:gd name="T30" fmla="*/ 24892907 w 133"/>
              <a:gd name="T31" fmla="*/ 17909708 h 154"/>
              <a:gd name="T32" fmla="*/ 25510218 w 133"/>
              <a:gd name="T33" fmla="*/ 21192690 h 154"/>
              <a:gd name="T34" fmla="*/ 26127529 w 133"/>
              <a:gd name="T35" fmla="*/ 24476218 h 154"/>
              <a:gd name="T36" fmla="*/ 26744386 w 133"/>
              <a:gd name="T37" fmla="*/ 28058050 h 154"/>
              <a:gd name="T38" fmla="*/ 27155775 w 133"/>
              <a:gd name="T39" fmla="*/ 34625107 h 154"/>
              <a:gd name="T40" fmla="*/ 27361696 w 133"/>
              <a:gd name="T41" fmla="*/ 40296160 h 154"/>
              <a:gd name="T42" fmla="*/ 27155775 w 133"/>
              <a:gd name="T43" fmla="*/ 41191618 h 154"/>
              <a:gd name="T44" fmla="*/ 26744386 w 133"/>
              <a:gd name="T45" fmla="*/ 42087622 h 154"/>
              <a:gd name="T46" fmla="*/ 25715686 w 133"/>
              <a:gd name="T47" fmla="*/ 42983080 h 154"/>
              <a:gd name="T48" fmla="*/ 24892907 w 133"/>
              <a:gd name="T49" fmla="*/ 43878538 h 154"/>
              <a:gd name="T50" fmla="*/ 23658739 w 133"/>
              <a:gd name="T51" fmla="*/ 44773996 h 154"/>
              <a:gd name="T52" fmla="*/ 22630039 w 133"/>
              <a:gd name="T53" fmla="*/ 45669454 h 154"/>
              <a:gd name="T54" fmla="*/ 21395418 w 133"/>
              <a:gd name="T55" fmla="*/ 45967758 h 154"/>
              <a:gd name="T56" fmla="*/ 20367171 w 133"/>
              <a:gd name="T57" fmla="*/ 45967758 h 154"/>
              <a:gd name="T58" fmla="*/ 19132550 w 133"/>
              <a:gd name="T59" fmla="*/ 45669454 h 154"/>
              <a:gd name="T60" fmla="*/ 17898382 w 133"/>
              <a:gd name="T61" fmla="*/ 44475146 h 154"/>
              <a:gd name="T62" fmla="*/ 16252371 w 133"/>
              <a:gd name="T63" fmla="*/ 42087622 h 154"/>
              <a:gd name="T64" fmla="*/ 14606814 w 133"/>
              <a:gd name="T65" fmla="*/ 39997856 h 154"/>
              <a:gd name="T66" fmla="*/ 13166725 w 133"/>
              <a:gd name="T67" fmla="*/ 37609785 h 154"/>
              <a:gd name="T68" fmla="*/ 11932104 w 133"/>
              <a:gd name="T69" fmla="*/ 35222261 h 154"/>
              <a:gd name="T70" fmla="*/ 11109325 w 133"/>
              <a:gd name="T71" fmla="*/ 33132495 h 154"/>
              <a:gd name="T72" fmla="*/ 10903404 w 133"/>
              <a:gd name="T73" fmla="*/ 31341579 h 154"/>
              <a:gd name="T74" fmla="*/ 11109325 w 133"/>
              <a:gd name="T75" fmla="*/ 29252359 h 154"/>
              <a:gd name="T76" fmla="*/ 11520714 w 133"/>
              <a:gd name="T77" fmla="*/ 24775068 h 154"/>
              <a:gd name="T78" fmla="*/ 11932104 w 133"/>
              <a:gd name="T79" fmla="*/ 20297232 h 154"/>
              <a:gd name="T80" fmla="*/ 12138025 w 133"/>
              <a:gd name="T81" fmla="*/ 18506316 h 154"/>
              <a:gd name="T82" fmla="*/ 9669236 w 133"/>
              <a:gd name="T83" fmla="*/ 18208012 h 154"/>
              <a:gd name="T84" fmla="*/ 7406368 w 133"/>
              <a:gd name="T85" fmla="*/ 17610858 h 154"/>
              <a:gd name="T86" fmla="*/ 5143046 w 133"/>
              <a:gd name="T87" fmla="*/ 16715399 h 154"/>
              <a:gd name="T88" fmla="*/ 3497489 w 133"/>
              <a:gd name="T89" fmla="*/ 15521637 h 154"/>
              <a:gd name="T90" fmla="*/ 2674257 w 133"/>
              <a:gd name="T91" fmla="*/ 14626179 h 154"/>
              <a:gd name="T92" fmla="*/ 2057400 w 133"/>
              <a:gd name="T93" fmla="*/ 13730721 h 154"/>
              <a:gd name="T94" fmla="*/ 1440089 w 133"/>
              <a:gd name="T95" fmla="*/ 12835263 h 154"/>
              <a:gd name="T96" fmla="*/ 822779 w 133"/>
              <a:gd name="T97" fmla="*/ 11640955 h 154"/>
              <a:gd name="T98" fmla="*/ 411389 w 133"/>
              <a:gd name="T99" fmla="*/ 10148889 h 154"/>
              <a:gd name="T100" fmla="*/ 205921 w 133"/>
              <a:gd name="T101" fmla="*/ 8656277 h 154"/>
              <a:gd name="T102" fmla="*/ 0 w 133"/>
              <a:gd name="T103" fmla="*/ 7163665 h 154"/>
              <a:gd name="T104" fmla="*/ 0 w 133"/>
              <a:gd name="T105" fmla="*/ 5372748 h 154"/>
              <a:gd name="T106" fmla="*/ 1440089 w 133"/>
              <a:gd name="T107" fmla="*/ 4477290 h 154"/>
              <a:gd name="T108" fmla="*/ 4114346 w 133"/>
              <a:gd name="T109" fmla="*/ 3581832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94" name="Freeform 485">
            <a:extLst>
              <a:ext uri="{FF2B5EF4-FFF2-40B4-BE49-F238E27FC236}">
                <a16:creationId xmlns:a16="http://schemas.microsoft.com/office/drawing/2014/main" id="{8890F892-7B81-40EA-9A67-516C1E05AB8D}"/>
              </a:ext>
            </a:extLst>
          </p:cNvPr>
          <p:cNvSpPr>
            <a:spLocks/>
          </p:cNvSpPr>
          <p:nvPr>
            <p:custDataLst>
              <p:tags r:id="rId323"/>
            </p:custDataLst>
          </p:nvPr>
        </p:nvSpPr>
        <p:spPr bwMode="auto">
          <a:xfrm>
            <a:off x="9704688" y="2554829"/>
            <a:ext cx="292450" cy="317121"/>
          </a:xfrm>
          <a:custGeom>
            <a:avLst/>
            <a:gdLst>
              <a:gd name="T0" fmla="*/ 25014653 w 485"/>
              <a:gd name="T1" fmla="*/ 95781962 h 468"/>
              <a:gd name="T2" fmla="*/ 31174991 w 485"/>
              <a:gd name="T3" fmla="*/ 92507668 h 468"/>
              <a:gd name="T4" fmla="*/ 37335329 w 485"/>
              <a:gd name="T5" fmla="*/ 92507668 h 468"/>
              <a:gd name="T6" fmla="*/ 42189112 w 485"/>
              <a:gd name="T7" fmla="*/ 94963388 h 468"/>
              <a:gd name="T8" fmla="*/ 41815811 w 485"/>
              <a:gd name="T9" fmla="*/ 89232853 h 468"/>
              <a:gd name="T10" fmla="*/ 41069208 w 485"/>
              <a:gd name="T11" fmla="*/ 86231243 h 468"/>
              <a:gd name="T12" fmla="*/ 43495667 w 485"/>
              <a:gd name="T13" fmla="*/ 82683743 h 468"/>
              <a:gd name="T14" fmla="*/ 44616003 w 485"/>
              <a:gd name="T15" fmla="*/ 75316061 h 468"/>
              <a:gd name="T16" fmla="*/ 45175956 w 485"/>
              <a:gd name="T17" fmla="*/ 67129283 h 468"/>
              <a:gd name="T18" fmla="*/ 50029738 w 485"/>
              <a:gd name="T19" fmla="*/ 69585525 h 468"/>
              <a:gd name="T20" fmla="*/ 56003426 w 485"/>
              <a:gd name="T21" fmla="*/ 64946246 h 468"/>
              <a:gd name="T22" fmla="*/ 58990269 w 485"/>
              <a:gd name="T23" fmla="*/ 59215711 h 468"/>
              <a:gd name="T24" fmla="*/ 54696439 w 485"/>
              <a:gd name="T25" fmla="*/ 52939285 h 468"/>
              <a:gd name="T26" fmla="*/ 59363571 w 485"/>
              <a:gd name="T27" fmla="*/ 54303748 h 468"/>
              <a:gd name="T28" fmla="*/ 64030271 w 485"/>
              <a:gd name="T29" fmla="*/ 55122322 h 468"/>
              <a:gd name="T30" fmla="*/ 64590223 w 485"/>
              <a:gd name="T31" fmla="*/ 50483565 h 468"/>
              <a:gd name="T32" fmla="*/ 55069740 w 485"/>
              <a:gd name="T33" fmla="*/ 26196959 h 468"/>
              <a:gd name="T34" fmla="*/ 53203233 w 485"/>
              <a:gd name="T35" fmla="*/ 14462681 h 468"/>
              <a:gd name="T36" fmla="*/ 54323137 w 485"/>
              <a:gd name="T37" fmla="*/ 5184646 h 468"/>
              <a:gd name="T38" fmla="*/ 58990269 w 485"/>
              <a:gd name="T39" fmla="*/ 272684 h 468"/>
              <a:gd name="T40" fmla="*/ 62723716 w 485"/>
              <a:gd name="T41" fmla="*/ 4911962 h 468"/>
              <a:gd name="T42" fmla="*/ 70377259 w 485"/>
              <a:gd name="T43" fmla="*/ 12279645 h 468"/>
              <a:gd name="T44" fmla="*/ 77471283 w 485"/>
              <a:gd name="T45" fmla="*/ 19647850 h 468"/>
              <a:gd name="T46" fmla="*/ 79524441 w 485"/>
              <a:gd name="T47" fmla="*/ 26742326 h 468"/>
              <a:gd name="T48" fmla="*/ 81391380 w 485"/>
              <a:gd name="T49" fmla="*/ 37384824 h 468"/>
              <a:gd name="T50" fmla="*/ 83071669 w 485"/>
              <a:gd name="T51" fmla="*/ 47208749 h 468"/>
              <a:gd name="T52" fmla="*/ 79897742 w 485"/>
              <a:gd name="T53" fmla="*/ 48845896 h 468"/>
              <a:gd name="T54" fmla="*/ 76910899 w 485"/>
              <a:gd name="T55" fmla="*/ 50483565 h 468"/>
              <a:gd name="T56" fmla="*/ 79524441 w 485"/>
              <a:gd name="T57" fmla="*/ 54303748 h 468"/>
              <a:gd name="T58" fmla="*/ 83071669 w 485"/>
              <a:gd name="T59" fmla="*/ 55395528 h 468"/>
              <a:gd name="T60" fmla="*/ 84938176 w 485"/>
              <a:gd name="T61" fmla="*/ 71495356 h 468"/>
              <a:gd name="T62" fmla="*/ 88671623 w 485"/>
              <a:gd name="T63" fmla="*/ 85139464 h 468"/>
              <a:gd name="T64" fmla="*/ 89605308 w 485"/>
              <a:gd name="T65" fmla="*/ 103968740 h 468"/>
              <a:gd name="T66" fmla="*/ 86431814 w 485"/>
              <a:gd name="T67" fmla="*/ 99329461 h 468"/>
              <a:gd name="T68" fmla="*/ 84564875 w 485"/>
              <a:gd name="T69" fmla="*/ 97146425 h 468"/>
              <a:gd name="T70" fmla="*/ 81391380 w 485"/>
              <a:gd name="T71" fmla="*/ 99056778 h 468"/>
              <a:gd name="T72" fmla="*/ 80084825 w 485"/>
              <a:gd name="T73" fmla="*/ 108880702 h 468"/>
              <a:gd name="T74" fmla="*/ 76164296 w 485"/>
              <a:gd name="T75" fmla="*/ 106151776 h 468"/>
              <a:gd name="T76" fmla="*/ 72617500 w 485"/>
              <a:gd name="T77" fmla="*/ 104241424 h 468"/>
              <a:gd name="T78" fmla="*/ 70190609 w 485"/>
              <a:gd name="T79" fmla="*/ 109699276 h 468"/>
              <a:gd name="T80" fmla="*/ 64403572 w 485"/>
              <a:gd name="T81" fmla="*/ 112700885 h 468"/>
              <a:gd name="T82" fmla="*/ 62350414 w 485"/>
              <a:gd name="T83" fmla="*/ 109153386 h 468"/>
              <a:gd name="T84" fmla="*/ 58243234 w 485"/>
              <a:gd name="T85" fmla="*/ 107788923 h 468"/>
              <a:gd name="T86" fmla="*/ 56563378 w 485"/>
              <a:gd name="T87" fmla="*/ 116248385 h 468"/>
              <a:gd name="T88" fmla="*/ 55816343 w 485"/>
              <a:gd name="T89" fmla="*/ 122797494 h 468"/>
              <a:gd name="T90" fmla="*/ 57309981 w 485"/>
              <a:gd name="T91" fmla="*/ 127163567 h 468"/>
              <a:gd name="T92" fmla="*/ 50776341 w 485"/>
              <a:gd name="T93" fmla="*/ 127709456 h 468"/>
              <a:gd name="T94" fmla="*/ 48162799 w 485"/>
              <a:gd name="T95" fmla="*/ 126890883 h 468"/>
              <a:gd name="T96" fmla="*/ 45549257 w 485"/>
              <a:gd name="T97" fmla="*/ 120068568 h 468"/>
              <a:gd name="T98" fmla="*/ 42749064 w 485"/>
              <a:gd name="T99" fmla="*/ 114065349 h 468"/>
              <a:gd name="T100" fmla="*/ 38082364 w 485"/>
              <a:gd name="T101" fmla="*/ 110790533 h 468"/>
              <a:gd name="T102" fmla="*/ 35468822 w 485"/>
              <a:gd name="T103" fmla="*/ 107516239 h 468"/>
              <a:gd name="T104" fmla="*/ 25387955 w 485"/>
              <a:gd name="T105" fmla="*/ 113792142 h 468"/>
              <a:gd name="T106" fmla="*/ 16801157 w 485"/>
              <a:gd name="T107" fmla="*/ 118704105 h 468"/>
              <a:gd name="T108" fmla="*/ 12134025 w 485"/>
              <a:gd name="T109" fmla="*/ 125253736 h 468"/>
              <a:gd name="T110" fmla="*/ 5040434 w 485"/>
              <a:gd name="T111" fmla="*/ 125799104 h 468"/>
              <a:gd name="T112" fmla="*/ 1306555 w 485"/>
              <a:gd name="T113" fmla="*/ 119523201 h 468"/>
              <a:gd name="T114" fmla="*/ 0 w 485"/>
              <a:gd name="T115" fmla="*/ 113792142 h 468"/>
              <a:gd name="T116" fmla="*/ 1306555 w 485"/>
              <a:gd name="T117" fmla="*/ 112700885 h 468"/>
              <a:gd name="T118" fmla="*/ 5040434 w 485"/>
              <a:gd name="T119" fmla="*/ 112973569 h 468"/>
              <a:gd name="T120" fmla="*/ 8960531 w 485"/>
              <a:gd name="T121" fmla="*/ 110517849 h 468"/>
              <a:gd name="T122" fmla="*/ 13440580 w 485"/>
              <a:gd name="T123" fmla="*/ 100693924 h 468"/>
              <a:gd name="T124" fmla="*/ 17361109 w 485"/>
              <a:gd name="T125" fmla="*/ 96055168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95" name="Freeform 486">
            <a:extLst>
              <a:ext uri="{FF2B5EF4-FFF2-40B4-BE49-F238E27FC236}">
                <a16:creationId xmlns:a16="http://schemas.microsoft.com/office/drawing/2014/main" id="{B5000CC6-7D31-4C29-8DE6-A2AE95155944}"/>
              </a:ext>
            </a:extLst>
          </p:cNvPr>
          <p:cNvSpPr>
            <a:spLocks/>
          </p:cNvSpPr>
          <p:nvPr>
            <p:custDataLst>
              <p:tags r:id="rId324"/>
            </p:custDataLst>
          </p:nvPr>
        </p:nvSpPr>
        <p:spPr bwMode="auto">
          <a:xfrm>
            <a:off x="6343607" y="1111522"/>
            <a:ext cx="150402" cy="79279"/>
          </a:xfrm>
          <a:custGeom>
            <a:avLst/>
            <a:gdLst>
              <a:gd name="T0" fmla="*/ 5199153 w 246"/>
              <a:gd name="T1" fmla="*/ 74267257 h 42"/>
              <a:gd name="T2" fmla="*/ 6932496 w 246"/>
              <a:gd name="T3" fmla="*/ 74267257 h 42"/>
              <a:gd name="T4" fmla="*/ 8665401 w 246"/>
              <a:gd name="T5" fmla="*/ 72204716 h 42"/>
              <a:gd name="T6" fmla="*/ 10206102 w 246"/>
              <a:gd name="T7" fmla="*/ 68078199 h 42"/>
              <a:gd name="T8" fmla="*/ 11361079 w 246"/>
              <a:gd name="T9" fmla="*/ 63953118 h 42"/>
              <a:gd name="T10" fmla="*/ 12709138 w 246"/>
              <a:gd name="T11" fmla="*/ 61889141 h 42"/>
              <a:gd name="T12" fmla="*/ 13864554 w 246"/>
              <a:gd name="T13" fmla="*/ 59826601 h 42"/>
              <a:gd name="T14" fmla="*/ 15405255 w 246"/>
              <a:gd name="T15" fmla="*/ 59826601 h 42"/>
              <a:gd name="T16" fmla="*/ 16752875 w 246"/>
              <a:gd name="T17" fmla="*/ 61889141 h 42"/>
              <a:gd name="T18" fmla="*/ 16752875 w 246"/>
              <a:gd name="T19" fmla="*/ 86645372 h 42"/>
              <a:gd name="T20" fmla="*/ 29654655 w 246"/>
              <a:gd name="T21" fmla="*/ 86645372 h 42"/>
              <a:gd name="T22" fmla="*/ 29654655 w 246"/>
              <a:gd name="T23" fmla="*/ 80456314 h 42"/>
              <a:gd name="T24" fmla="*/ 30039940 w 246"/>
              <a:gd name="T25" fmla="*/ 74267257 h 42"/>
              <a:gd name="T26" fmla="*/ 30617867 w 246"/>
              <a:gd name="T27" fmla="*/ 68078199 h 42"/>
              <a:gd name="T28" fmla="*/ 31387998 w 246"/>
              <a:gd name="T29" fmla="*/ 63953118 h 42"/>
              <a:gd name="T30" fmla="*/ 33698830 w 246"/>
              <a:gd name="T31" fmla="*/ 53637543 h 42"/>
              <a:gd name="T32" fmla="*/ 36587151 w 246"/>
              <a:gd name="T33" fmla="*/ 47448485 h 42"/>
              <a:gd name="T34" fmla="*/ 42556435 w 246"/>
              <a:gd name="T35" fmla="*/ 35070370 h 42"/>
              <a:gd name="T36" fmla="*/ 47370742 w 246"/>
              <a:gd name="T37" fmla="*/ 24756231 h 42"/>
              <a:gd name="T38" fmla="*/ 40823530 w 246"/>
              <a:gd name="T39" fmla="*/ 26818771 h 42"/>
              <a:gd name="T40" fmla="*/ 35817020 w 246"/>
              <a:gd name="T41" fmla="*/ 28881312 h 42"/>
              <a:gd name="T42" fmla="*/ 34276319 w 246"/>
              <a:gd name="T43" fmla="*/ 30945289 h 42"/>
              <a:gd name="T44" fmla="*/ 32928261 w 246"/>
              <a:gd name="T45" fmla="*/ 30945289 h 42"/>
              <a:gd name="T46" fmla="*/ 32350772 w 246"/>
              <a:gd name="T47" fmla="*/ 28881312 h 42"/>
              <a:gd name="T48" fmla="*/ 32158129 w 246"/>
              <a:gd name="T49" fmla="*/ 24756231 h 42"/>
              <a:gd name="T50" fmla="*/ 30617867 w 246"/>
              <a:gd name="T51" fmla="*/ 33007829 h 42"/>
              <a:gd name="T52" fmla="*/ 29269809 w 246"/>
              <a:gd name="T53" fmla="*/ 35070370 h 42"/>
              <a:gd name="T54" fmla="*/ 28307035 w 246"/>
              <a:gd name="T55" fmla="*/ 35070370 h 42"/>
              <a:gd name="T56" fmla="*/ 27151619 w 246"/>
              <a:gd name="T57" fmla="*/ 30945289 h 42"/>
              <a:gd name="T58" fmla="*/ 26381049 w 246"/>
              <a:gd name="T59" fmla="*/ 24756231 h 42"/>
              <a:gd name="T60" fmla="*/ 25610918 w 246"/>
              <a:gd name="T61" fmla="*/ 18567173 h 42"/>
              <a:gd name="T62" fmla="*/ 24840787 w 246"/>
              <a:gd name="T63" fmla="*/ 10315575 h 42"/>
              <a:gd name="T64" fmla="*/ 24262860 w 246"/>
              <a:gd name="T65" fmla="*/ 0 h 42"/>
              <a:gd name="T66" fmla="*/ 23300086 w 246"/>
              <a:gd name="T67" fmla="*/ 4126517 h 42"/>
              <a:gd name="T68" fmla="*/ 21759824 w 246"/>
              <a:gd name="T69" fmla="*/ 8251598 h 42"/>
              <a:gd name="T70" fmla="*/ 19834277 w 246"/>
              <a:gd name="T71" fmla="*/ 10315575 h 42"/>
              <a:gd name="T72" fmla="*/ 17908291 w 246"/>
              <a:gd name="T73" fmla="*/ 10315575 h 42"/>
              <a:gd name="T74" fmla="*/ 14249839 w 246"/>
              <a:gd name="T75" fmla="*/ 12378115 h 42"/>
              <a:gd name="T76" fmla="*/ 11553722 w 246"/>
              <a:gd name="T77" fmla="*/ 12378115 h 42"/>
              <a:gd name="T78" fmla="*/ 11168876 w 246"/>
              <a:gd name="T79" fmla="*/ 18567173 h 42"/>
              <a:gd name="T80" fmla="*/ 10783591 w 246"/>
              <a:gd name="T81" fmla="*/ 24756231 h 42"/>
              <a:gd name="T82" fmla="*/ 10398306 w 246"/>
              <a:gd name="T83" fmla="*/ 30945289 h 42"/>
              <a:gd name="T84" fmla="*/ 9628175 w 246"/>
              <a:gd name="T85" fmla="*/ 35070370 h 42"/>
              <a:gd name="T86" fmla="*/ 8087474 w 246"/>
              <a:gd name="T87" fmla="*/ 41259427 h 42"/>
              <a:gd name="T88" fmla="*/ 6354569 w 246"/>
              <a:gd name="T89" fmla="*/ 45385945 h 42"/>
              <a:gd name="T90" fmla="*/ 2695678 w 246"/>
              <a:gd name="T91" fmla="*/ 49511026 h 42"/>
              <a:gd name="T92" fmla="*/ 0 w 246"/>
              <a:gd name="T93" fmla="*/ 49511026 h 42"/>
              <a:gd name="T94" fmla="*/ 192642 w 246"/>
              <a:gd name="T95" fmla="*/ 55700083 h 42"/>
              <a:gd name="T96" fmla="*/ 577489 w 246"/>
              <a:gd name="T97" fmla="*/ 59826601 h 42"/>
              <a:gd name="T98" fmla="*/ 962774 w 246"/>
              <a:gd name="T99" fmla="*/ 63953118 h 42"/>
              <a:gd name="T100" fmla="*/ 1732905 w 246"/>
              <a:gd name="T101" fmla="*/ 68078199 h 42"/>
              <a:gd name="T102" fmla="*/ 3273606 w 246"/>
              <a:gd name="T103" fmla="*/ 72204716 h 42"/>
              <a:gd name="T104" fmla="*/ 5199153 w 246"/>
              <a:gd name="T105" fmla="*/ 7426725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96" name="Freeform 487">
            <a:extLst>
              <a:ext uri="{FF2B5EF4-FFF2-40B4-BE49-F238E27FC236}">
                <a16:creationId xmlns:a16="http://schemas.microsoft.com/office/drawing/2014/main" id="{1E88EFE1-A79E-4ADB-B908-6E2E629498CA}"/>
              </a:ext>
            </a:extLst>
          </p:cNvPr>
          <p:cNvSpPr>
            <a:spLocks/>
          </p:cNvSpPr>
          <p:nvPr>
            <p:custDataLst>
              <p:tags r:id="rId325"/>
            </p:custDataLst>
          </p:nvPr>
        </p:nvSpPr>
        <p:spPr bwMode="auto">
          <a:xfrm>
            <a:off x="6542055" y="1089160"/>
            <a:ext cx="87735" cy="75216"/>
          </a:xfrm>
          <a:custGeom>
            <a:avLst/>
            <a:gdLst>
              <a:gd name="T0" fmla="*/ 18707356 w 149"/>
              <a:gd name="T1" fmla="*/ 0 h 61"/>
              <a:gd name="T2" fmla="*/ 21431889 w 149"/>
              <a:gd name="T3" fmla="*/ 877861 h 61"/>
              <a:gd name="T4" fmla="*/ 24337547 w 149"/>
              <a:gd name="T5" fmla="*/ 2633584 h 61"/>
              <a:gd name="T6" fmla="*/ 26335453 w 149"/>
              <a:gd name="T7" fmla="*/ 4388370 h 61"/>
              <a:gd name="T8" fmla="*/ 27062081 w 149"/>
              <a:gd name="T9" fmla="*/ 5266232 h 61"/>
              <a:gd name="T10" fmla="*/ 27062081 w 149"/>
              <a:gd name="T11" fmla="*/ 7021955 h 61"/>
              <a:gd name="T12" fmla="*/ 26698980 w 149"/>
              <a:gd name="T13" fmla="*/ 8777678 h 61"/>
              <a:gd name="T14" fmla="*/ 26335453 w 149"/>
              <a:gd name="T15" fmla="*/ 10533401 h 61"/>
              <a:gd name="T16" fmla="*/ 25609252 w 149"/>
              <a:gd name="T17" fmla="*/ 11411262 h 61"/>
              <a:gd name="T18" fmla="*/ 24882624 w 149"/>
              <a:gd name="T19" fmla="*/ 12288187 h 61"/>
              <a:gd name="T20" fmla="*/ 23974446 w 149"/>
              <a:gd name="T21" fmla="*/ 12288187 h 61"/>
              <a:gd name="T22" fmla="*/ 23066268 w 149"/>
              <a:gd name="T23" fmla="*/ 12288187 h 61"/>
              <a:gd name="T24" fmla="*/ 22339641 w 149"/>
              <a:gd name="T25" fmla="*/ 10533401 h 61"/>
              <a:gd name="T26" fmla="*/ 22339641 w 149"/>
              <a:gd name="T27" fmla="*/ 20188003 h 61"/>
              <a:gd name="T28" fmla="*/ 22339641 w 149"/>
              <a:gd name="T29" fmla="*/ 28965681 h 61"/>
              <a:gd name="T30" fmla="*/ 22339641 w 149"/>
              <a:gd name="T31" fmla="*/ 35987636 h 61"/>
              <a:gd name="T32" fmla="*/ 22339641 w 149"/>
              <a:gd name="T33" fmla="*/ 43009591 h 61"/>
              <a:gd name="T34" fmla="*/ 21068362 w 149"/>
              <a:gd name="T35" fmla="*/ 43887452 h 61"/>
              <a:gd name="T36" fmla="*/ 19797084 w 149"/>
              <a:gd name="T37" fmla="*/ 44765314 h 61"/>
              <a:gd name="T38" fmla="*/ 18888906 w 149"/>
              <a:gd name="T39" fmla="*/ 46521037 h 61"/>
              <a:gd name="T40" fmla="*/ 18162279 w 149"/>
              <a:gd name="T41" fmla="*/ 48276760 h 61"/>
              <a:gd name="T42" fmla="*/ 17072550 w 149"/>
              <a:gd name="T43" fmla="*/ 50031546 h 61"/>
              <a:gd name="T44" fmla="*/ 16164799 w 149"/>
              <a:gd name="T45" fmla="*/ 51787269 h 61"/>
              <a:gd name="T46" fmla="*/ 15074644 w 149"/>
              <a:gd name="T47" fmla="*/ 53542992 h 61"/>
              <a:gd name="T48" fmla="*/ 13803366 w 149"/>
              <a:gd name="T49" fmla="*/ 53542992 h 61"/>
              <a:gd name="T50" fmla="*/ 12168987 w 149"/>
              <a:gd name="T51" fmla="*/ 52665130 h 61"/>
              <a:gd name="T52" fmla="*/ 9626003 w 149"/>
              <a:gd name="T53" fmla="*/ 50031546 h 61"/>
              <a:gd name="T54" fmla="*/ 7083446 w 149"/>
              <a:gd name="T55" fmla="*/ 47398898 h 61"/>
              <a:gd name="T56" fmla="*/ 4540463 w 149"/>
              <a:gd name="T57" fmla="*/ 43009591 h 61"/>
              <a:gd name="T58" fmla="*/ 2179456 w 149"/>
              <a:gd name="T59" fmla="*/ 39499082 h 61"/>
              <a:gd name="T60" fmla="*/ 545077 w 149"/>
              <a:gd name="T61" fmla="*/ 35987636 h 61"/>
              <a:gd name="T62" fmla="*/ 181550 w 149"/>
              <a:gd name="T63" fmla="*/ 34232850 h 61"/>
              <a:gd name="T64" fmla="*/ 0 w 149"/>
              <a:gd name="T65" fmla="*/ 33354989 h 61"/>
              <a:gd name="T66" fmla="*/ 0 w 149"/>
              <a:gd name="T67" fmla="*/ 32477127 h 61"/>
              <a:gd name="T68" fmla="*/ 545077 w 149"/>
              <a:gd name="T69" fmla="*/ 32477127 h 61"/>
              <a:gd name="T70" fmla="*/ 3450735 w 149"/>
              <a:gd name="T71" fmla="*/ 31599266 h 61"/>
              <a:gd name="T72" fmla="*/ 6356819 w 149"/>
              <a:gd name="T73" fmla="*/ 30721404 h 61"/>
              <a:gd name="T74" fmla="*/ 8717826 w 149"/>
              <a:gd name="T75" fmla="*/ 28087820 h 61"/>
              <a:gd name="T76" fmla="*/ 10897282 w 149"/>
              <a:gd name="T77" fmla="*/ 23699449 h 61"/>
              <a:gd name="T78" fmla="*/ 13077164 w 149"/>
              <a:gd name="T79" fmla="*/ 19310142 h 61"/>
              <a:gd name="T80" fmla="*/ 14893094 w 149"/>
              <a:gd name="T81" fmla="*/ 14043910 h 61"/>
              <a:gd name="T82" fmla="*/ 16891000 w 149"/>
              <a:gd name="T83" fmla="*/ 7021955 h 61"/>
              <a:gd name="T84" fmla="*/ 1870735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97" name="Freeform 488">
            <a:extLst>
              <a:ext uri="{FF2B5EF4-FFF2-40B4-BE49-F238E27FC236}">
                <a16:creationId xmlns:a16="http://schemas.microsoft.com/office/drawing/2014/main" id="{93A756A8-6FB0-488E-9EA0-1E21734EA8D6}"/>
              </a:ext>
            </a:extLst>
          </p:cNvPr>
          <p:cNvSpPr>
            <a:spLocks/>
          </p:cNvSpPr>
          <p:nvPr>
            <p:custDataLst>
              <p:tags r:id="rId326"/>
            </p:custDataLst>
          </p:nvPr>
        </p:nvSpPr>
        <p:spPr bwMode="auto">
          <a:xfrm>
            <a:off x="6592190" y="1099326"/>
            <a:ext cx="181735" cy="75213"/>
          </a:xfrm>
          <a:custGeom>
            <a:avLst/>
            <a:gdLst>
              <a:gd name="T0" fmla="*/ 25209542 w 299"/>
              <a:gd name="T1" fmla="*/ 42943591 h 74"/>
              <a:gd name="T2" fmla="*/ 29190111 w 299"/>
              <a:gd name="T3" fmla="*/ 38768552 h 74"/>
              <a:gd name="T4" fmla="*/ 33738835 w 299"/>
              <a:gd name="T5" fmla="*/ 32207886 h 74"/>
              <a:gd name="T6" fmla="*/ 37719404 w 299"/>
              <a:gd name="T7" fmla="*/ 25050235 h 74"/>
              <a:gd name="T8" fmla="*/ 39235790 w 299"/>
              <a:gd name="T9" fmla="*/ 23857808 h 74"/>
              <a:gd name="T10" fmla="*/ 39994201 w 299"/>
              <a:gd name="T11" fmla="*/ 27436634 h 74"/>
              <a:gd name="T12" fmla="*/ 41699972 w 299"/>
              <a:gd name="T13" fmla="*/ 30418474 h 74"/>
              <a:gd name="T14" fmla="*/ 46059311 w 299"/>
              <a:gd name="T15" fmla="*/ 32804100 h 74"/>
              <a:gd name="T16" fmla="*/ 50987675 w 299"/>
              <a:gd name="T17" fmla="*/ 32804100 h 74"/>
              <a:gd name="T18" fmla="*/ 54209833 w 299"/>
              <a:gd name="T19" fmla="*/ 32804100 h 74"/>
              <a:gd name="T20" fmla="*/ 55536835 w 299"/>
              <a:gd name="T21" fmla="*/ 27436634 h 74"/>
              <a:gd name="T22" fmla="*/ 56484630 w 299"/>
              <a:gd name="T23" fmla="*/ 18489570 h 74"/>
              <a:gd name="T24" fmla="*/ 52883267 w 299"/>
              <a:gd name="T25" fmla="*/ 14910744 h 74"/>
              <a:gd name="T26" fmla="*/ 46249131 w 299"/>
              <a:gd name="T27" fmla="*/ 14910744 h 74"/>
              <a:gd name="T28" fmla="*/ 42647768 w 299"/>
              <a:gd name="T29" fmla="*/ 14910744 h 74"/>
              <a:gd name="T30" fmla="*/ 40562791 w 299"/>
              <a:gd name="T31" fmla="*/ 16103943 h 74"/>
              <a:gd name="T32" fmla="*/ 38667199 w 299"/>
              <a:gd name="T33" fmla="*/ 19682769 h 74"/>
              <a:gd name="T34" fmla="*/ 32601654 w 299"/>
              <a:gd name="T35" fmla="*/ 22068395 h 74"/>
              <a:gd name="T36" fmla="*/ 33360065 w 299"/>
              <a:gd name="T37" fmla="*/ 16700157 h 74"/>
              <a:gd name="T38" fmla="*/ 34118040 w 299"/>
              <a:gd name="T39" fmla="*/ 12525118 h 74"/>
              <a:gd name="T40" fmla="*/ 36771608 w 299"/>
              <a:gd name="T41" fmla="*/ 7753865 h 74"/>
              <a:gd name="T42" fmla="*/ 39804380 w 299"/>
              <a:gd name="T43" fmla="*/ 5368239 h 74"/>
              <a:gd name="T44" fmla="*/ 42647768 w 299"/>
              <a:gd name="T45" fmla="*/ 0 h 74"/>
              <a:gd name="T46" fmla="*/ 35065836 w 299"/>
              <a:gd name="T47" fmla="*/ 1789413 h 74"/>
              <a:gd name="T48" fmla="*/ 29758702 w 299"/>
              <a:gd name="T49" fmla="*/ 6560666 h 74"/>
              <a:gd name="T50" fmla="*/ 25398928 w 299"/>
              <a:gd name="T51" fmla="*/ 14910744 h 74"/>
              <a:gd name="T52" fmla="*/ 21608179 w 299"/>
              <a:gd name="T53" fmla="*/ 23857808 h 74"/>
              <a:gd name="T54" fmla="*/ 18954612 w 299"/>
              <a:gd name="T55" fmla="*/ 31611673 h 74"/>
              <a:gd name="T56" fmla="*/ 16490430 w 299"/>
              <a:gd name="T57" fmla="*/ 35190499 h 74"/>
              <a:gd name="T58" fmla="*/ 12131091 w 299"/>
              <a:gd name="T59" fmla="*/ 37576125 h 74"/>
              <a:gd name="T60" fmla="*/ 6065545 w 299"/>
              <a:gd name="T61" fmla="*/ 38172339 h 74"/>
              <a:gd name="T62" fmla="*/ 2274362 w 299"/>
              <a:gd name="T63" fmla="*/ 39961751 h 74"/>
              <a:gd name="T64" fmla="*/ 379205 w 299"/>
              <a:gd name="T65" fmla="*/ 41751164 h 74"/>
              <a:gd name="T66" fmla="*/ 7392111 w 299"/>
              <a:gd name="T67" fmla="*/ 44136791 h 74"/>
              <a:gd name="T68" fmla="*/ 19333817 w 299"/>
              <a:gd name="T69" fmla="*/ 44136791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98" name="Freeform 489">
            <a:extLst>
              <a:ext uri="{FF2B5EF4-FFF2-40B4-BE49-F238E27FC236}">
                <a16:creationId xmlns:a16="http://schemas.microsoft.com/office/drawing/2014/main" id="{D4D1AFB8-4BF1-4042-8441-01B9D02E7508}"/>
              </a:ext>
            </a:extLst>
          </p:cNvPr>
          <p:cNvSpPr>
            <a:spLocks/>
          </p:cNvSpPr>
          <p:nvPr>
            <p:custDataLst>
              <p:tags r:id="rId327"/>
            </p:custDataLst>
          </p:nvPr>
        </p:nvSpPr>
        <p:spPr bwMode="auto">
          <a:xfrm>
            <a:off x="7335847" y="1341231"/>
            <a:ext cx="56401" cy="75216"/>
          </a:xfrm>
          <a:custGeom>
            <a:avLst/>
            <a:gdLst>
              <a:gd name="T0" fmla="*/ 15843822 w 100"/>
              <a:gd name="T1" fmla="*/ 0 h 42"/>
              <a:gd name="T2" fmla="*/ 16525272 w 100"/>
              <a:gd name="T3" fmla="*/ 12960804 h 42"/>
              <a:gd name="T4" fmla="*/ 17036256 w 100"/>
              <a:gd name="T5" fmla="*/ 33327975 h 42"/>
              <a:gd name="T6" fmla="*/ 15673356 w 100"/>
              <a:gd name="T7" fmla="*/ 44436846 h 42"/>
              <a:gd name="T8" fmla="*/ 14651387 w 100"/>
              <a:gd name="T9" fmla="*/ 53695146 h 42"/>
              <a:gd name="T10" fmla="*/ 13458539 w 100"/>
              <a:gd name="T11" fmla="*/ 62952086 h 42"/>
              <a:gd name="T12" fmla="*/ 12266105 w 100"/>
              <a:gd name="T13" fmla="*/ 68506521 h 42"/>
              <a:gd name="T14" fmla="*/ 11073670 w 100"/>
              <a:gd name="T15" fmla="*/ 72210386 h 42"/>
              <a:gd name="T16" fmla="*/ 9710769 w 100"/>
              <a:gd name="T17" fmla="*/ 75912889 h 42"/>
              <a:gd name="T18" fmla="*/ 8347869 w 100"/>
              <a:gd name="T19" fmla="*/ 77764821 h 42"/>
              <a:gd name="T20" fmla="*/ 6814503 w 100"/>
              <a:gd name="T21" fmla="*/ 77764821 h 42"/>
              <a:gd name="T22" fmla="*/ 4599686 w 100"/>
              <a:gd name="T23" fmla="*/ 75912889 h 42"/>
              <a:gd name="T24" fmla="*/ 2044351 w 100"/>
              <a:gd name="T25" fmla="*/ 72210386 h 42"/>
              <a:gd name="T26" fmla="*/ 170466 w 100"/>
              <a:gd name="T27" fmla="*/ 68506521 h 42"/>
              <a:gd name="T28" fmla="*/ 0 w 100"/>
              <a:gd name="T29" fmla="*/ 66655950 h 42"/>
              <a:gd name="T30" fmla="*/ 1022382 w 100"/>
              <a:gd name="T31" fmla="*/ 66655950 h 42"/>
              <a:gd name="T32" fmla="*/ 2044351 w 100"/>
              <a:gd name="T33" fmla="*/ 64804018 h 42"/>
              <a:gd name="T34" fmla="*/ 3066733 w 100"/>
              <a:gd name="T35" fmla="*/ 61101514 h 42"/>
              <a:gd name="T36" fmla="*/ 3918236 w 100"/>
              <a:gd name="T37" fmla="*/ 55545718 h 42"/>
              <a:gd name="T38" fmla="*/ 5622068 w 100"/>
              <a:gd name="T39" fmla="*/ 46288779 h 42"/>
              <a:gd name="T40" fmla="*/ 7495953 w 100"/>
              <a:gd name="T41" fmla="*/ 33327975 h 42"/>
              <a:gd name="T42" fmla="*/ 9369838 w 100"/>
              <a:gd name="T43" fmla="*/ 20367171 h 42"/>
              <a:gd name="T44" fmla="*/ 11244136 w 100"/>
              <a:gd name="T45" fmla="*/ 9258300 h 42"/>
              <a:gd name="T46" fmla="*/ 12266105 w 100"/>
              <a:gd name="T47" fmla="*/ 5554436 h 42"/>
              <a:gd name="T48" fmla="*/ 13458539 w 100"/>
              <a:gd name="T49" fmla="*/ 1851932 h 42"/>
              <a:gd name="T50" fmla="*/ 14651387 w 100"/>
              <a:gd name="T51" fmla="*/ 0 h 42"/>
              <a:gd name="T52" fmla="*/ 15843822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899" name="Freeform 490">
            <a:extLst>
              <a:ext uri="{FF2B5EF4-FFF2-40B4-BE49-F238E27FC236}">
                <a16:creationId xmlns:a16="http://schemas.microsoft.com/office/drawing/2014/main" id="{19BC5C0E-C9BE-46D9-B6BC-EF48039398A2}"/>
              </a:ext>
            </a:extLst>
          </p:cNvPr>
          <p:cNvSpPr>
            <a:spLocks/>
          </p:cNvSpPr>
          <p:nvPr>
            <p:custDataLst>
              <p:tags r:id="rId328"/>
            </p:custDataLst>
          </p:nvPr>
        </p:nvSpPr>
        <p:spPr bwMode="auto">
          <a:xfrm>
            <a:off x="7208422" y="1158276"/>
            <a:ext cx="22979" cy="75216"/>
          </a:xfrm>
          <a:custGeom>
            <a:avLst/>
            <a:gdLst>
              <a:gd name="T0" fmla="*/ 6300391 w 40"/>
              <a:gd name="T1" fmla="*/ 690030529 h 5"/>
              <a:gd name="T2" fmla="*/ 0 w 40"/>
              <a:gd name="T3" fmla="*/ 690030529 h 5"/>
              <a:gd name="T4" fmla="*/ 787400 w 40"/>
              <a:gd name="T5" fmla="*/ 414020667 h 5"/>
              <a:gd name="T6" fmla="*/ 1417638 w 40"/>
              <a:gd name="T7" fmla="*/ 138010805 h 5"/>
              <a:gd name="T8" fmla="*/ 2362597 w 40"/>
              <a:gd name="T9" fmla="*/ 0 h 5"/>
              <a:gd name="T10" fmla="*/ 3150394 w 40"/>
              <a:gd name="T11" fmla="*/ 0 h 5"/>
              <a:gd name="T12" fmla="*/ 3937794 w 40"/>
              <a:gd name="T13" fmla="*/ 0 h 5"/>
              <a:gd name="T14" fmla="*/ 4725194 w 40"/>
              <a:gd name="T15" fmla="*/ 138010805 h 5"/>
              <a:gd name="T16" fmla="*/ 5512991 w 40"/>
              <a:gd name="T17" fmla="*/ 414020667 h 5"/>
              <a:gd name="T18" fmla="*/ 6300391 w 40"/>
              <a:gd name="T19" fmla="*/ 690030529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00" name="Freeform 491">
            <a:extLst>
              <a:ext uri="{FF2B5EF4-FFF2-40B4-BE49-F238E27FC236}">
                <a16:creationId xmlns:a16="http://schemas.microsoft.com/office/drawing/2014/main" id="{5D9DC74F-01E5-4A7E-8F4C-19A50B5A66A8}"/>
              </a:ext>
            </a:extLst>
          </p:cNvPr>
          <p:cNvSpPr>
            <a:spLocks/>
          </p:cNvSpPr>
          <p:nvPr>
            <p:custDataLst>
              <p:tags r:id="rId329"/>
            </p:custDataLst>
          </p:nvPr>
        </p:nvSpPr>
        <p:spPr bwMode="auto">
          <a:xfrm>
            <a:off x="7239756" y="1103391"/>
            <a:ext cx="20889" cy="79279"/>
          </a:xfrm>
          <a:custGeom>
            <a:avLst/>
            <a:gdLst>
              <a:gd name="T0" fmla="*/ 0 w 33"/>
              <a:gd name="T1" fmla="*/ 71948265 h 31"/>
              <a:gd name="T2" fmla="*/ 3748822 w 33"/>
              <a:gd name="T3" fmla="*/ 0 h 31"/>
              <a:gd name="T4" fmla="*/ 3748822 w 33"/>
              <a:gd name="T5" fmla="*/ 15147413 h 31"/>
              <a:gd name="T6" fmla="*/ 4123748 w 33"/>
              <a:gd name="T7" fmla="*/ 37868532 h 31"/>
              <a:gd name="T8" fmla="*/ 4685703 w 33"/>
              <a:gd name="T9" fmla="*/ 53015945 h 31"/>
              <a:gd name="T10" fmla="*/ 5060629 w 33"/>
              <a:gd name="T11" fmla="*/ 68161412 h 31"/>
              <a:gd name="T12" fmla="*/ 5810480 w 33"/>
              <a:gd name="T13" fmla="*/ 98456238 h 31"/>
              <a:gd name="T14" fmla="*/ 6185405 w 33"/>
              <a:gd name="T15" fmla="*/ 117390504 h 31"/>
              <a:gd name="T16" fmla="*/ 0 w 33"/>
              <a:gd name="T17" fmla="*/ 117390504 h 31"/>
              <a:gd name="T18" fmla="*/ 0 w 33"/>
              <a:gd name="T19" fmla="*/ 94669385 h 31"/>
              <a:gd name="T20" fmla="*/ 0 w 33"/>
              <a:gd name="T21" fmla="*/ 71948265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01" name="Freeform 492">
            <a:extLst>
              <a:ext uri="{FF2B5EF4-FFF2-40B4-BE49-F238E27FC236}">
                <a16:creationId xmlns:a16="http://schemas.microsoft.com/office/drawing/2014/main" id="{647C6584-E28D-4F58-8CDA-822F2637BF24}"/>
              </a:ext>
            </a:extLst>
          </p:cNvPr>
          <p:cNvSpPr>
            <a:spLocks/>
          </p:cNvSpPr>
          <p:nvPr>
            <p:custDataLst>
              <p:tags r:id="rId330"/>
            </p:custDataLst>
          </p:nvPr>
        </p:nvSpPr>
        <p:spPr bwMode="auto">
          <a:xfrm>
            <a:off x="7440293" y="1253819"/>
            <a:ext cx="25067" cy="75213"/>
          </a:xfrm>
          <a:custGeom>
            <a:avLst/>
            <a:gdLst>
              <a:gd name="T0" fmla="*/ 7437960 w 41"/>
              <a:gd name="T1" fmla="*/ 0 h 43"/>
              <a:gd name="T2" fmla="*/ 7437960 w 41"/>
              <a:gd name="T3" fmla="*/ 75956337 h 43"/>
              <a:gd name="T4" fmla="*/ 5623938 w 41"/>
              <a:gd name="T5" fmla="*/ 74190003 h 43"/>
              <a:gd name="T6" fmla="*/ 4353824 w 41"/>
              <a:gd name="T7" fmla="*/ 70657336 h 43"/>
              <a:gd name="T8" fmla="*/ 3265581 w 41"/>
              <a:gd name="T9" fmla="*/ 65358335 h 43"/>
              <a:gd name="T10" fmla="*/ 2358357 w 41"/>
              <a:gd name="T11" fmla="*/ 58291671 h 43"/>
              <a:gd name="T12" fmla="*/ 907224 w 41"/>
              <a:gd name="T13" fmla="*/ 44161001 h 43"/>
              <a:gd name="T14" fmla="*/ 0 w 41"/>
              <a:gd name="T15" fmla="*/ 33561670 h 43"/>
              <a:gd name="T16" fmla="*/ 2176912 w 41"/>
              <a:gd name="T17" fmla="*/ 22963667 h 43"/>
              <a:gd name="T18" fmla="*/ 4535269 w 41"/>
              <a:gd name="T19" fmla="*/ 12364336 h 43"/>
              <a:gd name="T20" fmla="*/ 6530736 w 41"/>
              <a:gd name="T21" fmla="*/ 3532667 h 43"/>
              <a:gd name="T22" fmla="*/ 7437960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02" name="Freeform 493">
            <a:extLst>
              <a:ext uri="{FF2B5EF4-FFF2-40B4-BE49-F238E27FC236}">
                <a16:creationId xmlns:a16="http://schemas.microsoft.com/office/drawing/2014/main" id="{ED1E8551-4869-4E92-A614-700FACBF0057}"/>
              </a:ext>
            </a:extLst>
          </p:cNvPr>
          <p:cNvSpPr>
            <a:spLocks/>
          </p:cNvSpPr>
          <p:nvPr>
            <p:custDataLst>
              <p:tags r:id="rId331"/>
            </p:custDataLst>
          </p:nvPr>
        </p:nvSpPr>
        <p:spPr bwMode="auto">
          <a:xfrm>
            <a:off x="7515494" y="1103391"/>
            <a:ext cx="131601" cy="79279"/>
          </a:xfrm>
          <a:custGeom>
            <a:avLst/>
            <a:gdLst>
              <a:gd name="T0" fmla="*/ 11795382 w 213"/>
              <a:gd name="T1" fmla="*/ 0 h 62"/>
              <a:gd name="T2" fmla="*/ 16049353 w 213"/>
              <a:gd name="T3" fmla="*/ 0 h 62"/>
              <a:gd name="T4" fmla="*/ 20303324 w 213"/>
              <a:gd name="T5" fmla="*/ 946713 h 62"/>
              <a:gd name="T6" fmla="*/ 24557295 w 213"/>
              <a:gd name="T7" fmla="*/ 2840140 h 62"/>
              <a:gd name="T8" fmla="*/ 28231259 w 213"/>
              <a:gd name="T9" fmla="*/ 6626993 h 62"/>
              <a:gd name="T10" fmla="*/ 32098706 w 213"/>
              <a:gd name="T11" fmla="*/ 10413846 h 62"/>
              <a:gd name="T12" fmla="*/ 35579188 w 213"/>
              <a:gd name="T13" fmla="*/ 15147413 h 62"/>
              <a:gd name="T14" fmla="*/ 36932684 w 213"/>
              <a:gd name="T15" fmla="*/ 17987553 h 62"/>
              <a:gd name="T16" fmla="*/ 38479663 w 213"/>
              <a:gd name="T17" fmla="*/ 21774406 h 62"/>
              <a:gd name="T18" fmla="*/ 40026641 w 213"/>
              <a:gd name="T19" fmla="*/ 25561259 h 62"/>
              <a:gd name="T20" fmla="*/ 41186655 w 213"/>
              <a:gd name="T21" fmla="*/ 29348113 h 62"/>
              <a:gd name="T22" fmla="*/ 40800130 w 213"/>
              <a:gd name="T23" fmla="*/ 33133993 h 62"/>
              <a:gd name="T24" fmla="*/ 40026641 w 213"/>
              <a:gd name="T25" fmla="*/ 35974133 h 62"/>
              <a:gd name="T26" fmla="*/ 38866187 w 213"/>
              <a:gd name="T27" fmla="*/ 38814273 h 62"/>
              <a:gd name="T28" fmla="*/ 37706173 w 213"/>
              <a:gd name="T29" fmla="*/ 41654413 h 62"/>
              <a:gd name="T30" fmla="*/ 34225691 w 213"/>
              <a:gd name="T31" fmla="*/ 46387979 h 62"/>
              <a:gd name="T32" fmla="*/ 30164763 w 213"/>
              <a:gd name="T33" fmla="*/ 50174832 h 62"/>
              <a:gd name="T34" fmla="*/ 26104274 w 213"/>
              <a:gd name="T35" fmla="*/ 53961685 h 62"/>
              <a:gd name="T36" fmla="*/ 22043345 w 213"/>
              <a:gd name="T37" fmla="*/ 55855112 h 62"/>
              <a:gd name="T38" fmla="*/ 18369821 w 213"/>
              <a:gd name="T39" fmla="*/ 58695252 h 62"/>
              <a:gd name="T40" fmla="*/ 15469346 w 213"/>
              <a:gd name="T41" fmla="*/ 58695252 h 62"/>
              <a:gd name="T42" fmla="*/ 11988424 w 213"/>
              <a:gd name="T43" fmla="*/ 58695252 h 62"/>
              <a:gd name="T44" fmla="*/ 8314460 w 213"/>
              <a:gd name="T45" fmla="*/ 55855112 h 62"/>
              <a:gd name="T46" fmla="*/ 6380957 w 213"/>
              <a:gd name="T47" fmla="*/ 55855112 h 62"/>
              <a:gd name="T48" fmla="*/ 4447453 w 213"/>
              <a:gd name="T49" fmla="*/ 55855112 h 62"/>
              <a:gd name="T50" fmla="*/ 2320468 w 213"/>
              <a:gd name="T51" fmla="*/ 56801825 h 62"/>
              <a:gd name="T52" fmla="*/ 0 w 213"/>
              <a:gd name="T53" fmla="*/ 58695252 h 62"/>
              <a:gd name="T54" fmla="*/ 1160014 w 213"/>
              <a:gd name="T55" fmla="*/ 47334692 h 62"/>
              <a:gd name="T56" fmla="*/ 2126986 w 213"/>
              <a:gd name="T57" fmla="*/ 36920846 h 62"/>
              <a:gd name="T58" fmla="*/ 3287000 w 213"/>
              <a:gd name="T59" fmla="*/ 27454686 h 62"/>
              <a:gd name="T60" fmla="*/ 4447453 w 213"/>
              <a:gd name="T61" fmla="*/ 18934266 h 62"/>
              <a:gd name="T62" fmla="*/ 5220943 w 213"/>
              <a:gd name="T63" fmla="*/ 15147413 h 62"/>
              <a:gd name="T64" fmla="*/ 5800950 w 213"/>
              <a:gd name="T65" fmla="*/ 11360560 h 62"/>
              <a:gd name="T66" fmla="*/ 6574439 w 213"/>
              <a:gd name="T67" fmla="*/ 8520420 h 62"/>
              <a:gd name="T68" fmla="*/ 7541411 w 213"/>
              <a:gd name="T69" fmla="*/ 5680280 h 62"/>
              <a:gd name="T70" fmla="*/ 8314460 w 213"/>
              <a:gd name="T71" fmla="*/ 2840140 h 62"/>
              <a:gd name="T72" fmla="*/ 9474914 w 213"/>
              <a:gd name="T73" fmla="*/ 946713 h 62"/>
              <a:gd name="T74" fmla="*/ 10441885 w 213"/>
              <a:gd name="T75" fmla="*/ 0 h 62"/>
              <a:gd name="T76" fmla="*/ 11795382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03" name="Freeform 494">
            <a:extLst>
              <a:ext uri="{FF2B5EF4-FFF2-40B4-BE49-F238E27FC236}">
                <a16:creationId xmlns:a16="http://schemas.microsoft.com/office/drawing/2014/main" id="{FA535344-0DA2-4BC5-A4DA-B31EB42FD78D}"/>
              </a:ext>
            </a:extLst>
          </p:cNvPr>
          <p:cNvSpPr>
            <a:spLocks/>
          </p:cNvSpPr>
          <p:nvPr>
            <p:custDataLst>
              <p:tags r:id="rId332"/>
            </p:custDataLst>
          </p:nvPr>
        </p:nvSpPr>
        <p:spPr bwMode="auto">
          <a:xfrm>
            <a:off x="7599051" y="1137948"/>
            <a:ext cx="144135" cy="77247"/>
          </a:xfrm>
          <a:custGeom>
            <a:avLst/>
            <a:gdLst>
              <a:gd name="T0" fmla="*/ 7642820 w 239"/>
              <a:gd name="T1" fmla="*/ 0 h 56"/>
              <a:gd name="T2" fmla="*/ 5592012 w 239"/>
              <a:gd name="T3" fmla="*/ 3481614 h 56"/>
              <a:gd name="T4" fmla="*/ 4287267 w 239"/>
              <a:gd name="T5" fmla="*/ 5801972 h 56"/>
              <a:gd name="T6" fmla="*/ 3541637 w 239"/>
              <a:gd name="T7" fmla="*/ 8123408 h 56"/>
              <a:gd name="T8" fmla="*/ 2796006 w 239"/>
              <a:gd name="T9" fmla="*/ 10443766 h 56"/>
              <a:gd name="T10" fmla="*/ 2423407 w 239"/>
              <a:gd name="T11" fmla="*/ 15085559 h 56"/>
              <a:gd name="T12" fmla="*/ 1863860 w 239"/>
              <a:gd name="T13" fmla="*/ 17405917 h 56"/>
              <a:gd name="T14" fmla="*/ 1304745 w 239"/>
              <a:gd name="T15" fmla="*/ 19727352 h 56"/>
              <a:gd name="T16" fmla="*/ 0 w 239"/>
              <a:gd name="T17" fmla="*/ 22047710 h 56"/>
              <a:gd name="T18" fmla="*/ 372599 w 239"/>
              <a:gd name="T19" fmla="*/ 27850760 h 56"/>
              <a:gd name="T20" fmla="*/ 932146 w 239"/>
              <a:gd name="T21" fmla="*/ 31331297 h 56"/>
              <a:gd name="T22" fmla="*/ 1304745 w 239"/>
              <a:gd name="T23" fmla="*/ 34812911 h 56"/>
              <a:gd name="T24" fmla="*/ 1863860 w 239"/>
              <a:gd name="T25" fmla="*/ 38294525 h 56"/>
              <a:gd name="T26" fmla="*/ 3169037 w 239"/>
              <a:gd name="T27" fmla="*/ 41775063 h 56"/>
              <a:gd name="T28" fmla="*/ 4473783 w 239"/>
              <a:gd name="T29" fmla="*/ 44096498 h 56"/>
              <a:gd name="T30" fmla="*/ 7642820 w 239"/>
              <a:gd name="T31" fmla="*/ 44096498 h 56"/>
              <a:gd name="T32" fmla="*/ 10065795 w 239"/>
              <a:gd name="T33" fmla="*/ 44096498 h 56"/>
              <a:gd name="T34" fmla="*/ 28520472 w 239"/>
              <a:gd name="T35" fmla="*/ 44096498 h 56"/>
              <a:gd name="T36" fmla="*/ 28893072 w 239"/>
              <a:gd name="T37" fmla="*/ 47578112 h 56"/>
              <a:gd name="T38" fmla="*/ 29079587 w 239"/>
              <a:gd name="T39" fmla="*/ 51058649 h 56"/>
              <a:gd name="T40" fmla="*/ 29638702 w 239"/>
              <a:gd name="T41" fmla="*/ 53380084 h 56"/>
              <a:gd name="T42" fmla="*/ 30197817 w 239"/>
              <a:gd name="T43" fmla="*/ 55700442 h 56"/>
              <a:gd name="T44" fmla="*/ 31129963 w 239"/>
              <a:gd name="T45" fmla="*/ 59182057 h 56"/>
              <a:gd name="T46" fmla="*/ 32434708 w 239"/>
              <a:gd name="T47" fmla="*/ 62663671 h 56"/>
              <a:gd name="T48" fmla="*/ 35044631 w 239"/>
              <a:gd name="T49" fmla="*/ 64984029 h 56"/>
              <a:gd name="T50" fmla="*/ 37281522 w 239"/>
              <a:gd name="T51" fmla="*/ 64984029 h 56"/>
              <a:gd name="T52" fmla="*/ 38027153 w 239"/>
              <a:gd name="T53" fmla="*/ 63823850 h 56"/>
              <a:gd name="T54" fmla="*/ 39145382 w 239"/>
              <a:gd name="T55" fmla="*/ 62663671 h 56"/>
              <a:gd name="T56" fmla="*/ 39891013 w 239"/>
              <a:gd name="T57" fmla="*/ 60342236 h 56"/>
              <a:gd name="T58" fmla="*/ 41009674 w 239"/>
              <a:gd name="T59" fmla="*/ 56860621 h 56"/>
              <a:gd name="T60" fmla="*/ 42873535 w 239"/>
              <a:gd name="T61" fmla="*/ 49898470 h 56"/>
              <a:gd name="T62" fmla="*/ 44551311 w 239"/>
              <a:gd name="T63" fmla="*/ 44096498 h 56"/>
              <a:gd name="T64" fmla="*/ 43246566 w 239"/>
              <a:gd name="T65" fmla="*/ 42936319 h 56"/>
              <a:gd name="T66" fmla="*/ 41941820 w 239"/>
              <a:gd name="T67" fmla="*/ 41775063 h 56"/>
              <a:gd name="T68" fmla="*/ 40823159 w 239"/>
              <a:gd name="T69" fmla="*/ 39454704 h 56"/>
              <a:gd name="T70" fmla="*/ 39704929 w 239"/>
              <a:gd name="T71" fmla="*/ 37133269 h 56"/>
              <a:gd name="T72" fmla="*/ 37468038 w 239"/>
              <a:gd name="T73" fmla="*/ 30171118 h 56"/>
              <a:gd name="T74" fmla="*/ 35417230 w 239"/>
              <a:gd name="T75" fmla="*/ 22047710 h 56"/>
              <a:gd name="T76" fmla="*/ 33180339 w 239"/>
              <a:gd name="T77" fmla="*/ 15085559 h 56"/>
              <a:gd name="T78" fmla="*/ 31129963 w 239"/>
              <a:gd name="T79" fmla="*/ 6962151 h 56"/>
              <a:gd name="T80" fmla="*/ 29825218 w 239"/>
              <a:gd name="T81" fmla="*/ 4641793 h 56"/>
              <a:gd name="T82" fmla="*/ 28706556 w 239"/>
              <a:gd name="T83" fmla="*/ 2320358 h 56"/>
              <a:gd name="T84" fmla="*/ 27401811 w 239"/>
              <a:gd name="T85" fmla="*/ 1160179 h 56"/>
              <a:gd name="T86" fmla="*/ 26097066 w 239"/>
              <a:gd name="T87" fmla="*/ 0 h 56"/>
              <a:gd name="T88" fmla="*/ 24978404 w 239"/>
              <a:gd name="T89" fmla="*/ 1160179 h 56"/>
              <a:gd name="T90" fmla="*/ 23673659 w 239"/>
              <a:gd name="T91" fmla="*/ 4641793 h 56"/>
              <a:gd name="T92" fmla="*/ 23114544 w 239"/>
              <a:gd name="T93" fmla="*/ 6962151 h 56"/>
              <a:gd name="T94" fmla="*/ 22741513 w 239"/>
              <a:gd name="T95" fmla="*/ 9283587 h 56"/>
              <a:gd name="T96" fmla="*/ 22555429 w 239"/>
              <a:gd name="T97" fmla="*/ 11603945 h 56"/>
              <a:gd name="T98" fmla="*/ 22368913 w 239"/>
              <a:gd name="T99" fmla="*/ 15085559 h 56"/>
              <a:gd name="T100" fmla="*/ 18640761 w 239"/>
              <a:gd name="T101" fmla="*/ 9283587 h 56"/>
              <a:gd name="T102" fmla="*/ 14912609 w 239"/>
              <a:gd name="T103" fmla="*/ 4641793 h 56"/>
              <a:gd name="T104" fmla="*/ 11370972 w 239"/>
              <a:gd name="T105" fmla="*/ 1160179 h 56"/>
              <a:gd name="T106" fmla="*/ 7642820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04" name="Freeform 495">
            <a:extLst>
              <a:ext uri="{FF2B5EF4-FFF2-40B4-BE49-F238E27FC236}">
                <a16:creationId xmlns:a16="http://schemas.microsoft.com/office/drawing/2014/main" id="{028CEF2F-F750-495E-A20C-64A38791AAFA}"/>
              </a:ext>
            </a:extLst>
          </p:cNvPr>
          <p:cNvSpPr>
            <a:spLocks/>
          </p:cNvSpPr>
          <p:nvPr>
            <p:custDataLst>
              <p:tags r:id="rId333"/>
            </p:custDataLst>
          </p:nvPr>
        </p:nvSpPr>
        <p:spPr bwMode="auto">
          <a:xfrm>
            <a:off x="7764076" y="1156245"/>
            <a:ext cx="114892" cy="73182"/>
          </a:xfrm>
          <a:custGeom>
            <a:avLst/>
            <a:gdLst>
              <a:gd name="T0" fmla="*/ 2728123 w 187"/>
              <a:gd name="T1" fmla="*/ 9696212 h 80"/>
              <a:gd name="T2" fmla="*/ 7989692 w 187"/>
              <a:gd name="T3" fmla="*/ 0 h 80"/>
              <a:gd name="T4" fmla="*/ 8574605 w 187"/>
              <a:gd name="T5" fmla="*/ 1530906 h 80"/>
              <a:gd name="T6" fmla="*/ 9743549 w 187"/>
              <a:gd name="T7" fmla="*/ 3061811 h 80"/>
              <a:gd name="T8" fmla="*/ 11302728 w 187"/>
              <a:gd name="T9" fmla="*/ 4592717 h 80"/>
              <a:gd name="T10" fmla="*/ 13056585 w 187"/>
              <a:gd name="T11" fmla="*/ 6124337 h 80"/>
              <a:gd name="T12" fmla="*/ 17343887 w 187"/>
              <a:gd name="T13" fmla="*/ 9696212 h 80"/>
              <a:gd name="T14" fmla="*/ 22215662 w 187"/>
              <a:gd name="T15" fmla="*/ 13268801 h 80"/>
              <a:gd name="T16" fmla="*/ 27087436 w 187"/>
              <a:gd name="T17" fmla="*/ 16840676 h 80"/>
              <a:gd name="T18" fmla="*/ 31374297 w 187"/>
              <a:gd name="T19" fmla="*/ 19392424 h 80"/>
              <a:gd name="T20" fmla="*/ 34492657 w 187"/>
              <a:gd name="T21" fmla="*/ 21434108 h 80"/>
              <a:gd name="T22" fmla="*/ 36441190 w 187"/>
              <a:gd name="T23" fmla="*/ 21944171 h 80"/>
              <a:gd name="T24" fmla="*/ 36441190 w 187"/>
              <a:gd name="T25" fmla="*/ 28578572 h 80"/>
              <a:gd name="T26" fmla="*/ 36441190 w 187"/>
              <a:gd name="T27" fmla="*/ 34702909 h 80"/>
              <a:gd name="T28" fmla="*/ 33128154 w 187"/>
              <a:gd name="T29" fmla="*/ 35723036 h 80"/>
              <a:gd name="T30" fmla="*/ 29425764 w 187"/>
              <a:gd name="T31" fmla="*/ 36233814 h 80"/>
              <a:gd name="T32" fmla="*/ 25918051 w 187"/>
              <a:gd name="T33" fmla="*/ 36233814 h 80"/>
              <a:gd name="T34" fmla="*/ 22605015 w 187"/>
              <a:gd name="T35" fmla="*/ 35723036 h 80"/>
              <a:gd name="T36" fmla="*/ 16564298 w 187"/>
              <a:gd name="T37" fmla="*/ 35212973 h 80"/>
              <a:gd name="T38" fmla="*/ 11887200 w 187"/>
              <a:gd name="T39" fmla="*/ 34702909 h 80"/>
              <a:gd name="T40" fmla="*/ 10717815 w 187"/>
              <a:gd name="T41" fmla="*/ 35212973 h 80"/>
              <a:gd name="T42" fmla="*/ 9938667 w 187"/>
              <a:gd name="T43" fmla="*/ 35723036 h 80"/>
              <a:gd name="T44" fmla="*/ 8769282 w 187"/>
              <a:gd name="T45" fmla="*/ 36743878 h 80"/>
              <a:gd name="T46" fmla="*/ 7989692 w 187"/>
              <a:gd name="T47" fmla="*/ 37764720 h 80"/>
              <a:gd name="T48" fmla="*/ 6430954 w 187"/>
              <a:gd name="T49" fmla="*/ 39805689 h 80"/>
              <a:gd name="T50" fmla="*/ 5456246 w 187"/>
              <a:gd name="T51" fmla="*/ 40826531 h 80"/>
              <a:gd name="T52" fmla="*/ 4287303 w 187"/>
              <a:gd name="T53" fmla="*/ 40316468 h 80"/>
              <a:gd name="T54" fmla="*/ 3507713 w 187"/>
              <a:gd name="T55" fmla="*/ 38785562 h 80"/>
              <a:gd name="T56" fmla="*/ 2728123 w 187"/>
              <a:gd name="T57" fmla="*/ 36743878 h 80"/>
              <a:gd name="T58" fmla="*/ 1753856 w 187"/>
              <a:gd name="T59" fmla="*/ 34192131 h 80"/>
              <a:gd name="T60" fmla="*/ 1169385 w 187"/>
              <a:gd name="T61" fmla="*/ 31640383 h 80"/>
              <a:gd name="T62" fmla="*/ 584472 w 187"/>
              <a:gd name="T63" fmla="*/ 29088636 h 80"/>
              <a:gd name="T64" fmla="*/ 389795 w 187"/>
              <a:gd name="T65" fmla="*/ 27047666 h 80"/>
              <a:gd name="T66" fmla="*/ 0 w 187"/>
              <a:gd name="T67" fmla="*/ 25516761 h 80"/>
              <a:gd name="T68" fmla="*/ 389795 w 187"/>
              <a:gd name="T69" fmla="*/ 22454949 h 80"/>
              <a:gd name="T70" fmla="*/ 584472 w 187"/>
              <a:gd name="T71" fmla="*/ 20413266 h 80"/>
              <a:gd name="T72" fmla="*/ 974267 w 187"/>
              <a:gd name="T73" fmla="*/ 18372296 h 80"/>
              <a:gd name="T74" fmla="*/ 1364061 w 187"/>
              <a:gd name="T75" fmla="*/ 15820549 h 80"/>
              <a:gd name="T76" fmla="*/ 2533446 w 187"/>
              <a:gd name="T77" fmla="*/ 12247959 h 80"/>
              <a:gd name="T78" fmla="*/ 2728123 w 187"/>
              <a:gd name="T79" fmla="*/ 9696212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05" name="Freeform 496">
            <a:extLst>
              <a:ext uri="{FF2B5EF4-FFF2-40B4-BE49-F238E27FC236}">
                <a16:creationId xmlns:a16="http://schemas.microsoft.com/office/drawing/2014/main" id="{5139C03F-C878-4731-A8E4-6BB4B1AA6084}"/>
              </a:ext>
            </a:extLst>
          </p:cNvPr>
          <p:cNvSpPr>
            <a:spLocks/>
          </p:cNvSpPr>
          <p:nvPr>
            <p:custDataLst>
              <p:tags r:id="rId334"/>
            </p:custDataLst>
          </p:nvPr>
        </p:nvSpPr>
        <p:spPr bwMode="auto">
          <a:xfrm>
            <a:off x="8497289" y="1318871"/>
            <a:ext cx="110712" cy="75213"/>
          </a:xfrm>
          <a:custGeom>
            <a:avLst/>
            <a:gdLst>
              <a:gd name="T0" fmla="*/ 9406588 w 183"/>
              <a:gd name="T1" fmla="*/ 0 h 73"/>
              <a:gd name="T2" fmla="*/ 11852466 w 183"/>
              <a:gd name="T3" fmla="*/ 0 h 73"/>
              <a:gd name="T4" fmla="*/ 14110099 w 183"/>
              <a:gd name="T5" fmla="*/ 647727 h 73"/>
              <a:gd name="T6" fmla="*/ 16179488 w 183"/>
              <a:gd name="T7" fmla="*/ 2590104 h 73"/>
              <a:gd name="T8" fmla="*/ 18248876 w 183"/>
              <a:gd name="T9" fmla="*/ 4531677 h 73"/>
              <a:gd name="T10" fmla="*/ 19942210 w 183"/>
              <a:gd name="T11" fmla="*/ 6474054 h 73"/>
              <a:gd name="T12" fmla="*/ 21823354 w 183"/>
              <a:gd name="T13" fmla="*/ 9711081 h 73"/>
              <a:gd name="T14" fmla="*/ 23328443 w 183"/>
              <a:gd name="T15" fmla="*/ 12301186 h 73"/>
              <a:gd name="T16" fmla="*/ 24645287 w 183"/>
              <a:gd name="T17" fmla="*/ 16185940 h 73"/>
              <a:gd name="T18" fmla="*/ 29913098 w 183"/>
              <a:gd name="T19" fmla="*/ 31724152 h 73"/>
              <a:gd name="T20" fmla="*/ 34428364 w 183"/>
              <a:gd name="T21" fmla="*/ 47262365 h 73"/>
              <a:gd name="T22" fmla="*/ 25774320 w 183"/>
              <a:gd name="T23" fmla="*/ 47262365 h 73"/>
              <a:gd name="T24" fmla="*/ 24080987 w 183"/>
              <a:gd name="T25" fmla="*/ 46614638 h 73"/>
              <a:gd name="T26" fmla="*/ 22011598 w 183"/>
              <a:gd name="T27" fmla="*/ 45319988 h 73"/>
              <a:gd name="T28" fmla="*/ 19565721 w 183"/>
              <a:gd name="T29" fmla="*/ 42730688 h 73"/>
              <a:gd name="T30" fmla="*/ 16932032 w 183"/>
              <a:gd name="T31" fmla="*/ 40140584 h 73"/>
              <a:gd name="T32" fmla="*/ 13733610 w 183"/>
              <a:gd name="T33" fmla="*/ 36255829 h 73"/>
              <a:gd name="T34" fmla="*/ 10911677 w 183"/>
              <a:gd name="T35" fmla="*/ 32371880 h 73"/>
              <a:gd name="T36" fmla="*/ 7901499 w 183"/>
              <a:gd name="T37" fmla="*/ 28487125 h 73"/>
              <a:gd name="T38" fmla="*/ 5267811 w 183"/>
              <a:gd name="T39" fmla="*/ 23954644 h 73"/>
              <a:gd name="T40" fmla="*/ 3010178 w 183"/>
              <a:gd name="T41" fmla="*/ 19422967 h 73"/>
              <a:gd name="T42" fmla="*/ 1316844 w 183"/>
              <a:gd name="T43" fmla="*/ 14890485 h 73"/>
              <a:gd name="T44" fmla="*/ 752544 w 183"/>
              <a:gd name="T45" fmla="*/ 12301186 h 73"/>
              <a:gd name="T46" fmla="*/ 376055 w 183"/>
              <a:gd name="T47" fmla="*/ 10358808 h 73"/>
              <a:gd name="T48" fmla="*/ 188245 w 183"/>
              <a:gd name="T49" fmla="*/ 9064158 h 73"/>
              <a:gd name="T50" fmla="*/ 0 w 183"/>
              <a:gd name="T51" fmla="*/ 7121781 h 73"/>
              <a:gd name="T52" fmla="*/ 188245 w 183"/>
              <a:gd name="T53" fmla="*/ 5179404 h 73"/>
              <a:gd name="T54" fmla="*/ 564300 w 183"/>
              <a:gd name="T55" fmla="*/ 3884754 h 73"/>
              <a:gd name="T56" fmla="*/ 1316844 w 183"/>
              <a:gd name="T57" fmla="*/ 2590104 h 73"/>
              <a:gd name="T58" fmla="*/ 2445878 w 183"/>
              <a:gd name="T59" fmla="*/ 1942377 h 73"/>
              <a:gd name="T60" fmla="*/ 3574477 w 183"/>
              <a:gd name="T61" fmla="*/ 647727 h 73"/>
              <a:gd name="T62" fmla="*/ 5267811 w 183"/>
              <a:gd name="T63" fmla="*/ 0 h 73"/>
              <a:gd name="T64" fmla="*/ 7148955 w 183"/>
              <a:gd name="T65" fmla="*/ 0 h 73"/>
              <a:gd name="T66" fmla="*/ 9406588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06" name="Freeform 497">
            <a:extLst>
              <a:ext uri="{FF2B5EF4-FFF2-40B4-BE49-F238E27FC236}">
                <a16:creationId xmlns:a16="http://schemas.microsoft.com/office/drawing/2014/main" id="{B73B4D41-D7F8-4089-9D64-F268E784EA4D}"/>
              </a:ext>
            </a:extLst>
          </p:cNvPr>
          <p:cNvSpPr>
            <a:spLocks/>
          </p:cNvSpPr>
          <p:nvPr>
            <p:custDataLst>
              <p:tags r:id="rId335"/>
            </p:custDataLst>
          </p:nvPr>
        </p:nvSpPr>
        <p:spPr bwMode="auto">
          <a:xfrm>
            <a:off x="8589202" y="1341231"/>
            <a:ext cx="48044" cy="75216"/>
          </a:xfrm>
          <a:custGeom>
            <a:avLst/>
            <a:gdLst>
              <a:gd name="T0" fmla="*/ 0 w 79"/>
              <a:gd name="T1" fmla="*/ 11108871 h 42"/>
              <a:gd name="T2" fmla="*/ 4095932 w 79"/>
              <a:gd name="T3" fmla="*/ 3702504 h 42"/>
              <a:gd name="T4" fmla="*/ 7301444 w 79"/>
              <a:gd name="T5" fmla="*/ 1851932 h 42"/>
              <a:gd name="T6" fmla="*/ 10685040 w 79"/>
              <a:gd name="T7" fmla="*/ 0 h 42"/>
              <a:gd name="T8" fmla="*/ 14068636 w 79"/>
              <a:gd name="T9" fmla="*/ 0 h 42"/>
              <a:gd name="T10" fmla="*/ 14068636 w 79"/>
              <a:gd name="T11" fmla="*/ 16663307 h 42"/>
              <a:gd name="T12" fmla="*/ 14068636 w 79"/>
              <a:gd name="T13" fmla="*/ 33327975 h 42"/>
              <a:gd name="T14" fmla="*/ 14068636 w 79"/>
              <a:gd name="T15" fmla="*/ 40734343 h 42"/>
              <a:gd name="T16" fmla="*/ 13356300 w 79"/>
              <a:gd name="T17" fmla="*/ 49991282 h 42"/>
              <a:gd name="T18" fmla="*/ 12822048 w 79"/>
              <a:gd name="T19" fmla="*/ 57397650 h 42"/>
              <a:gd name="T20" fmla="*/ 12109712 w 79"/>
              <a:gd name="T21" fmla="*/ 64804018 h 42"/>
              <a:gd name="T22" fmla="*/ 11041208 w 79"/>
              <a:gd name="T23" fmla="*/ 70358454 h 42"/>
              <a:gd name="T24" fmla="*/ 10150788 w 79"/>
              <a:gd name="T25" fmla="*/ 74062318 h 42"/>
              <a:gd name="T26" fmla="*/ 9082284 w 79"/>
              <a:gd name="T27" fmla="*/ 77764821 h 42"/>
              <a:gd name="T28" fmla="*/ 8191864 w 79"/>
              <a:gd name="T29" fmla="*/ 77764821 h 42"/>
              <a:gd name="T30" fmla="*/ 7123360 w 79"/>
              <a:gd name="T31" fmla="*/ 77764821 h 42"/>
              <a:gd name="T32" fmla="*/ 6232940 w 79"/>
              <a:gd name="T33" fmla="*/ 75912889 h 42"/>
              <a:gd name="T34" fmla="*/ 5164436 w 79"/>
              <a:gd name="T35" fmla="*/ 72210386 h 42"/>
              <a:gd name="T36" fmla="*/ 4452100 w 79"/>
              <a:gd name="T37" fmla="*/ 68506521 h 42"/>
              <a:gd name="T38" fmla="*/ 2849344 w 79"/>
              <a:gd name="T39" fmla="*/ 59249582 h 42"/>
              <a:gd name="T40" fmla="*/ 1958924 w 79"/>
              <a:gd name="T41" fmla="*/ 48140711 h 42"/>
              <a:gd name="T42" fmla="*/ 890420 w 79"/>
              <a:gd name="T43" fmla="*/ 37030479 h 42"/>
              <a:gd name="T44" fmla="*/ 356168 w 79"/>
              <a:gd name="T45" fmla="*/ 25921607 h 42"/>
              <a:gd name="T46" fmla="*/ 0 w 79"/>
              <a:gd name="T47" fmla="*/ 16663307 h 42"/>
              <a:gd name="T48" fmla="*/ 0 w 79"/>
              <a:gd name="T49" fmla="*/ 11108871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07" name="Freeform 498">
            <a:extLst>
              <a:ext uri="{FF2B5EF4-FFF2-40B4-BE49-F238E27FC236}">
                <a16:creationId xmlns:a16="http://schemas.microsoft.com/office/drawing/2014/main" id="{ED815B0A-6C11-4C75-8608-50BEF4004BB7}"/>
              </a:ext>
            </a:extLst>
          </p:cNvPr>
          <p:cNvSpPr>
            <a:spLocks/>
          </p:cNvSpPr>
          <p:nvPr>
            <p:custDataLst>
              <p:tags r:id="rId336"/>
            </p:custDataLst>
          </p:nvPr>
        </p:nvSpPr>
        <p:spPr bwMode="auto">
          <a:xfrm>
            <a:off x="8630980" y="1355461"/>
            <a:ext cx="73111" cy="77247"/>
          </a:xfrm>
          <a:custGeom>
            <a:avLst/>
            <a:gdLst>
              <a:gd name="T0" fmla="*/ 24286706 w 113"/>
              <a:gd name="T1" fmla="*/ 49762382 h 52"/>
              <a:gd name="T2" fmla="*/ 24071595 w 113"/>
              <a:gd name="T3" fmla="*/ 53589388 h 52"/>
              <a:gd name="T4" fmla="*/ 23427188 w 113"/>
              <a:gd name="T5" fmla="*/ 57417525 h 52"/>
              <a:gd name="T6" fmla="*/ 22782318 w 113"/>
              <a:gd name="T7" fmla="*/ 59969239 h 52"/>
              <a:gd name="T8" fmla="*/ 22137448 w 113"/>
              <a:gd name="T9" fmla="*/ 62520953 h 52"/>
              <a:gd name="T10" fmla="*/ 20203302 w 113"/>
              <a:gd name="T11" fmla="*/ 65072667 h 52"/>
              <a:gd name="T12" fmla="*/ 18268691 w 113"/>
              <a:gd name="T13" fmla="*/ 66349089 h 52"/>
              <a:gd name="T14" fmla="*/ 14185287 w 113"/>
              <a:gd name="T15" fmla="*/ 66349089 h 52"/>
              <a:gd name="T16" fmla="*/ 11391159 w 113"/>
              <a:gd name="T17" fmla="*/ 65072667 h 52"/>
              <a:gd name="T18" fmla="*/ 10101419 w 113"/>
              <a:gd name="T19" fmla="*/ 65072667 h 52"/>
              <a:gd name="T20" fmla="*/ 8381920 w 113"/>
              <a:gd name="T21" fmla="*/ 61245661 h 52"/>
              <a:gd name="T22" fmla="*/ 6447773 w 113"/>
              <a:gd name="T23" fmla="*/ 57417525 h 52"/>
              <a:gd name="T24" fmla="*/ 4513627 w 113"/>
              <a:gd name="T25" fmla="*/ 52314096 h 52"/>
              <a:gd name="T26" fmla="*/ 2794128 w 113"/>
              <a:gd name="T27" fmla="*/ 45934246 h 52"/>
              <a:gd name="T28" fmla="*/ 1289740 w 113"/>
              <a:gd name="T29" fmla="*/ 39554395 h 52"/>
              <a:gd name="T30" fmla="*/ 859518 w 113"/>
              <a:gd name="T31" fmla="*/ 35726259 h 52"/>
              <a:gd name="T32" fmla="*/ 429759 w 113"/>
              <a:gd name="T33" fmla="*/ 31898123 h 52"/>
              <a:gd name="T34" fmla="*/ 215111 w 113"/>
              <a:gd name="T35" fmla="*/ 28071116 h 52"/>
              <a:gd name="T36" fmla="*/ 0 w 113"/>
              <a:gd name="T37" fmla="*/ 25519402 h 52"/>
              <a:gd name="T38" fmla="*/ 215111 w 113"/>
              <a:gd name="T39" fmla="*/ 19139551 h 52"/>
              <a:gd name="T40" fmla="*/ 215111 w 113"/>
              <a:gd name="T41" fmla="*/ 14034993 h 52"/>
              <a:gd name="T42" fmla="*/ 644870 w 113"/>
              <a:gd name="T43" fmla="*/ 10207987 h 52"/>
              <a:gd name="T44" fmla="*/ 1074629 w 113"/>
              <a:gd name="T45" fmla="*/ 6379850 h 52"/>
              <a:gd name="T46" fmla="*/ 1504388 w 113"/>
              <a:gd name="T47" fmla="*/ 3828136 h 52"/>
              <a:gd name="T48" fmla="*/ 2149258 w 113"/>
              <a:gd name="T49" fmla="*/ 2551714 h 52"/>
              <a:gd name="T50" fmla="*/ 3008775 w 113"/>
              <a:gd name="T51" fmla="*/ 1276422 h 52"/>
              <a:gd name="T52" fmla="*/ 3653646 w 113"/>
              <a:gd name="T53" fmla="*/ 0 h 52"/>
              <a:gd name="T54" fmla="*/ 5588256 w 113"/>
              <a:gd name="T55" fmla="*/ 0 h 52"/>
              <a:gd name="T56" fmla="*/ 7737514 w 113"/>
              <a:gd name="T57" fmla="*/ 2551714 h 52"/>
              <a:gd name="T58" fmla="*/ 9886771 w 113"/>
              <a:gd name="T59" fmla="*/ 6379850 h 52"/>
              <a:gd name="T60" fmla="*/ 12250677 w 113"/>
              <a:gd name="T61" fmla="*/ 11483279 h 52"/>
              <a:gd name="T62" fmla="*/ 16549192 w 113"/>
              <a:gd name="T63" fmla="*/ 22966558 h 52"/>
              <a:gd name="T64" fmla="*/ 20417949 w 113"/>
              <a:gd name="T65" fmla="*/ 37002681 h 52"/>
              <a:gd name="T66" fmla="*/ 23212077 w 113"/>
              <a:gd name="T67" fmla="*/ 45934246 h 52"/>
              <a:gd name="T68" fmla="*/ 24286706 w 113"/>
              <a:gd name="T69" fmla="*/ 49762382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08" name="Freeform 499">
            <a:extLst>
              <a:ext uri="{FF2B5EF4-FFF2-40B4-BE49-F238E27FC236}">
                <a16:creationId xmlns:a16="http://schemas.microsoft.com/office/drawing/2014/main" id="{CFDA9EC7-C57B-4756-AD27-5A95F5B4781C}"/>
              </a:ext>
            </a:extLst>
          </p:cNvPr>
          <p:cNvSpPr>
            <a:spLocks/>
          </p:cNvSpPr>
          <p:nvPr>
            <p:custDataLst>
              <p:tags r:id="rId337"/>
            </p:custDataLst>
          </p:nvPr>
        </p:nvSpPr>
        <p:spPr bwMode="auto">
          <a:xfrm>
            <a:off x="8313464" y="1320903"/>
            <a:ext cx="85645" cy="75216"/>
          </a:xfrm>
          <a:custGeom>
            <a:avLst/>
            <a:gdLst>
              <a:gd name="T0" fmla="*/ 0 w 139"/>
              <a:gd name="T1" fmla="*/ 17249588 h 40"/>
              <a:gd name="T2" fmla="*/ 1586996 w 139"/>
              <a:gd name="T3" fmla="*/ 19406705 h 40"/>
              <a:gd name="T4" fmla="*/ 3769505 w 139"/>
              <a:gd name="T5" fmla="*/ 17249588 h 40"/>
              <a:gd name="T6" fmla="*/ 5951569 w 139"/>
              <a:gd name="T7" fmla="*/ 15093941 h 40"/>
              <a:gd name="T8" fmla="*/ 8332286 w 139"/>
              <a:gd name="T9" fmla="*/ 10781176 h 40"/>
              <a:gd name="T10" fmla="*/ 10514796 w 139"/>
              <a:gd name="T11" fmla="*/ 4312764 h 40"/>
              <a:gd name="T12" fmla="*/ 12696860 w 139"/>
              <a:gd name="T13" fmla="*/ 2155648 h 40"/>
              <a:gd name="T14" fmla="*/ 14482508 w 139"/>
              <a:gd name="T15" fmla="*/ 0 h 40"/>
              <a:gd name="T16" fmla="*/ 15871297 w 139"/>
              <a:gd name="T17" fmla="*/ 4312764 h 40"/>
              <a:gd name="T18" fmla="*/ 27576228 w 139"/>
              <a:gd name="T19" fmla="*/ 84095231 h 40"/>
              <a:gd name="T20" fmla="*/ 26386093 w 139"/>
              <a:gd name="T21" fmla="*/ 86250879 h 40"/>
              <a:gd name="T22" fmla="*/ 24798651 w 139"/>
              <a:gd name="T23" fmla="*/ 84095231 h 40"/>
              <a:gd name="T24" fmla="*/ 23013448 w 139"/>
              <a:gd name="T25" fmla="*/ 81938115 h 40"/>
              <a:gd name="T26" fmla="*/ 21029146 w 139"/>
              <a:gd name="T27" fmla="*/ 77625351 h 40"/>
              <a:gd name="T28" fmla="*/ 17061433 w 139"/>
              <a:gd name="T29" fmla="*/ 64688527 h 40"/>
              <a:gd name="T30" fmla="*/ 12696860 w 139"/>
              <a:gd name="T31" fmla="*/ 51750234 h 40"/>
              <a:gd name="T32" fmla="*/ 8729147 w 139"/>
              <a:gd name="T33" fmla="*/ 34500645 h 40"/>
              <a:gd name="T34" fmla="*/ 5158294 w 139"/>
              <a:gd name="T35" fmla="*/ 23719469 h 40"/>
              <a:gd name="T36" fmla="*/ 3372645 w 139"/>
              <a:gd name="T37" fmla="*/ 19406705 h 40"/>
              <a:gd name="T38" fmla="*/ 2182509 w 139"/>
              <a:gd name="T39" fmla="*/ 15093941 h 40"/>
              <a:gd name="T40" fmla="*/ 793721 w 139"/>
              <a:gd name="T41" fmla="*/ 15093941 h 40"/>
              <a:gd name="T42" fmla="*/ 0 w 139"/>
              <a:gd name="T43" fmla="*/ 17249588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09" name="Freeform 500">
            <a:extLst>
              <a:ext uri="{FF2B5EF4-FFF2-40B4-BE49-F238E27FC236}">
                <a16:creationId xmlns:a16="http://schemas.microsoft.com/office/drawing/2014/main" id="{6E6DF2E7-FBDB-431E-9772-3CFBC282AC02}"/>
              </a:ext>
            </a:extLst>
          </p:cNvPr>
          <p:cNvSpPr>
            <a:spLocks/>
          </p:cNvSpPr>
          <p:nvPr>
            <p:custDataLst>
              <p:tags r:id="rId338"/>
            </p:custDataLst>
          </p:nvPr>
        </p:nvSpPr>
        <p:spPr bwMode="auto">
          <a:xfrm>
            <a:off x="8731249" y="1243655"/>
            <a:ext cx="194269" cy="75216"/>
          </a:xfrm>
          <a:custGeom>
            <a:avLst/>
            <a:gdLst>
              <a:gd name="T0" fmla="*/ 1847479 w 325"/>
              <a:gd name="T1" fmla="*/ 4535778 h 71"/>
              <a:gd name="T2" fmla="*/ 5727700 w 325"/>
              <a:gd name="T3" fmla="*/ 647968 h 71"/>
              <a:gd name="T4" fmla="*/ 9792755 w 325"/>
              <a:gd name="T5" fmla="*/ 0 h 71"/>
              <a:gd name="T6" fmla="*/ 13488142 w 325"/>
              <a:gd name="T7" fmla="*/ 2591873 h 71"/>
              <a:gd name="T8" fmla="*/ 16998696 w 325"/>
              <a:gd name="T9" fmla="*/ 6478878 h 71"/>
              <a:gd name="T10" fmla="*/ 20324416 w 325"/>
              <a:gd name="T11" fmla="*/ 11662625 h 71"/>
              <a:gd name="T12" fmla="*/ 22541562 w 325"/>
              <a:gd name="T13" fmla="*/ 18789471 h 71"/>
              <a:gd name="T14" fmla="*/ 24019803 w 325"/>
              <a:gd name="T15" fmla="*/ 24620381 h 71"/>
              <a:gd name="T16" fmla="*/ 25128376 w 325"/>
              <a:gd name="T17" fmla="*/ 22029313 h 71"/>
              <a:gd name="T18" fmla="*/ 25682878 w 325"/>
              <a:gd name="T19" fmla="*/ 9718720 h 71"/>
              <a:gd name="T20" fmla="*/ 29747503 w 325"/>
              <a:gd name="T21" fmla="*/ 4535778 h 71"/>
              <a:gd name="T22" fmla="*/ 39909926 w 325"/>
              <a:gd name="T23" fmla="*/ 8422783 h 71"/>
              <a:gd name="T24" fmla="*/ 47669938 w 325"/>
              <a:gd name="T25" fmla="*/ 14901661 h 71"/>
              <a:gd name="T26" fmla="*/ 52289065 w 325"/>
              <a:gd name="T27" fmla="*/ 20733376 h 71"/>
              <a:gd name="T28" fmla="*/ 56354120 w 325"/>
              <a:gd name="T29" fmla="*/ 27860223 h 71"/>
              <a:gd name="T30" fmla="*/ 59125768 w 325"/>
              <a:gd name="T31" fmla="*/ 35635037 h 71"/>
              <a:gd name="T32" fmla="*/ 58386433 w 325"/>
              <a:gd name="T33" fmla="*/ 41465947 h 71"/>
              <a:gd name="T34" fmla="*/ 54321808 w 325"/>
              <a:gd name="T35" fmla="*/ 44057820 h 71"/>
              <a:gd name="T36" fmla="*/ 47854772 w 325"/>
              <a:gd name="T37" fmla="*/ 46001725 h 71"/>
              <a:gd name="T38" fmla="*/ 38801353 w 325"/>
              <a:gd name="T39" fmla="*/ 45353757 h 71"/>
              <a:gd name="T40" fmla="*/ 30856076 w 325"/>
              <a:gd name="T41" fmla="*/ 44057820 h 71"/>
              <a:gd name="T42" fmla="*/ 24574305 w 325"/>
              <a:gd name="T43" fmla="*/ 44705789 h 71"/>
              <a:gd name="T44" fmla="*/ 16629028 w 325"/>
              <a:gd name="T45" fmla="*/ 46001725 h 71"/>
              <a:gd name="T46" fmla="*/ 13303309 w 325"/>
              <a:gd name="T47" fmla="*/ 44057820 h 71"/>
              <a:gd name="T48" fmla="*/ 12379569 w 325"/>
              <a:gd name="T49" fmla="*/ 41465947 h 71"/>
              <a:gd name="T50" fmla="*/ 10716494 w 325"/>
              <a:gd name="T51" fmla="*/ 39522847 h 71"/>
              <a:gd name="T52" fmla="*/ 8499348 w 325"/>
              <a:gd name="T53" fmla="*/ 38226911 h 71"/>
              <a:gd name="T54" fmla="*/ 6467035 w 325"/>
              <a:gd name="T55" fmla="*/ 34339101 h 71"/>
              <a:gd name="T56" fmla="*/ 4619127 w 325"/>
              <a:gd name="T57" fmla="*/ 29156159 h 71"/>
              <a:gd name="T58" fmla="*/ 2956482 w 325"/>
              <a:gd name="T59" fmla="*/ 25268349 h 71"/>
              <a:gd name="T60" fmla="*/ 1108573 w 325"/>
              <a:gd name="T61" fmla="*/ 23972413 h 71"/>
              <a:gd name="T62" fmla="*/ 0 w 325"/>
              <a:gd name="T63" fmla="*/ 14253693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10" name="Freeform 501">
            <a:extLst>
              <a:ext uri="{FF2B5EF4-FFF2-40B4-BE49-F238E27FC236}">
                <a16:creationId xmlns:a16="http://schemas.microsoft.com/office/drawing/2014/main" id="{00B41504-046E-4DAD-8943-9ED431C656EC}"/>
              </a:ext>
            </a:extLst>
          </p:cNvPr>
          <p:cNvSpPr>
            <a:spLocks/>
          </p:cNvSpPr>
          <p:nvPr>
            <p:custDataLst>
              <p:tags r:id="rId339"/>
            </p:custDataLst>
          </p:nvPr>
        </p:nvSpPr>
        <p:spPr bwMode="auto">
          <a:xfrm>
            <a:off x="8954764" y="1253819"/>
            <a:ext cx="131603" cy="75213"/>
          </a:xfrm>
          <a:custGeom>
            <a:avLst/>
            <a:gdLst>
              <a:gd name="T0" fmla="*/ 16308099 w 220"/>
              <a:gd name="T1" fmla="*/ 15751175 h 72"/>
              <a:gd name="T2" fmla="*/ 17245445 w 220"/>
              <a:gd name="T3" fmla="*/ 16381413 h 72"/>
              <a:gd name="T4" fmla="*/ 18370261 w 220"/>
              <a:gd name="T5" fmla="*/ 17010856 h 72"/>
              <a:gd name="T6" fmla="*/ 18932236 w 220"/>
              <a:gd name="T7" fmla="*/ 17641094 h 72"/>
              <a:gd name="T8" fmla="*/ 19494644 w 220"/>
              <a:gd name="T9" fmla="*/ 17010856 h 72"/>
              <a:gd name="T10" fmla="*/ 20431991 w 220"/>
              <a:gd name="T11" fmla="*/ 17010856 h 72"/>
              <a:gd name="T12" fmla="*/ 21181868 w 220"/>
              <a:gd name="T13" fmla="*/ 15751175 h 72"/>
              <a:gd name="T14" fmla="*/ 21369338 w 220"/>
              <a:gd name="T15" fmla="*/ 16381413 h 72"/>
              <a:gd name="T16" fmla="*/ 21556807 w 220"/>
              <a:gd name="T17" fmla="*/ 16381413 h 72"/>
              <a:gd name="T18" fmla="*/ 21744276 w 220"/>
              <a:gd name="T19" fmla="*/ 15751175 h 72"/>
              <a:gd name="T20" fmla="*/ 21931745 w 220"/>
              <a:gd name="T21" fmla="*/ 15751175 h 72"/>
              <a:gd name="T22" fmla="*/ 22306684 w 220"/>
              <a:gd name="T23" fmla="*/ 13861256 h 72"/>
              <a:gd name="T24" fmla="*/ 22494153 w 220"/>
              <a:gd name="T25" fmla="*/ 10710863 h 72"/>
              <a:gd name="T26" fmla="*/ 22494153 w 220"/>
              <a:gd name="T27" fmla="*/ 4410075 h 72"/>
              <a:gd name="T28" fmla="*/ 22494153 w 220"/>
              <a:gd name="T29" fmla="*/ 0 h 72"/>
              <a:gd name="T30" fmla="*/ 23431067 w 220"/>
              <a:gd name="T31" fmla="*/ 3150394 h 72"/>
              <a:gd name="T32" fmla="*/ 24555883 w 220"/>
              <a:gd name="T33" fmla="*/ 6300788 h 72"/>
              <a:gd name="T34" fmla="*/ 25680699 w 220"/>
              <a:gd name="T35" fmla="*/ 9450388 h 72"/>
              <a:gd name="T36" fmla="*/ 26805515 w 220"/>
              <a:gd name="T37" fmla="*/ 11970544 h 72"/>
              <a:gd name="T38" fmla="*/ 29242183 w 220"/>
              <a:gd name="T39" fmla="*/ 15751175 h 72"/>
              <a:gd name="T40" fmla="*/ 31866320 w 220"/>
              <a:gd name="T41" fmla="*/ 18901569 h 72"/>
              <a:gd name="T42" fmla="*/ 34303422 w 220"/>
              <a:gd name="T43" fmla="*/ 22051169 h 72"/>
              <a:gd name="T44" fmla="*/ 36740090 w 220"/>
              <a:gd name="T45" fmla="*/ 25831800 h 72"/>
              <a:gd name="T46" fmla="*/ 38052375 w 220"/>
              <a:gd name="T47" fmla="*/ 27721719 h 72"/>
              <a:gd name="T48" fmla="*/ 39177191 w 220"/>
              <a:gd name="T49" fmla="*/ 29611638 h 72"/>
              <a:gd name="T50" fmla="*/ 40114105 w 220"/>
              <a:gd name="T51" fmla="*/ 32131794 h 72"/>
              <a:gd name="T52" fmla="*/ 41238920 w 220"/>
              <a:gd name="T53" fmla="*/ 34651950 h 72"/>
              <a:gd name="T54" fmla="*/ 38614783 w 220"/>
              <a:gd name="T55" fmla="*/ 35282188 h 72"/>
              <a:gd name="T56" fmla="*/ 36365151 w 220"/>
              <a:gd name="T57" fmla="*/ 35912425 h 72"/>
              <a:gd name="T58" fmla="*/ 34115952 w 220"/>
              <a:gd name="T59" fmla="*/ 36542663 h 72"/>
              <a:gd name="T60" fmla="*/ 32053790 w 220"/>
              <a:gd name="T61" fmla="*/ 37802344 h 72"/>
              <a:gd name="T62" fmla="*/ 28304836 w 220"/>
              <a:gd name="T63" fmla="*/ 40952738 h 72"/>
              <a:gd name="T64" fmla="*/ 25118291 w 220"/>
              <a:gd name="T65" fmla="*/ 44103131 h 72"/>
              <a:gd name="T66" fmla="*/ 23618536 w 220"/>
              <a:gd name="T67" fmla="*/ 44732575 h 72"/>
              <a:gd name="T68" fmla="*/ 21931745 w 220"/>
              <a:gd name="T69" fmla="*/ 45362813 h 72"/>
              <a:gd name="T70" fmla="*/ 20619460 w 220"/>
              <a:gd name="T71" fmla="*/ 45362813 h 72"/>
              <a:gd name="T72" fmla="*/ 19307175 w 220"/>
              <a:gd name="T73" fmla="*/ 45362813 h 72"/>
              <a:gd name="T74" fmla="*/ 17807853 w 220"/>
              <a:gd name="T75" fmla="*/ 44103131 h 72"/>
              <a:gd name="T76" fmla="*/ 16495568 w 220"/>
              <a:gd name="T77" fmla="*/ 41582975 h 72"/>
              <a:gd name="T78" fmla="*/ 15183283 w 220"/>
              <a:gd name="T79" fmla="*/ 38432581 h 72"/>
              <a:gd name="T80" fmla="*/ 13871431 w 220"/>
              <a:gd name="T81" fmla="*/ 34651950 h 72"/>
              <a:gd name="T82" fmla="*/ 11059391 w 220"/>
              <a:gd name="T83" fmla="*/ 33392269 h 72"/>
              <a:gd name="T84" fmla="*/ 8435253 w 220"/>
              <a:gd name="T85" fmla="*/ 31502350 h 72"/>
              <a:gd name="T86" fmla="*/ 6186055 w 220"/>
              <a:gd name="T87" fmla="*/ 29611638 h 72"/>
              <a:gd name="T88" fmla="*/ 4123892 w 220"/>
              <a:gd name="T89" fmla="*/ 27091481 h 72"/>
              <a:gd name="T90" fmla="*/ 3374015 w 220"/>
              <a:gd name="T91" fmla="*/ 25831800 h 72"/>
              <a:gd name="T92" fmla="*/ 2436668 w 220"/>
              <a:gd name="T93" fmla="*/ 23941881 h 72"/>
              <a:gd name="T94" fmla="*/ 1687224 w 220"/>
              <a:gd name="T95" fmla="*/ 22051169 h 72"/>
              <a:gd name="T96" fmla="*/ 1312285 w 220"/>
              <a:gd name="T97" fmla="*/ 19531013 h 72"/>
              <a:gd name="T98" fmla="*/ 562408 w 220"/>
              <a:gd name="T99" fmla="*/ 17010856 h 72"/>
              <a:gd name="T100" fmla="*/ 374939 w 220"/>
              <a:gd name="T101" fmla="*/ 14490700 h 72"/>
              <a:gd name="T102" fmla="*/ 187469 w 220"/>
              <a:gd name="T103" fmla="*/ 11341100 h 72"/>
              <a:gd name="T104" fmla="*/ 0 w 220"/>
              <a:gd name="T105" fmla="*/ 8190706 h 72"/>
              <a:gd name="T106" fmla="*/ 4311361 w 220"/>
              <a:gd name="T107" fmla="*/ 10710863 h 72"/>
              <a:gd name="T108" fmla="*/ 8247784 w 220"/>
              <a:gd name="T109" fmla="*/ 13231019 h 72"/>
              <a:gd name="T110" fmla="*/ 11996738 w 220"/>
              <a:gd name="T111" fmla="*/ 15120938 h 72"/>
              <a:gd name="T112" fmla="*/ 16308099 w 220"/>
              <a:gd name="T113" fmla="*/ 15751175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11" name="Freeform 502">
            <a:extLst>
              <a:ext uri="{FF2B5EF4-FFF2-40B4-BE49-F238E27FC236}">
                <a16:creationId xmlns:a16="http://schemas.microsoft.com/office/drawing/2014/main" id="{0566C2C3-ED9E-4084-8F30-1963B679BA9B}"/>
              </a:ext>
            </a:extLst>
          </p:cNvPr>
          <p:cNvSpPr>
            <a:spLocks/>
          </p:cNvSpPr>
          <p:nvPr>
            <p:custDataLst>
              <p:tags r:id="rId340"/>
            </p:custDataLst>
          </p:nvPr>
        </p:nvSpPr>
        <p:spPr bwMode="auto">
          <a:xfrm>
            <a:off x="8898363" y="1316837"/>
            <a:ext cx="89823" cy="75216"/>
          </a:xfrm>
          <a:custGeom>
            <a:avLst/>
            <a:gdLst>
              <a:gd name="T0" fmla="*/ 27618151 w 146"/>
              <a:gd name="T1" fmla="*/ 95835289 h 30"/>
              <a:gd name="T2" fmla="*/ 26482979 w 146"/>
              <a:gd name="T3" fmla="*/ 61333175 h 30"/>
              <a:gd name="T4" fmla="*/ 25915829 w 146"/>
              <a:gd name="T5" fmla="*/ 34500156 h 30"/>
              <a:gd name="T6" fmla="*/ 25159048 w 146"/>
              <a:gd name="T7" fmla="*/ 15334273 h 30"/>
              <a:gd name="T8" fmla="*/ 24213072 w 146"/>
              <a:gd name="T9" fmla="*/ 3833568 h 30"/>
              <a:gd name="T10" fmla="*/ 23834682 w 146"/>
              <a:gd name="T11" fmla="*/ 3833568 h 30"/>
              <a:gd name="T12" fmla="*/ 23456726 w 146"/>
              <a:gd name="T13" fmla="*/ 3833568 h 30"/>
              <a:gd name="T14" fmla="*/ 22699945 w 146"/>
              <a:gd name="T15" fmla="*/ 7667136 h 30"/>
              <a:gd name="T16" fmla="*/ 22321555 w 146"/>
              <a:gd name="T17" fmla="*/ 11500705 h 30"/>
              <a:gd name="T18" fmla="*/ 21375579 w 146"/>
              <a:gd name="T19" fmla="*/ 34500156 h 30"/>
              <a:gd name="T20" fmla="*/ 19862452 w 146"/>
              <a:gd name="T21" fmla="*/ 72833880 h 30"/>
              <a:gd name="T22" fmla="*/ 13619880 w 146"/>
              <a:gd name="T23" fmla="*/ 72833880 h 30"/>
              <a:gd name="T24" fmla="*/ 11917558 w 146"/>
              <a:gd name="T25" fmla="*/ 69000312 h 30"/>
              <a:gd name="T26" fmla="*/ 10403997 w 146"/>
              <a:gd name="T27" fmla="*/ 65166744 h 30"/>
              <a:gd name="T28" fmla="*/ 8890870 w 146"/>
              <a:gd name="T29" fmla="*/ 53667997 h 30"/>
              <a:gd name="T30" fmla="*/ 7566503 w 146"/>
              <a:gd name="T31" fmla="*/ 46000861 h 30"/>
              <a:gd name="T32" fmla="*/ 5485791 w 146"/>
              <a:gd name="T33" fmla="*/ 22999451 h 30"/>
              <a:gd name="T34" fmla="*/ 3594274 w 146"/>
              <a:gd name="T35" fmla="*/ 0 h 30"/>
              <a:gd name="T36" fmla="*/ 2648298 w 146"/>
              <a:gd name="T37" fmla="*/ 34500156 h 30"/>
              <a:gd name="T38" fmla="*/ 1891517 w 146"/>
              <a:gd name="T39" fmla="*/ 57501565 h 30"/>
              <a:gd name="T40" fmla="*/ 756781 w 146"/>
              <a:gd name="T41" fmla="*/ 76667448 h 30"/>
              <a:gd name="T42" fmla="*/ 0 w 146"/>
              <a:gd name="T43" fmla="*/ 95835289 h 30"/>
              <a:gd name="T44" fmla="*/ 6242572 w 146"/>
              <a:gd name="T45" fmla="*/ 95835289 h 30"/>
              <a:gd name="T46" fmla="*/ 10782387 w 146"/>
              <a:gd name="T47" fmla="*/ 95835289 h 30"/>
              <a:gd name="T48" fmla="*/ 14565856 w 146"/>
              <a:gd name="T49" fmla="*/ 95835289 h 30"/>
              <a:gd name="T50" fmla="*/ 18727281 w 146"/>
              <a:gd name="T51" fmla="*/ 95835289 h 30"/>
              <a:gd name="T52" fmla="*/ 20807993 w 146"/>
              <a:gd name="T53" fmla="*/ 99666900 h 30"/>
              <a:gd name="T54" fmla="*/ 23267531 w 146"/>
              <a:gd name="T55" fmla="*/ 111167604 h 30"/>
              <a:gd name="T56" fmla="*/ 24213072 w 146"/>
              <a:gd name="T57" fmla="*/ 115001172 h 30"/>
              <a:gd name="T58" fmla="*/ 25537438 w 146"/>
              <a:gd name="T59" fmla="*/ 115001172 h 30"/>
              <a:gd name="T60" fmla="*/ 26482979 w 146"/>
              <a:gd name="T61" fmla="*/ 107334036 h 30"/>
              <a:gd name="T62" fmla="*/ 27618151 w 146"/>
              <a:gd name="T63" fmla="*/ 95835289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12" name="Freeform 503">
            <a:extLst>
              <a:ext uri="{FF2B5EF4-FFF2-40B4-BE49-F238E27FC236}">
                <a16:creationId xmlns:a16="http://schemas.microsoft.com/office/drawing/2014/main" id="{99E89DAF-0C42-414E-B5D5-3A77515A1377}"/>
              </a:ext>
            </a:extLst>
          </p:cNvPr>
          <p:cNvSpPr>
            <a:spLocks/>
          </p:cNvSpPr>
          <p:nvPr>
            <p:custDataLst>
              <p:tags r:id="rId341"/>
            </p:custDataLst>
          </p:nvPr>
        </p:nvSpPr>
        <p:spPr bwMode="auto">
          <a:xfrm>
            <a:off x="8871207" y="1312771"/>
            <a:ext cx="27156" cy="75216"/>
          </a:xfrm>
          <a:custGeom>
            <a:avLst/>
            <a:gdLst>
              <a:gd name="T0" fmla="*/ 0 w 53"/>
              <a:gd name="T1" fmla="*/ 383337241 h 9"/>
              <a:gd name="T2" fmla="*/ 2577289 w 53"/>
              <a:gd name="T3" fmla="*/ 383337241 h 9"/>
              <a:gd name="T4" fmla="*/ 4396849 w 53"/>
              <a:gd name="T5" fmla="*/ 383337241 h 9"/>
              <a:gd name="T6" fmla="*/ 6064552 w 53"/>
              <a:gd name="T7" fmla="*/ 383337241 h 9"/>
              <a:gd name="T8" fmla="*/ 8035581 w 53"/>
              <a:gd name="T9" fmla="*/ 383337241 h 9"/>
              <a:gd name="T10" fmla="*/ 6974138 w 53"/>
              <a:gd name="T11" fmla="*/ 255558161 h 9"/>
              <a:gd name="T12" fmla="*/ 5761227 w 53"/>
              <a:gd name="T13" fmla="*/ 127779080 h 9"/>
              <a:gd name="T14" fmla="*/ 4700174 w 53"/>
              <a:gd name="T15" fmla="*/ 42590851 h 9"/>
              <a:gd name="T16" fmla="*/ 3790199 w 53"/>
              <a:gd name="T17" fmla="*/ 0 h 9"/>
              <a:gd name="T18" fmla="*/ 2880614 w 53"/>
              <a:gd name="T19" fmla="*/ 0 h 9"/>
              <a:gd name="T20" fmla="*/ 2122496 w 53"/>
              <a:gd name="T21" fmla="*/ 0 h 9"/>
              <a:gd name="T22" fmla="*/ 1364378 w 53"/>
              <a:gd name="T23" fmla="*/ 42590851 h 9"/>
              <a:gd name="T24" fmla="*/ 909586 w 53"/>
              <a:gd name="T25" fmla="*/ 127779080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13" name="Line 504">
            <a:extLst>
              <a:ext uri="{FF2B5EF4-FFF2-40B4-BE49-F238E27FC236}">
                <a16:creationId xmlns:a16="http://schemas.microsoft.com/office/drawing/2014/main" id="{8ED5105A-17CB-4E7E-A3DF-007B947DD42C}"/>
              </a:ext>
            </a:extLst>
          </p:cNvPr>
          <p:cNvSpPr>
            <a:spLocks noChangeShapeType="1"/>
          </p:cNvSpPr>
          <p:nvPr>
            <p:custDataLst>
              <p:tags r:id="rId342"/>
            </p:custDataLst>
          </p:nvPr>
        </p:nvSpPr>
        <p:spPr bwMode="auto">
          <a:xfrm flipV="1">
            <a:off x="8873296" y="1310739"/>
            <a:ext cx="0" cy="2032"/>
          </a:xfrm>
          <a:prstGeom prst="line">
            <a:avLst/>
          </a:prstGeom>
          <a:noFill/>
          <a:ln w="952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14" name="Freeform 505">
            <a:extLst>
              <a:ext uri="{FF2B5EF4-FFF2-40B4-BE49-F238E27FC236}">
                <a16:creationId xmlns:a16="http://schemas.microsoft.com/office/drawing/2014/main" id="{11ADE5E0-C492-40DB-8110-B9A49345C629}"/>
              </a:ext>
            </a:extLst>
          </p:cNvPr>
          <p:cNvSpPr>
            <a:spLocks/>
          </p:cNvSpPr>
          <p:nvPr>
            <p:custDataLst>
              <p:tags r:id="rId343"/>
            </p:custDataLst>
          </p:nvPr>
        </p:nvSpPr>
        <p:spPr bwMode="auto">
          <a:xfrm>
            <a:off x="7718120" y="1217229"/>
            <a:ext cx="14623" cy="73182"/>
          </a:xfrm>
          <a:custGeom>
            <a:avLst/>
            <a:gdLst>
              <a:gd name="T0" fmla="*/ 0 w 26"/>
              <a:gd name="T1" fmla="*/ 123485434 h 25"/>
              <a:gd name="T2" fmla="*/ 913321 w 26"/>
              <a:gd name="T3" fmla="*/ 83969739 h 25"/>
              <a:gd name="T4" fmla="*/ 2374549 w 26"/>
              <a:gd name="T5" fmla="*/ 39515694 h 25"/>
              <a:gd name="T6" fmla="*/ 2922456 w 26"/>
              <a:gd name="T7" fmla="*/ 24696198 h 25"/>
              <a:gd name="T8" fmla="*/ 3653284 w 26"/>
              <a:gd name="T9" fmla="*/ 9878924 h 25"/>
              <a:gd name="T10" fmla="*/ 4201191 w 26"/>
              <a:gd name="T11" fmla="*/ 4938351 h 25"/>
              <a:gd name="T12" fmla="*/ 4749098 w 26"/>
              <a:gd name="T13" fmla="*/ 0 h 25"/>
              <a:gd name="T14" fmla="*/ 4749098 w 26"/>
              <a:gd name="T15" fmla="*/ 123485434 h 25"/>
              <a:gd name="T16" fmla="*/ 3653284 w 26"/>
              <a:gd name="T17" fmla="*/ 123485434 h 25"/>
              <a:gd name="T18" fmla="*/ 2374549 w 26"/>
              <a:gd name="T19" fmla="*/ 123485434 h 25"/>
              <a:gd name="T20" fmla="*/ 0 w 26"/>
              <a:gd name="T21" fmla="*/ 123485434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15" name="Freeform 506">
            <a:extLst>
              <a:ext uri="{FF2B5EF4-FFF2-40B4-BE49-F238E27FC236}">
                <a16:creationId xmlns:a16="http://schemas.microsoft.com/office/drawing/2014/main" id="{7FA4A160-D7C1-4AE3-9921-D397B7C50082}"/>
              </a:ext>
            </a:extLst>
          </p:cNvPr>
          <p:cNvSpPr>
            <a:spLocks/>
          </p:cNvSpPr>
          <p:nvPr>
            <p:custDataLst>
              <p:tags r:id="rId344"/>
            </p:custDataLst>
          </p:nvPr>
        </p:nvSpPr>
        <p:spPr bwMode="auto">
          <a:xfrm>
            <a:off x="8760493" y="1310739"/>
            <a:ext cx="12534" cy="73182"/>
          </a:xfrm>
          <a:custGeom>
            <a:avLst/>
            <a:gdLst>
              <a:gd name="T0" fmla="*/ 2749261 w 33"/>
              <a:gd name="T1" fmla="*/ 130644900 h 25"/>
              <a:gd name="T2" fmla="*/ 2749261 w 33"/>
              <a:gd name="T3" fmla="*/ 62709552 h 25"/>
              <a:gd name="T4" fmla="*/ 2749261 w 33"/>
              <a:gd name="T5" fmla="*/ 0 h 25"/>
              <a:gd name="T6" fmla="*/ 0 w 33"/>
              <a:gd name="T7" fmla="*/ 0 h 25"/>
              <a:gd name="T8" fmla="*/ 749877 w 33"/>
              <a:gd name="T9" fmla="*/ 47032164 h 25"/>
              <a:gd name="T10" fmla="*/ 1332923 w 33"/>
              <a:gd name="T11" fmla="*/ 88838532 h 25"/>
              <a:gd name="T12" fmla="*/ 1666298 w 33"/>
              <a:gd name="T13" fmla="*/ 104515920 h 25"/>
              <a:gd name="T14" fmla="*/ 1999384 w 33"/>
              <a:gd name="T15" fmla="*/ 120193308 h 25"/>
              <a:gd name="T16" fmla="*/ 2332759 w 33"/>
              <a:gd name="T17" fmla="*/ 125419104 h 25"/>
              <a:gd name="T18" fmla="*/ 2749261 w 33"/>
              <a:gd name="T19" fmla="*/ 130644900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16" name="Freeform 507">
            <a:extLst>
              <a:ext uri="{FF2B5EF4-FFF2-40B4-BE49-F238E27FC236}">
                <a16:creationId xmlns:a16="http://schemas.microsoft.com/office/drawing/2014/main" id="{8F554081-A964-4511-9F9E-AF907EE85503}"/>
              </a:ext>
            </a:extLst>
          </p:cNvPr>
          <p:cNvSpPr>
            <a:spLocks/>
          </p:cNvSpPr>
          <p:nvPr>
            <p:custDataLst>
              <p:tags r:id="rId345"/>
            </p:custDataLst>
          </p:nvPr>
        </p:nvSpPr>
        <p:spPr bwMode="auto">
          <a:xfrm>
            <a:off x="8695736" y="1261951"/>
            <a:ext cx="12534" cy="75213"/>
          </a:xfrm>
          <a:custGeom>
            <a:avLst/>
            <a:gdLst>
              <a:gd name="T0" fmla="*/ 0 w 20"/>
              <a:gd name="T1" fmla="*/ 0 h 18"/>
              <a:gd name="T2" fmla="*/ 2948464 w 20"/>
              <a:gd name="T3" fmla="*/ 181451250 h 18"/>
              <a:gd name="T4" fmla="*/ 3629025 w 20"/>
              <a:gd name="T5" fmla="*/ 110886875 h 18"/>
              <a:gd name="T6" fmla="*/ 4536281 w 20"/>
              <a:gd name="T7" fmla="*/ 0 h 18"/>
              <a:gd name="T8" fmla="*/ 0 w 20"/>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18">
                <a:moveTo>
                  <a:pt x="0" y="0"/>
                </a:moveTo>
                <a:lnTo>
                  <a:pt x="13" y="18"/>
                </a:lnTo>
                <a:lnTo>
                  <a:pt x="16" y="11"/>
                </a:lnTo>
                <a:lnTo>
                  <a:pt x="20" y="0"/>
                </a:lnTo>
                <a:lnTo>
                  <a:pt x="0" y="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17" name="Freeform 508">
            <a:extLst>
              <a:ext uri="{FF2B5EF4-FFF2-40B4-BE49-F238E27FC236}">
                <a16:creationId xmlns:a16="http://schemas.microsoft.com/office/drawing/2014/main" id="{E8B2BE9C-9570-4792-9832-9B369473C165}"/>
              </a:ext>
            </a:extLst>
          </p:cNvPr>
          <p:cNvSpPr>
            <a:spLocks/>
          </p:cNvSpPr>
          <p:nvPr>
            <p:custDataLst>
              <p:tags r:id="rId346"/>
            </p:custDataLst>
          </p:nvPr>
        </p:nvSpPr>
        <p:spPr bwMode="auto">
          <a:xfrm>
            <a:off x="9391349" y="2003932"/>
            <a:ext cx="18800" cy="77247"/>
          </a:xfrm>
          <a:custGeom>
            <a:avLst/>
            <a:gdLst>
              <a:gd name="T0" fmla="*/ 0 w 33"/>
              <a:gd name="T1" fmla="*/ 111295247 h 31"/>
              <a:gd name="T2" fmla="*/ 0 w 33"/>
              <a:gd name="T3" fmla="*/ 0 h 31"/>
              <a:gd name="T4" fmla="*/ 1333115 w 33"/>
              <a:gd name="T5" fmla="*/ 0 h 31"/>
              <a:gd name="T6" fmla="*/ 2369897 w 33"/>
              <a:gd name="T7" fmla="*/ 0 h 31"/>
              <a:gd name="T8" fmla="*/ 3554461 w 33"/>
              <a:gd name="T9" fmla="*/ 0 h 31"/>
              <a:gd name="T10" fmla="*/ 4887576 w 33"/>
              <a:gd name="T11" fmla="*/ 0 h 31"/>
              <a:gd name="T12" fmla="*/ 4443076 w 33"/>
              <a:gd name="T13" fmla="*/ 7181194 h 31"/>
              <a:gd name="T14" fmla="*/ 4295294 w 33"/>
              <a:gd name="T15" fmla="*/ 17951091 h 31"/>
              <a:gd name="T16" fmla="*/ 4147127 w 33"/>
              <a:gd name="T17" fmla="*/ 32311584 h 31"/>
              <a:gd name="T18" fmla="*/ 4147127 w 33"/>
              <a:gd name="T19" fmla="*/ 46672078 h 31"/>
              <a:gd name="T20" fmla="*/ 4147127 w 33"/>
              <a:gd name="T21" fmla="*/ 61032572 h 31"/>
              <a:gd name="T22" fmla="*/ 4295294 w 33"/>
              <a:gd name="T23" fmla="*/ 75393065 h 31"/>
              <a:gd name="T24" fmla="*/ 4443076 w 33"/>
              <a:gd name="T25" fmla="*/ 93344156 h 31"/>
              <a:gd name="T26" fmla="*/ 4887576 w 33"/>
              <a:gd name="T27" fmla="*/ 111295247 h 31"/>
              <a:gd name="T28" fmla="*/ 0 w 33"/>
              <a:gd name="T29" fmla="*/ 1112952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18" name="Freeform 509">
            <a:extLst>
              <a:ext uri="{FF2B5EF4-FFF2-40B4-BE49-F238E27FC236}">
                <a16:creationId xmlns:a16="http://schemas.microsoft.com/office/drawing/2014/main" id="{5E4C0680-D111-4CAE-A712-4FF07C416D35}"/>
              </a:ext>
            </a:extLst>
          </p:cNvPr>
          <p:cNvSpPr>
            <a:spLocks/>
          </p:cNvSpPr>
          <p:nvPr>
            <p:custDataLst>
              <p:tags r:id="rId347"/>
            </p:custDataLst>
          </p:nvPr>
        </p:nvSpPr>
        <p:spPr bwMode="auto">
          <a:xfrm>
            <a:off x="9800779" y="1381887"/>
            <a:ext cx="77290" cy="77247"/>
          </a:xfrm>
          <a:custGeom>
            <a:avLst/>
            <a:gdLst>
              <a:gd name="T0" fmla="*/ 556491 w 129"/>
              <a:gd name="T1" fmla="*/ 48406630 h 56"/>
              <a:gd name="T2" fmla="*/ 185641 w 129"/>
              <a:gd name="T3" fmla="*/ 46206090 h 56"/>
              <a:gd name="T4" fmla="*/ 185641 w 129"/>
              <a:gd name="T5" fmla="*/ 44005551 h 56"/>
              <a:gd name="T6" fmla="*/ 0 w 129"/>
              <a:gd name="T7" fmla="*/ 40704741 h 56"/>
              <a:gd name="T8" fmla="*/ 185641 w 129"/>
              <a:gd name="T9" fmla="*/ 36304710 h 56"/>
              <a:gd name="T10" fmla="*/ 370851 w 129"/>
              <a:gd name="T11" fmla="*/ 27503600 h 56"/>
              <a:gd name="T12" fmla="*/ 556491 w 129"/>
              <a:gd name="T13" fmla="*/ 19802760 h 56"/>
              <a:gd name="T14" fmla="*/ 1669474 w 129"/>
              <a:gd name="T15" fmla="*/ 14301411 h 56"/>
              <a:gd name="T16" fmla="*/ 2968529 w 129"/>
              <a:gd name="T17" fmla="*/ 9901380 h 56"/>
              <a:gd name="T18" fmla="*/ 3895871 w 129"/>
              <a:gd name="T19" fmla="*/ 6600570 h 56"/>
              <a:gd name="T20" fmla="*/ 5008854 w 129"/>
              <a:gd name="T21" fmla="*/ 5500301 h 56"/>
              <a:gd name="T22" fmla="*/ 7235250 w 129"/>
              <a:gd name="T23" fmla="*/ 3300810 h 56"/>
              <a:gd name="T24" fmla="*/ 10574630 w 129"/>
              <a:gd name="T25" fmla="*/ 0 h 56"/>
              <a:gd name="T26" fmla="*/ 11131121 w 129"/>
              <a:gd name="T27" fmla="*/ 5500301 h 56"/>
              <a:gd name="T28" fmla="*/ 11873253 w 129"/>
              <a:gd name="T29" fmla="*/ 8801110 h 56"/>
              <a:gd name="T30" fmla="*/ 12801026 w 129"/>
              <a:gd name="T31" fmla="*/ 12101920 h 56"/>
              <a:gd name="T32" fmla="*/ 13543158 w 129"/>
              <a:gd name="T33" fmla="*/ 15401681 h 56"/>
              <a:gd name="T34" fmla="*/ 15398273 w 129"/>
              <a:gd name="T35" fmla="*/ 19802760 h 56"/>
              <a:gd name="T36" fmla="*/ 17253388 w 129"/>
              <a:gd name="T37" fmla="*/ 23102521 h 56"/>
              <a:gd name="T38" fmla="*/ 19108503 w 129"/>
              <a:gd name="T39" fmla="*/ 27503600 h 56"/>
              <a:gd name="T40" fmla="*/ 20963618 w 129"/>
              <a:gd name="T41" fmla="*/ 31903631 h 56"/>
              <a:gd name="T42" fmla="*/ 21705751 w 129"/>
              <a:gd name="T43" fmla="*/ 35204441 h 56"/>
              <a:gd name="T44" fmla="*/ 22447883 w 129"/>
              <a:gd name="T45" fmla="*/ 38505250 h 56"/>
              <a:gd name="T46" fmla="*/ 23375656 w 129"/>
              <a:gd name="T47" fmla="*/ 41805011 h 56"/>
              <a:gd name="T48" fmla="*/ 23932147 w 129"/>
              <a:gd name="T49" fmla="*/ 48406630 h 56"/>
              <a:gd name="T50" fmla="*/ 22077032 w 129"/>
              <a:gd name="T51" fmla="*/ 52806661 h 56"/>
              <a:gd name="T52" fmla="*/ 20221917 w 129"/>
              <a:gd name="T53" fmla="*/ 56107470 h 56"/>
              <a:gd name="T54" fmla="*/ 18366371 w 129"/>
              <a:gd name="T55" fmla="*/ 58306961 h 56"/>
              <a:gd name="T56" fmla="*/ 16696897 w 129"/>
              <a:gd name="T57" fmla="*/ 59407231 h 56"/>
              <a:gd name="T58" fmla="*/ 12986236 w 129"/>
              <a:gd name="T59" fmla="*/ 61607771 h 56"/>
              <a:gd name="T60" fmla="*/ 9090365 w 129"/>
              <a:gd name="T61" fmla="*/ 61607771 h 56"/>
              <a:gd name="T62" fmla="*/ 7420891 w 129"/>
              <a:gd name="T63" fmla="*/ 60507501 h 56"/>
              <a:gd name="T64" fmla="*/ 5750986 w 129"/>
              <a:gd name="T65" fmla="*/ 59407231 h 56"/>
              <a:gd name="T66" fmla="*/ 4267152 w 129"/>
              <a:gd name="T67" fmla="*/ 57207740 h 56"/>
              <a:gd name="T68" fmla="*/ 2968529 w 129"/>
              <a:gd name="T69" fmla="*/ 55007201 h 56"/>
              <a:gd name="T70" fmla="*/ 1112983 w 129"/>
              <a:gd name="T71" fmla="*/ 50606121 h 56"/>
              <a:gd name="T72" fmla="*/ 556491 w 129"/>
              <a:gd name="T73" fmla="*/ 48406630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19" name="Freeform 510">
            <a:extLst>
              <a:ext uri="{FF2B5EF4-FFF2-40B4-BE49-F238E27FC236}">
                <a16:creationId xmlns:a16="http://schemas.microsoft.com/office/drawing/2014/main" id="{666DABEB-70F8-40D1-AC16-22E7BBC917FB}"/>
              </a:ext>
            </a:extLst>
          </p:cNvPr>
          <p:cNvSpPr>
            <a:spLocks/>
          </p:cNvSpPr>
          <p:nvPr>
            <p:custDataLst>
              <p:tags r:id="rId348"/>
            </p:custDataLst>
          </p:nvPr>
        </p:nvSpPr>
        <p:spPr bwMode="auto">
          <a:xfrm>
            <a:off x="9990869" y="1841306"/>
            <a:ext cx="18801" cy="73182"/>
          </a:xfrm>
          <a:custGeom>
            <a:avLst/>
            <a:gdLst>
              <a:gd name="T0" fmla="*/ 2550234 w 41"/>
              <a:gd name="T1" fmla="*/ 77764821 h 42"/>
              <a:gd name="T2" fmla="*/ 0 w 41"/>
              <a:gd name="T3" fmla="*/ 55545718 h 42"/>
              <a:gd name="T4" fmla="*/ 0 w 41"/>
              <a:gd name="T5" fmla="*/ 11108871 h 42"/>
              <a:gd name="T6" fmla="*/ 849962 w 41"/>
              <a:gd name="T7" fmla="*/ 9258300 h 42"/>
              <a:gd name="T8" fmla="*/ 1700272 w 41"/>
              <a:gd name="T9" fmla="*/ 5554436 h 42"/>
              <a:gd name="T10" fmla="*/ 2914752 w 41"/>
              <a:gd name="T11" fmla="*/ 1851932 h 42"/>
              <a:gd name="T12" fmla="*/ 4129232 w 41"/>
              <a:gd name="T13" fmla="*/ 0 h 42"/>
              <a:gd name="T14" fmla="*/ 4129232 w 41"/>
              <a:gd name="T15" fmla="*/ 33327975 h 42"/>
              <a:gd name="T16" fmla="*/ 4979194 w 41"/>
              <a:gd name="T17" fmla="*/ 33327975 h 42"/>
              <a:gd name="T18" fmla="*/ 2550234 w 41"/>
              <a:gd name="T19" fmla="*/ 77764821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20" name="Freeform 511">
            <a:extLst>
              <a:ext uri="{FF2B5EF4-FFF2-40B4-BE49-F238E27FC236}">
                <a16:creationId xmlns:a16="http://schemas.microsoft.com/office/drawing/2014/main" id="{43A08548-F71C-4846-AC8B-FFF75514C723}"/>
              </a:ext>
            </a:extLst>
          </p:cNvPr>
          <p:cNvSpPr>
            <a:spLocks/>
          </p:cNvSpPr>
          <p:nvPr>
            <p:custDataLst>
              <p:tags r:id="rId349"/>
            </p:custDataLst>
          </p:nvPr>
        </p:nvSpPr>
        <p:spPr bwMode="auto">
          <a:xfrm>
            <a:off x="10197674" y="1987670"/>
            <a:ext cx="60578" cy="77247"/>
          </a:xfrm>
          <a:custGeom>
            <a:avLst/>
            <a:gdLst>
              <a:gd name="T0" fmla="*/ 12745520 w 93"/>
              <a:gd name="T1" fmla="*/ 21532931 h 39"/>
              <a:gd name="T2" fmla="*/ 14232360 w 93"/>
              <a:gd name="T3" fmla="*/ 43065863 h 39"/>
              <a:gd name="T4" fmla="*/ 16356613 w 93"/>
              <a:gd name="T5" fmla="*/ 66991686 h 39"/>
              <a:gd name="T6" fmla="*/ 17206038 w 93"/>
              <a:gd name="T7" fmla="*/ 78954597 h 39"/>
              <a:gd name="T8" fmla="*/ 18268395 w 93"/>
              <a:gd name="T9" fmla="*/ 86133272 h 39"/>
              <a:gd name="T10" fmla="*/ 19117820 w 93"/>
              <a:gd name="T11" fmla="*/ 90917509 h 39"/>
              <a:gd name="T12" fmla="*/ 19755234 w 93"/>
              <a:gd name="T13" fmla="*/ 93310401 h 39"/>
              <a:gd name="T14" fmla="*/ 12745520 w 93"/>
              <a:gd name="T15" fmla="*/ 93310401 h 39"/>
              <a:gd name="T16" fmla="*/ 10621267 w 93"/>
              <a:gd name="T17" fmla="*/ 86133272 h 39"/>
              <a:gd name="T18" fmla="*/ 9133967 w 93"/>
              <a:gd name="T19" fmla="*/ 76561706 h 39"/>
              <a:gd name="T20" fmla="*/ 7647128 w 93"/>
              <a:gd name="T21" fmla="*/ 66991686 h 39"/>
              <a:gd name="T22" fmla="*/ 6372760 w 93"/>
              <a:gd name="T23" fmla="*/ 55028774 h 39"/>
              <a:gd name="T24" fmla="*/ 5097932 w 93"/>
              <a:gd name="T25" fmla="*/ 43065863 h 39"/>
              <a:gd name="T26" fmla="*/ 3398621 w 93"/>
              <a:gd name="T27" fmla="*/ 31102951 h 39"/>
              <a:gd name="T28" fmla="*/ 1911782 w 93"/>
              <a:gd name="T29" fmla="*/ 16748695 h 39"/>
              <a:gd name="T30" fmla="*/ 0 w 93"/>
              <a:gd name="T31" fmla="*/ 7177128 h 39"/>
              <a:gd name="T32" fmla="*/ 2336725 w 93"/>
              <a:gd name="T33" fmla="*/ 2392892 h 39"/>
              <a:gd name="T34" fmla="*/ 4248507 w 93"/>
              <a:gd name="T35" fmla="*/ 0 h 39"/>
              <a:gd name="T36" fmla="*/ 5522875 w 93"/>
              <a:gd name="T37" fmla="*/ 0 h 39"/>
              <a:gd name="T38" fmla="*/ 7009714 w 93"/>
              <a:gd name="T39" fmla="*/ 2392892 h 39"/>
              <a:gd name="T40" fmla="*/ 9346438 w 93"/>
              <a:gd name="T41" fmla="*/ 9570020 h 39"/>
              <a:gd name="T42" fmla="*/ 12745520 w 93"/>
              <a:gd name="T43" fmla="*/ 21532931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21" name="Freeform 512">
            <a:extLst>
              <a:ext uri="{FF2B5EF4-FFF2-40B4-BE49-F238E27FC236}">
                <a16:creationId xmlns:a16="http://schemas.microsoft.com/office/drawing/2014/main" id="{2080B24F-092E-4306-991E-37DB8CEDAF71}"/>
              </a:ext>
            </a:extLst>
          </p:cNvPr>
          <p:cNvSpPr>
            <a:spLocks/>
          </p:cNvSpPr>
          <p:nvPr>
            <p:custDataLst>
              <p:tags r:id="rId350"/>
            </p:custDataLst>
          </p:nvPr>
        </p:nvSpPr>
        <p:spPr bwMode="auto">
          <a:xfrm>
            <a:off x="10268698" y="2007998"/>
            <a:ext cx="27155" cy="77247"/>
          </a:xfrm>
          <a:custGeom>
            <a:avLst/>
            <a:gdLst>
              <a:gd name="T0" fmla="*/ 9305192 w 39"/>
              <a:gd name="T1" fmla="*/ 181586981 h 19"/>
              <a:gd name="T2" fmla="*/ 3101731 w 39"/>
              <a:gd name="T3" fmla="*/ 181586981 h 19"/>
              <a:gd name="T4" fmla="*/ 1908908 w 39"/>
              <a:gd name="T5" fmla="*/ 181586981 h 19"/>
              <a:gd name="T6" fmla="*/ 1192823 w 39"/>
              <a:gd name="T7" fmla="*/ 162472399 h 19"/>
              <a:gd name="T8" fmla="*/ 715596 w 39"/>
              <a:gd name="T9" fmla="*/ 133802073 h 19"/>
              <a:gd name="T10" fmla="*/ 477227 w 39"/>
              <a:gd name="T11" fmla="*/ 105128654 h 19"/>
              <a:gd name="T12" fmla="*/ 0 w 39"/>
              <a:gd name="T13" fmla="*/ 47784909 h 19"/>
              <a:gd name="T14" fmla="*/ 0 w 39"/>
              <a:gd name="T15" fmla="*/ 0 h 19"/>
              <a:gd name="T16" fmla="*/ 3101731 w 39"/>
              <a:gd name="T17" fmla="*/ 38229164 h 19"/>
              <a:gd name="T18" fmla="*/ 5249008 w 39"/>
              <a:gd name="T19" fmla="*/ 86014072 h 19"/>
              <a:gd name="T20" fmla="*/ 7157915 w 39"/>
              <a:gd name="T21" fmla="*/ 133802073 h 19"/>
              <a:gd name="T22" fmla="*/ 9305192 w 39"/>
              <a:gd name="T23" fmla="*/ 181586981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22" name="Freeform 513">
            <a:extLst>
              <a:ext uri="{FF2B5EF4-FFF2-40B4-BE49-F238E27FC236}">
                <a16:creationId xmlns:a16="http://schemas.microsoft.com/office/drawing/2014/main" id="{E01B484F-0CB1-4F1A-8D7B-B6096BCE1219}"/>
              </a:ext>
            </a:extLst>
          </p:cNvPr>
          <p:cNvSpPr>
            <a:spLocks/>
          </p:cNvSpPr>
          <p:nvPr>
            <p:custDataLst>
              <p:tags r:id="rId351"/>
            </p:custDataLst>
          </p:nvPr>
        </p:nvSpPr>
        <p:spPr bwMode="auto">
          <a:xfrm>
            <a:off x="10080694" y="2172657"/>
            <a:ext cx="20889" cy="75213"/>
          </a:xfrm>
          <a:custGeom>
            <a:avLst/>
            <a:gdLst>
              <a:gd name="T0" fmla="*/ 0 w 26"/>
              <a:gd name="T1" fmla="*/ 90725625 h 36"/>
              <a:gd name="T2" fmla="*/ 906126 w 26"/>
              <a:gd name="T3" fmla="*/ 78125638 h 36"/>
              <a:gd name="T4" fmla="*/ 3019503 w 26"/>
              <a:gd name="T5" fmla="*/ 50403125 h 36"/>
              <a:gd name="T6" fmla="*/ 5435105 w 26"/>
              <a:gd name="T7" fmla="*/ 20161250 h 36"/>
              <a:gd name="T8" fmla="*/ 7850707 w 26"/>
              <a:gd name="T9" fmla="*/ 0 h 36"/>
              <a:gd name="T10" fmla="*/ 7850707 w 26"/>
              <a:gd name="T11" fmla="*/ 22682200 h 36"/>
              <a:gd name="T12" fmla="*/ 7850707 w 26"/>
              <a:gd name="T13" fmla="*/ 45362813 h 36"/>
              <a:gd name="T14" fmla="*/ 7549031 w 26"/>
              <a:gd name="T15" fmla="*/ 55443438 h 36"/>
              <a:gd name="T16" fmla="*/ 7246806 w 26"/>
              <a:gd name="T17" fmla="*/ 65524063 h 36"/>
              <a:gd name="T18" fmla="*/ 6341230 w 26"/>
              <a:gd name="T19" fmla="*/ 73085325 h 36"/>
              <a:gd name="T20" fmla="*/ 5133429 w 26"/>
              <a:gd name="T21" fmla="*/ 80645000 h 36"/>
              <a:gd name="T22" fmla="*/ 4227304 w 26"/>
              <a:gd name="T23" fmla="*/ 85685313 h 36"/>
              <a:gd name="T24" fmla="*/ 3019503 w 26"/>
              <a:gd name="T25" fmla="*/ 88206263 h 36"/>
              <a:gd name="T26" fmla="*/ 1207801 w 26"/>
              <a:gd name="T27" fmla="*/ 90725625 h 36"/>
              <a:gd name="T28" fmla="*/ 0 w 26"/>
              <a:gd name="T29" fmla="*/ 90725625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23" name="Freeform 514">
            <a:extLst>
              <a:ext uri="{FF2B5EF4-FFF2-40B4-BE49-F238E27FC236}">
                <a16:creationId xmlns:a16="http://schemas.microsoft.com/office/drawing/2014/main" id="{B2DECE1E-4698-4B67-A1BD-1A0B32C75316}"/>
              </a:ext>
            </a:extLst>
          </p:cNvPr>
          <p:cNvSpPr>
            <a:spLocks/>
          </p:cNvSpPr>
          <p:nvPr>
            <p:custDataLst>
              <p:tags r:id="rId352"/>
            </p:custDataLst>
          </p:nvPr>
        </p:nvSpPr>
        <p:spPr bwMode="auto">
          <a:xfrm>
            <a:off x="10097406" y="2209249"/>
            <a:ext cx="4178" cy="79279"/>
          </a:xfrm>
          <a:custGeom>
            <a:avLst/>
            <a:gdLst>
              <a:gd name="T0" fmla="*/ 0 w 6"/>
              <a:gd name="T1" fmla="*/ 98354206 h 37"/>
              <a:gd name="T2" fmla="*/ 0 w 6"/>
              <a:gd name="T3" fmla="*/ 0 h 37"/>
              <a:gd name="T4" fmla="*/ 1680104 w 6"/>
              <a:gd name="T5" fmla="*/ 0 h 37"/>
              <a:gd name="T6" fmla="*/ 1680104 w 6"/>
              <a:gd name="T7" fmla="*/ 82405580 h 37"/>
              <a:gd name="T8" fmla="*/ 0 w 6"/>
              <a:gd name="T9" fmla="*/ 98354206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37">
                <a:moveTo>
                  <a:pt x="0" y="37"/>
                </a:moveTo>
                <a:lnTo>
                  <a:pt x="0" y="0"/>
                </a:lnTo>
                <a:lnTo>
                  <a:pt x="6" y="0"/>
                </a:lnTo>
                <a:lnTo>
                  <a:pt x="6" y="31"/>
                </a:lnTo>
                <a:lnTo>
                  <a:pt x="0" y="37"/>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24" name="Freeform 515">
            <a:extLst>
              <a:ext uri="{FF2B5EF4-FFF2-40B4-BE49-F238E27FC236}">
                <a16:creationId xmlns:a16="http://schemas.microsoft.com/office/drawing/2014/main" id="{D55B293E-D677-4EB4-9871-0A488CF0E5AE}"/>
              </a:ext>
            </a:extLst>
          </p:cNvPr>
          <p:cNvSpPr>
            <a:spLocks/>
          </p:cNvSpPr>
          <p:nvPr>
            <p:custDataLst>
              <p:tags r:id="rId353"/>
            </p:custDataLst>
          </p:nvPr>
        </p:nvSpPr>
        <p:spPr bwMode="auto">
          <a:xfrm>
            <a:off x="10078605" y="2316988"/>
            <a:ext cx="14623" cy="73182"/>
          </a:xfrm>
          <a:custGeom>
            <a:avLst/>
            <a:gdLst>
              <a:gd name="T0" fmla="*/ 0 w 20"/>
              <a:gd name="T1" fmla="*/ 51760165 h 43"/>
              <a:gd name="T2" fmla="*/ 0 w 20"/>
              <a:gd name="T3" fmla="*/ 41742027 h 43"/>
              <a:gd name="T4" fmla="*/ 0 w 20"/>
              <a:gd name="T5" fmla="*/ 30054414 h 43"/>
              <a:gd name="T6" fmla="*/ 453866 w 20"/>
              <a:gd name="T7" fmla="*/ 15026561 h 43"/>
              <a:gd name="T8" fmla="*/ 1587818 w 20"/>
              <a:gd name="T9" fmla="*/ 0 h 43"/>
              <a:gd name="T10" fmla="*/ 2495074 w 20"/>
              <a:gd name="T11" fmla="*/ 11687612 h 43"/>
              <a:gd name="T12" fmla="*/ 3629025 w 20"/>
              <a:gd name="T13" fmla="*/ 20036276 h 43"/>
              <a:gd name="T14" fmla="*/ 3855720 w 20"/>
              <a:gd name="T15" fmla="*/ 23375225 h 43"/>
              <a:gd name="T16" fmla="*/ 4309586 w 20"/>
              <a:gd name="T17" fmla="*/ 30054414 h 43"/>
              <a:gd name="T18" fmla="*/ 4309586 w 20"/>
              <a:gd name="T19" fmla="*/ 35062837 h 43"/>
              <a:gd name="T20" fmla="*/ 4536281 w 20"/>
              <a:gd name="T21" fmla="*/ 41742027 h 43"/>
              <a:gd name="T22" fmla="*/ 4309586 w 20"/>
              <a:gd name="T23" fmla="*/ 45080975 h 43"/>
              <a:gd name="T24" fmla="*/ 4082891 w 20"/>
              <a:gd name="T25" fmla="*/ 50090691 h 43"/>
              <a:gd name="T26" fmla="*/ 3629025 w 20"/>
              <a:gd name="T27" fmla="*/ 55099114 h 43"/>
              <a:gd name="T28" fmla="*/ 2721769 w 20"/>
              <a:gd name="T29" fmla="*/ 60108829 h 43"/>
              <a:gd name="T30" fmla="*/ 2041208 w 20"/>
              <a:gd name="T31" fmla="*/ 65117252 h 43"/>
              <a:gd name="T32" fmla="*/ 1361123 w 20"/>
              <a:gd name="T33" fmla="*/ 68457492 h 43"/>
              <a:gd name="T34" fmla="*/ 453866 w 20"/>
              <a:gd name="T35" fmla="*/ 70126967 h 43"/>
              <a:gd name="T36" fmla="*/ 0 w 20"/>
              <a:gd name="T37" fmla="*/ 71796441 h 43"/>
              <a:gd name="T38" fmla="*/ 0 w 20"/>
              <a:gd name="T39" fmla="*/ 51760165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25" name="Freeform 516">
            <a:extLst>
              <a:ext uri="{FF2B5EF4-FFF2-40B4-BE49-F238E27FC236}">
                <a16:creationId xmlns:a16="http://schemas.microsoft.com/office/drawing/2014/main" id="{E5FE04D9-AEDD-418F-8760-C04339F3F3C3}"/>
              </a:ext>
            </a:extLst>
          </p:cNvPr>
          <p:cNvSpPr>
            <a:spLocks/>
          </p:cNvSpPr>
          <p:nvPr>
            <p:custDataLst>
              <p:tags r:id="rId354"/>
            </p:custDataLst>
          </p:nvPr>
        </p:nvSpPr>
        <p:spPr bwMode="auto">
          <a:xfrm>
            <a:off x="10047271" y="2363744"/>
            <a:ext cx="0" cy="75213"/>
          </a:xfrm>
          <a:custGeom>
            <a:avLst/>
            <a:gdLst>
              <a:gd name="T0" fmla="*/ 115005088 h 30"/>
              <a:gd name="T1" fmla="*/ 95836921 h 30"/>
              <a:gd name="T2" fmla="*/ 69003444 h 30"/>
              <a:gd name="T3" fmla="*/ 34500743 h 30"/>
              <a:gd name="T4" fmla="*/ 0 h 30"/>
              <a:gd name="T5" fmla="*/ 0 60000 65536"/>
              <a:gd name="T6" fmla="*/ 0 60000 65536"/>
              <a:gd name="T7" fmla="*/ 0 60000 65536"/>
              <a:gd name="T8" fmla="*/ 0 60000 65536"/>
              <a:gd name="T9" fmla="*/ 0 60000 65536"/>
            </a:gdLst>
            <a:ahLst/>
            <a:cxnLst>
              <a:cxn ang="T5">
                <a:pos x="0" y="T0"/>
              </a:cxn>
              <a:cxn ang="T6">
                <a:pos x="0" y="T1"/>
              </a:cxn>
              <a:cxn ang="T7">
                <a:pos x="0" y="T2"/>
              </a:cxn>
              <a:cxn ang="T8">
                <a:pos x="0" y="T3"/>
              </a:cxn>
              <a:cxn ang="T9">
                <a:pos x="0" y="T4"/>
              </a:cxn>
            </a:cxnLst>
            <a:rect l="0" t="0" r="r" b="b"/>
            <a:pathLst>
              <a:path h="30">
                <a:moveTo>
                  <a:pt x="0" y="30"/>
                </a:moveTo>
                <a:lnTo>
                  <a:pt x="0" y="25"/>
                </a:lnTo>
                <a:lnTo>
                  <a:pt x="0" y="18"/>
                </a:lnTo>
                <a:lnTo>
                  <a:pt x="0" y="9"/>
                </a:lnTo>
                <a:lnTo>
                  <a:pt x="0" y="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26" name="Freeform 517">
            <a:extLst>
              <a:ext uri="{FF2B5EF4-FFF2-40B4-BE49-F238E27FC236}">
                <a16:creationId xmlns:a16="http://schemas.microsoft.com/office/drawing/2014/main" id="{DDC34B52-23B9-453C-953F-A91BC0DEFDA4}"/>
              </a:ext>
            </a:extLst>
          </p:cNvPr>
          <p:cNvSpPr>
            <a:spLocks/>
          </p:cNvSpPr>
          <p:nvPr>
            <p:custDataLst>
              <p:tags r:id="rId355"/>
            </p:custDataLst>
          </p:nvPr>
        </p:nvSpPr>
        <p:spPr bwMode="auto">
          <a:xfrm>
            <a:off x="10047271" y="2363744"/>
            <a:ext cx="12534" cy="75213"/>
          </a:xfrm>
          <a:custGeom>
            <a:avLst/>
            <a:gdLst>
              <a:gd name="T0" fmla="*/ 0 w 20"/>
              <a:gd name="T1" fmla="*/ 0 h 24"/>
              <a:gd name="T2" fmla="*/ 3150592 w 20"/>
              <a:gd name="T3" fmla="*/ 0 h 24"/>
              <a:gd name="T4" fmla="*/ 0 w 20"/>
              <a:gd name="T5" fmla="*/ 143756360 h 24"/>
              <a:gd name="T6" fmla="*/ 0 60000 65536"/>
              <a:gd name="T7" fmla="*/ 0 60000 65536"/>
              <a:gd name="T8" fmla="*/ 0 60000 65536"/>
            </a:gdLst>
            <a:ahLst/>
            <a:cxnLst>
              <a:cxn ang="T6">
                <a:pos x="T0" y="T1"/>
              </a:cxn>
              <a:cxn ang="T7">
                <a:pos x="T2" y="T3"/>
              </a:cxn>
              <a:cxn ang="T8">
                <a:pos x="T4" y="T5"/>
              </a:cxn>
            </a:cxnLst>
            <a:rect l="0" t="0" r="r" b="b"/>
            <a:pathLst>
              <a:path w="20" h="24">
                <a:moveTo>
                  <a:pt x="0" y="0"/>
                </a:moveTo>
                <a:lnTo>
                  <a:pt x="20" y="0"/>
                </a:lnTo>
                <a:lnTo>
                  <a:pt x="0" y="24"/>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27" name="Freeform 518">
            <a:extLst>
              <a:ext uri="{FF2B5EF4-FFF2-40B4-BE49-F238E27FC236}">
                <a16:creationId xmlns:a16="http://schemas.microsoft.com/office/drawing/2014/main" id="{C5A981B4-BE99-4ECB-8A0B-CAE8E89D9B35}"/>
              </a:ext>
            </a:extLst>
          </p:cNvPr>
          <p:cNvSpPr>
            <a:spLocks/>
          </p:cNvSpPr>
          <p:nvPr>
            <p:custDataLst>
              <p:tags r:id="rId356"/>
            </p:custDataLst>
          </p:nvPr>
        </p:nvSpPr>
        <p:spPr bwMode="auto">
          <a:xfrm>
            <a:off x="9704688" y="1827077"/>
            <a:ext cx="25067" cy="77247"/>
          </a:xfrm>
          <a:custGeom>
            <a:avLst/>
            <a:gdLst>
              <a:gd name="T0" fmla="*/ 0 w 46"/>
              <a:gd name="T1" fmla="*/ 0 h 19"/>
              <a:gd name="T2" fmla="*/ 1296743 w 46"/>
              <a:gd name="T3" fmla="*/ 30241875 h 19"/>
              <a:gd name="T4" fmla="*/ 2017620 w 46"/>
              <a:gd name="T5" fmla="*/ 50403125 h 19"/>
              <a:gd name="T6" fmla="*/ 2738118 w 46"/>
              <a:gd name="T7" fmla="*/ 80645000 h 19"/>
              <a:gd name="T8" fmla="*/ 3314364 w 46"/>
              <a:gd name="T9" fmla="*/ 100806250 h 19"/>
              <a:gd name="T10" fmla="*/ 3746738 w 46"/>
              <a:gd name="T11" fmla="*/ 120967500 h 19"/>
              <a:gd name="T12" fmla="*/ 4611107 w 46"/>
              <a:gd name="T13" fmla="*/ 141128750 h 19"/>
              <a:gd name="T14" fmla="*/ 5331984 w 46"/>
              <a:gd name="T15" fmla="*/ 171370625 h 19"/>
              <a:gd name="T16" fmla="*/ 6628727 w 46"/>
              <a:gd name="T17" fmla="*/ 191531875 h 19"/>
              <a:gd name="T18" fmla="*/ 4755358 w 46"/>
              <a:gd name="T19" fmla="*/ 191531875 h 19"/>
              <a:gd name="T20" fmla="*/ 3458615 w 46"/>
              <a:gd name="T21" fmla="*/ 191531875 h 19"/>
              <a:gd name="T22" fmla="*/ 2593866 w 46"/>
              <a:gd name="T23" fmla="*/ 181451250 h 19"/>
              <a:gd name="T24" fmla="*/ 1873369 w 46"/>
              <a:gd name="T25" fmla="*/ 171370625 h 19"/>
              <a:gd name="T26" fmla="*/ 1440995 w 46"/>
              <a:gd name="T27" fmla="*/ 141128750 h 19"/>
              <a:gd name="T28" fmla="*/ 1008620 w 46"/>
              <a:gd name="T29" fmla="*/ 110886875 h 19"/>
              <a:gd name="T30" fmla="*/ 576246 w 46"/>
              <a:gd name="T31" fmla="*/ 70564375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28" name="Freeform 519">
            <a:extLst>
              <a:ext uri="{FF2B5EF4-FFF2-40B4-BE49-F238E27FC236}">
                <a16:creationId xmlns:a16="http://schemas.microsoft.com/office/drawing/2014/main" id="{9029B7FD-5B94-43D3-9059-0DF21080E0F2}"/>
              </a:ext>
            </a:extLst>
          </p:cNvPr>
          <p:cNvSpPr>
            <a:spLocks/>
          </p:cNvSpPr>
          <p:nvPr>
            <p:custDataLst>
              <p:tags r:id="rId357"/>
            </p:custDataLst>
          </p:nvPr>
        </p:nvSpPr>
        <p:spPr bwMode="auto">
          <a:xfrm>
            <a:off x="5969690" y="2007998"/>
            <a:ext cx="66845" cy="77247"/>
          </a:xfrm>
          <a:custGeom>
            <a:avLst/>
            <a:gdLst>
              <a:gd name="T0" fmla="*/ 7484745 w 100"/>
              <a:gd name="T1" fmla="*/ 0 h 55"/>
              <a:gd name="T2" fmla="*/ 22681406 w 100"/>
              <a:gd name="T3" fmla="*/ 13687022 h 55"/>
              <a:gd name="T4" fmla="*/ 22681406 w 100"/>
              <a:gd name="T5" fmla="*/ 62730048 h 55"/>
              <a:gd name="T6" fmla="*/ 2948464 w 100"/>
              <a:gd name="T7" fmla="*/ 62730048 h 55"/>
              <a:gd name="T8" fmla="*/ 0 w 100"/>
              <a:gd name="T9" fmla="*/ 49043026 h 55"/>
              <a:gd name="T10" fmla="*/ 226695 w 100"/>
              <a:gd name="T11" fmla="*/ 43341168 h 55"/>
              <a:gd name="T12" fmla="*/ 907256 w 100"/>
              <a:gd name="T13" fmla="*/ 36497657 h 55"/>
              <a:gd name="T14" fmla="*/ 2268379 w 100"/>
              <a:gd name="T15" fmla="*/ 28513561 h 55"/>
              <a:gd name="T16" fmla="*/ 3629025 w 100"/>
              <a:gd name="T17" fmla="*/ 20529465 h 55"/>
              <a:gd name="T18" fmla="*/ 6124099 w 100"/>
              <a:gd name="T19" fmla="*/ 5702926 h 55"/>
              <a:gd name="T20" fmla="*/ 7484745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29" name="Freeform 520">
            <a:extLst>
              <a:ext uri="{FF2B5EF4-FFF2-40B4-BE49-F238E27FC236}">
                <a16:creationId xmlns:a16="http://schemas.microsoft.com/office/drawing/2014/main" id="{88C4CF77-D452-4799-A81B-3E3247EE9581}"/>
              </a:ext>
            </a:extLst>
          </p:cNvPr>
          <p:cNvSpPr>
            <a:spLocks/>
          </p:cNvSpPr>
          <p:nvPr>
            <p:custDataLst>
              <p:tags r:id="rId358"/>
            </p:custDataLst>
          </p:nvPr>
        </p:nvSpPr>
        <p:spPr bwMode="auto">
          <a:xfrm>
            <a:off x="6594278" y="1477430"/>
            <a:ext cx="60580" cy="77247"/>
          </a:xfrm>
          <a:custGeom>
            <a:avLst/>
            <a:gdLst>
              <a:gd name="T0" fmla="*/ 9934459 w 99"/>
              <a:gd name="T1" fmla="*/ 2652379 h 51"/>
              <a:gd name="T2" fmla="*/ 10871795 w 99"/>
              <a:gd name="T3" fmla="*/ 1326765 h 51"/>
              <a:gd name="T4" fmla="*/ 11621663 w 99"/>
              <a:gd name="T5" fmla="*/ 0 h 51"/>
              <a:gd name="T6" fmla="*/ 12184065 w 99"/>
              <a:gd name="T7" fmla="*/ 0 h 51"/>
              <a:gd name="T8" fmla="*/ 12933933 w 99"/>
              <a:gd name="T9" fmla="*/ 1326765 h 51"/>
              <a:gd name="T10" fmla="*/ 13870836 w 99"/>
              <a:gd name="T11" fmla="*/ 6632674 h 51"/>
              <a:gd name="T12" fmla="*/ 14808172 w 99"/>
              <a:gd name="T13" fmla="*/ 14590962 h 51"/>
              <a:gd name="T14" fmla="*/ 15558040 w 99"/>
              <a:gd name="T15" fmla="*/ 23876015 h 51"/>
              <a:gd name="T16" fmla="*/ 16307909 w 99"/>
              <a:gd name="T17" fmla="*/ 33161067 h 51"/>
              <a:gd name="T18" fmla="*/ 17057344 w 99"/>
              <a:gd name="T19" fmla="*/ 37140211 h 51"/>
              <a:gd name="T20" fmla="*/ 17432278 w 99"/>
              <a:gd name="T21" fmla="*/ 39792590 h 51"/>
              <a:gd name="T22" fmla="*/ 17994680 w 99"/>
              <a:gd name="T23" fmla="*/ 42446120 h 51"/>
              <a:gd name="T24" fmla="*/ 18557081 w 99"/>
              <a:gd name="T25" fmla="*/ 45098499 h 51"/>
              <a:gd name="T26" fmla="*/ 18557081 w 99"/>
              <a:gd name="T27" fmla="*/ 49077643 h 51"/>
              <a:gd name="T28" fmla="*/ 18182147 w 99"/>
              <a:gd name="T29" fmla="*/ 53056787 h 51"/>
              <a:gd name="T30" fmla="*/ 17807213 w 99"/>
              <a:gd name="T31" fmla="*/ 57035930 h 51"/>
              <a:gd name="T32" fmla="*/ 17057344 w 99"/>
              <a:gd name="T33" fmla="*/ 59689461 h 51"/>
              <a:gd name="T34" fmla="*/ 16120441 w 99"/>
              <a:gd name="T35" fmla="*/ 62341839 h 51"/>
              <a:gd name="T36" fmla="*/ 15183106 w 99"/>
              <a:gd name="T37" fmla="*/ 63668605 h 51"/>
              <a:gd name="T38" fmla="*/ 13870836 w 99"/>
              <a:gd name="T39" fmla="*/ 66320983 h 51"/>
              <a:gd name="T40" fmla="*/ 12746466 w 99"/>
              <a:gd name="T41" fmla="*/ 66320983 h 51"/>
              <a:gd name="T42" fmla="*/ 9746992 w 99"/>
              <a:gd name="T43" fmla="*/ 67647748 h 51"/>
              <a:gd name="T44" fmla="*/ 6747951 w 99"/>
              <a:gd name="T45" fmla="*/ 64995370 h 51"/>
              <a:gd name="T46" fmla="*/ 5061180 w 99"/>
              <a:gd name="T47" fmla="*/ 63668605 h 51"/>
              <a:gd name="T48" fmla="*/ 3373975 w 99"/>
              <a:gd name="T49" fmla="*/ 59689461 h 51"/>
              <a:gd name="T50" fmla="*/ 1687204 w 99"/>
              <a:gd name="T51" fmla="*/ 57035930 h 51"/>
              <a:gd name="T52" fmla="*/ 187467 w 99"/>
              <a:gd name="T53" fmla="*/ 53056787 h 51"/>
              <a:gd name="T54" fmla="*/ 0 w 99"/>
              <a:gd name="T55" fmla="*/ 51731173 h 51"/>
              <a:gd name="T56" fmla="*/ 187467 w 99"/>
              <a:gd name="T57" fmla="*/ 49077643 h 51"/>
              <a:gd name="T58" fmla="*/ 562401 w 99"/>
              <a:gd name="T59" fmla="*/ 46425264 h 51"/>
              <a:gd name="T60" fmla="*/ 1124803 w 99"/>
              <a:gd name="T61" fmla="*/ 43771734 h 51"/>
              <a:gd name="T62" fmla="*/ 2624107 w 99"/>
              <a:gd name="T63" fmla="*/ 38465825 h 51"/>
              <a:gd name="T64" fmla="*/ 4686245 w 99"/>
              <a:gd name="T65" fmla="*/ 31834302 h 51"/>
              <a:gd name="T66" fmla="*/ 6560484 w 99"/>
              <a:gd name="T67" fmla="*/ 25201628 h 51"/>
              <a:gd name="T68" fmla="*/ 8435155 w 99"/>
              <a:gd name="T69" fmla="*/ 15916575 h 51"/>
              <a:gd name="T70" fmla="*/ 8997556 w 99"/>
              <a:gd name="T71" fmla="*/ 13264197 h 51"/>
              <a:gd name="T72" fmla="*/ 9559525 w 99"/>
              <a:gd name="T73" fmla="*/ 9285053 h 51"/>
              <a:gd name="T74" fmla="*/ 9746992 w 99"/>
              <a:gd name="T75" fmla="*/ 6632674 h 51"/>
              <a:gd name="T76" fmla="*/ 9934459 w 99"/>
              <a:gd name="T77" fmla="*/ 2652379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30" name="Freeform 521">
            <a:extLst>
              <a:ext uri="{FF2B5EF4-FFF2-40B4-BE49-F238E27FC236}">
                <a16:creationId xmlns:a16="http://schemas.microsoft.com/office/drawing/2014/main" id="{7322C0A1-AA51-477B-8243-FE939E82311C}"/>
              </a:ext>
            </a:extLst>
          </p:cNvPr>
          <p:cNvSpPr>
            <a:spLocks/>
          </p:cNvSpPr>
          <p:nvPr>
            <p:custDataLst>
              <p:tags r:id="rId359"/>
            </p:custDataLst>
          </p:nvPr>
        </p:nvSpPr>
        <p:spPr bwMode="auto">
          <a:xfrm>
            <a:off x="6642324" y="1233492"/>
            <a:ext cx="319605" cy="213447"/>
          </a:xfrm>
          <a:custGeom>
            <a:avLst/>
            <a:gdLst>
              <a:gd name="T0" fmla="*/ 59723383 w 525"/>
              <a:gd name="T1" fmla="*/ 7463718 h 311"/>
              <a:gd name="T2" fmla="*/ 64842717 w 525"/>
              <a:gd name="T3" fmla="*/ 5804939 h 311"/>
              <a:gd name="T4" fmla="*/ 72995246 w 525"/>
              <a:gd name="T5" fmla="*/ 5528388 h 311"/>
              <a:gd name="T6" fmla="*/ 77356063 w 525"/>
              <a:gd name="T7" fmla="*/ 4699261 h 311"/>
              <a:gd name="T8" fmla="*/ 80958363 w 525"/>
              <a:gd name="T9" fmla="*/ 1934804 h 311"/>
              <a:gd name="T10" fmla="*/ 97453269 w 525"/>
              <a:gd name="T11" fmla="*/ 1658779 h 311"/>
              <a:gd name="T12" fmla="*/ 99538971 w 525"/>
              <a:gd name="T13" fmla="*/ 5251837 h 311"/>
              <a:gd name="T14" fmla="*/ 88732070 w 525"/>
              <a:gd name="T15" fmla="*/ 12992106 h 311"/>
              <a:gd name="T16" fmla="*/ 74322432 w 525"/>
              <a:gd name="T17" fmla="*/ 20179274 h 311"/>
              <a:gd name="T18" fmla="*/ 67497089 w 525"/>
              <a:gd name="T19" fmla="*/ 22114078 h 311"/>
              <a:gd name="T20" fmla="*/ 60861158 w 525"/>
              <a:gd name="T21" fmla="*/ 22943205 h 311"/>
              <a:gd name="T22" fmla="*/ 52898040 w 525"/>
              <a:gd name="T23" fmla="*/ 27919017 h 311"/>
              <a:gd name="T24" fmla="*/ 46262109 w 525"/>
              <a:gd name="T25" fmla="*/ 33447405 h 311"/>
              <a:gd name="T26" fmla="*/ 41332186 w 525"/>
              <a:gd name="T27" fmla="*/ 35658760 h 311"/>
              <a:gd name="T28" fmla="*/ 35454771 w 525"/>
              <a:gd name="T29" fmla="*/ 34000507 h 311"/>
              <a:gd name="T30" fmla="*/ 33748327 w 525"/>
              <a:gd name="T31" fmla="*/ 37870115 h 311"/>
              <a:gd name="T32" fmla="*/ 33179657 w 525"/>
              <a:gd name="T33" fmla="*/ 40081470 h 311"/>
              <a:gd name="T34" fmla="*/ 35075513 w 525"/>
              <a:gd name="T35" fmla="*/ 40911123 h 311"/>
              <a:gd name="T36" fmla="*/ 34886102 w 525"/>
              <a:gd name="T37" fmla="*/ 43399029 h 311"/>
              <a:gd name="T38" fmla="*/ 33369069 w 525"/>
              <a:gd name="T39" fmla="*/ 46162960 h 311"/>
              <a:gd name="T40" fmla="*/ 34127585 w 525"/>
              <a:gd name="T41" fmla="*/ 49479993 h 311"/>
              <a:gd name="T42" fmla="*/ 30714696 w 525"/>
              <a:gd name="T43" fmla="*/ 53626678 h 311"/>
              <a:gd name="T44" fmla="*/ 27302242 w 525"/>
              <a:gd name="T45" fmla="*/ 56390610 h 311"/>
              <a:gd name="T46" fmla="*/ 26733137 w 525"/>
              <a:gd name="T47" fmla="*/ 58878516 h 311"/>
              <a:gd name="T48" fmla="*/ 27302242 w 525"/>
              <a:gd name="T49" fmla="*/ 63025201 h 311"/>
              <a:gd name="T50" fmla="*/ 30904543 w 525"/>
              <a:gd name="T51" fmla="*/ 68277038 h 311"/>
              <a:gd name="T52" fmla="*/ 36213288 w 525"/>
              <a:gd name="T53" fmla="*/ 73805426 h 311"/>
              <a:gd name="T54" fmla="*/ 48537223 w 525"/>
              <a:gd name="T55" fmla="*/ 82927924 h 311"/>
              <a:gd name="T56" fmla="*/ 46072262 w 525"/>
              <a:gd name="T57" fmla="*/ 85968406 h 311"/>
              <a:gd name="T58" fmla="*/ 35834030 w 525"/>
              <a:gd name="T59" fmla="*/ 85415304 h 311"/>
              <a:gd name="T60" fmla="*/ 27491654 w 525"/>
              <a:gd name="T61" fmla="*/ 85139279 h 311"/>
              <a:gd name="T62" fmla="*/ 24458023 w 525"/>
              <a:gd name="T63" fmla="*/ 84033601 h 311"/>
              <a:gd name="T64" fmla="*/ 23320683 w 525"/>
              <a:gd name="T65" fmla="*/ 82374822 h 311"/>
              <a:gd name="T66" fmla="*/ 22751578 w 525"/>
              <a:gd name="T67" fmla="*/ 77952112 h 311"/>
              <a:gd name="T68" fmla="*/ 21993497 w 525"/>
              <a:gd name="T69" fmla="*/ 76846434 h 311"/>
              <a:gd name="T70" fmla="*/ 18011938 w 525"/>
              <a:gd name="T71" fmla="*/ 76569883 h 311"/>
              <a:gd name="T72" fmla="*/ 15167719 w 525"/>
              <a:gd name="T73" fmla="*/ 81822246 h 311"/>
              <a:gd name="T74" fmla="*/ 8342376 w 525"/>
              <a:gd name="T75" fmla="*/ 77952112 h 311"/>
              <a:gd name="T76" fmla="*/ 0 w 525"/>
              <a:gd name="T77" fmla="*/ 68000487 h 311"/>
              <a:gd name="T78" fmla="*/ 3412889 w 525"/>
              <a:gd name="T79" fmla="*/ 66065683 h 311"/>
              <a:gd name="T80" fmla="*/ 6446520 w 525"/>
              <a:gd name="T81" fmla="*/ 61366422 h 311"/>
              <a:gd name="T82" fmla="*/ 5308745 w 525"/>
              <a:gd name="T83" fmla="*/ 58878516 h 311"/>
              <a:gd name="T84" fmla="*/ 6446520 w 525"/>
              <a:gd name="T85" fmla="*/ 55284932 h 311"/>
              <a:gd name="T86" fmla="*/ 7583859 w 525"/>
              <a:gd name="T87" fmla="*/ 51967899 h 311"/>
              <a:gd name="T88" fmla="*/ 6446520 w 525"/>
              <a:gd name="T89" fmla="*/ 49479993 h 311"/>
              <a:gd name="T90" fmla="*/ 25405951 w 525"/>
              <a:gd name="T91" fmla="*/ 49479993 h 311"/>
              <a:gd name="T92" fmla="*/ 24837281 w 525"/>
              <a:gd name="T93" fmla="*/ 48927417 h 311"/>
              <a:gd name="T94" fmla="*/ 17064010 w 525"/>
              <a:gd name="T95" fmla="*/ 45886935 h 311"/>
              <a:gd name="T96" fmla="*/ 10238232 w 525"/>
              <a:gd name="T97" fmla="*/ 40911123 h 311"/>
              <a:gd name="T98" fmla="*/ 15926235 w 525"/>
              <a:gd name="T99" fmla="*/ 37040989 h 311"/>
              <a:gd name="T100" fmla="*/ 22751578 w 525"/>
              <a:gd name="T101" fmla="*/ 30683474 h 311"/>
              <a:gd name="T102" fmla="*/ 21045569 w 525"/>
              <a:gd name="T103" fmla="*/ 28471593 h 311"/>
              <a:gd name="T104" fmla="*/ 18959866 w 525"/>
              <a:gd name="T105" fmla="*/ 22114078 h 311"/>
              <a:gd name="T106" fmla="*/ 24078765 w 525"/>
              <a:gd name="T107" fmla="*/ 21008400 h 311"/>
              <a:gd name="T108" fmla="*/ 34886102 w 525"/>
              <a:gd name="T109" fmla="*/ 16032588 h 311"/>
              <a:gd name="T110" fmla="*/ 48157965 w 525"/>
              <a:gd name="T111" fmla="*/ 9675073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31" name="Freeform 522">
            <a:extLst>
              <a:ext uri="{FF2B5EF4-FFF2-40B4-BE49-F238E27FC236}">
                <a16:creationId xmlns:a16="http://schemas.microsoft.com/office/drawing/2014/main" id="{1834B037-A2AA-4D33-B83E-29133A8008B6}"/>
              </a:ext>
            </a:extLst>
          </p:cNvPr>
          <p:cNvSpPr>
            <a:spLocks/>
          </p:cNvSpPr>
          <p:nvPr>
            <p:custDataLst>
              <p:tags r:id="rId360"/>
            </p:custDataLst>
          </p:nvPr>
        </p:nvSpPr>
        <p:spPr bwMode="auto">
          <a:xfrm>
            <a:off x="6354053" y="1638024"/>
            <a:ext cx="43867" cy="73182"/>
          </a:xfrm>
          <a:custGeom>
            <a:avLst/>
            <a:gdLst>
              <a:gd name="T0" fmla="*/ 7429902 w 79"/>
              <a:gd name="T1" fmla="*/ 0 h 38"/>
              <a:gd name="T2" fmla="*/ 8722408 w 79"/>
              <a:gd name="T3" fmla="*/ 2137675 h 38"/>
              <a:gd name="T4" fmla="*/ 10014513 w 79"/>
              <a:gd name="T5" fmla="*/ 6413025 h 38"/>
              <a:gd name="T6" fmla="*/ 10983491 w 79"/>
              <a:gd name="T7" fmla="*/ 14965186 h 38"/>
              <a:gd name="T8" fmla="*/ 11629744 w 79"/>
              <a:gd name="T9" fmla="*/ 25655022 h 38"/>
              <a:gd name="T10" fmla="*/ 12114032 w 79"/>
              <a:gd name="T11" fmla="*/ 36344859 h 38"/>
              <a:gd name="T12" fmla="*/ 12437158 w 79"/>
              <a:gd name="T13" fmla="*/ 47033233 h 38"/>
              <a:gd name="T14" fmla="*/ 12760285 w 79"/>
              <a:gd name="T15" fmla="*/ 57723069 h 38"/>
              <a:gd name="T16" fmla="*/ 12760285 w 79"/>
              <a:gd name="T17" fmla="*/ 68412906 h 38"/>
              <a:gd name="T18" fmla="*/ 12437158 w 79"/>
              <a:gd name="T19" fmla="*/ 72688255 h 38"/>
              <a:gd name="T20" fmla="*/ 12114032 w 79"/>
              <a:gd name="T21" fmla="*/ 74827392 h 38"/>
              <a:gd name="T22" fmla="*/ 11629744 w 79"/>
              <a:gd name="T23" fmla="*/ 76965067 h 38"/>
              <a:gd name="T24" fmla="*/ 10983491 w 79"/>
              <a:gd name="T25" fmla="*/ 79102742 h 38"/>
              <a:gd name="T26" fmla="*/ 9206696 w 79"/>
              <a:gd name="T27" fmla="*/ 81240417 h 38"/>
              <a:gd name="T28" fmla="*/ 7429902 w 79"/>
              <a:gd name="T29" fmla="*/ 81240417 h 38"/>
              <a:gd name="T30" fmla="*/ 6137797 w 79"/>
              <a:gd name="T31" fmla="*/ 79102742 h 38"/>
              <a:gd name="T32" fmla="*/ 4845693 w 79"/>
              <a:gd name="T33" fmla="*/ 76965067 h 38"/>
              <a:gd name="T34" fmla="*/ 3392025 w 79"/>
              <a:gd name="T35" fmla="*/ 74827392 h 38"/>
              <a:gd name="T36" fmla="*/ 2422646 w 79"/>
              <a:gd name="T37" fmla="*/ 68412906 h 38"/>
              <a:gd name="T38" fmla="*/ 1292104 w 79"/>
              <a:gd name="T39" fmla="*/ 61999881 h 38"/>
              <a:gd name="T40" fmla="*/ 646253 w 79"/>
              <a:gd name="T41" fmla="*/ 53447720 h 38"/>
              <a:gd name="T42" fmla="*/ 323127 w 79"/>
              <a:gd name="T43" fmla="*/ 47033233 h 38"/>
              <a:gd name="T44" fmla="*/ 161563 w 79"/>
              <a:gd name="T45" fmla="*/ 42757883 h 38"/>
              <a:gd name="T46" fmla="*/ 0 w 79"/>
              <a:gd name="T47" fmla="*/ 36344859 h 38"/>
              <a:gd name="T48" fmla="*/ 0 w 79"/>
              <a:gd name="T49" fmla="*/ 27792697 h 38"/>
              <a:gd name="T50" fmla="*/ 161563 w 79"/>
              <a:gd name="T51" fmla="*/ 23517348 h 38"/>
              <a:gd name="T52" fmla="*/ 646253 w 79"/>
              <a:gd name="T53" fmla="*/ 19240536 h 38"/>
              <a:gd name="T54" fmla="*/ 1615231 w 79"/>
              <a:gd name="T55" fmla="*/ 12827511 h 38"/>
              <a:gd name="T56" fmla="*/ 2745772 w 79"/>
              <a:gd name="T57" fmla="*/ 8552162 h 38"/>
              <a:gd name="T58" fmla="*/ 5168820 w 79"/>
              <a:gd name="T59" fmla="*/ 2137675 h 38"/>
              <a:gd name="T60" fmla="*/ 7429902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32" name="Freeform 523">
            <a:extLst>
              <a:ext uri="{FF2B5EF4-FFF2-40B4-BE49-F238E27FC236}">
                <a16:creationId xmlns:a16="http://schemas.microsoft.com/office/drawing/2014/main" id="{2310E789-7504-458F-9E63-BA912689E3D4}"/>
              </a:ext>
            </a:extLst>
          </p:cNvPr>
          <p:cNvSpPr>
            <a:spLocks/>
          </p:cNvSpPr>
          <p:nvPr>
            <p:custDataLst>
              <p:tags r:id="rId361"/>
            </p:custDataLst>
          </p:nvPr>
        </p:nvSpPr>
        <p:spPr bwMode="auto">
          <a:xfrm>
            <a:off x="9562640" y="2024261"/>
            <a:ext cx="273649" cy="349646"/>
          </a:xfrm>
          <a:custGeom>
            <a:avLst/>
            <a:gdLst>
              <a:gd name="T0" fmla="*/ 4782297 w 459"/>
              <a:gd name="T1" fmla="*/ 12404251 h 511"/>
              <a:gd name="T2" fmla="*/ 2206950 w 459"/>
              <a:gd name="T3" fmla="*/ 6891484 h 511"/>
              <a:gd name="T4" fmla="*/ 0 w 459"/>
              <a:gd name="T5" fmla="*/ 0 h 511"/>
              <a:gd name="T6" fmla="*/ 4046361 w 459"/>
              <a:gd name="T7" fmla="*/ 1929468 h 511"/>
              <a:gd name="T8" fmla="*/ 6069756 w 459"/>
              <a:gd name="T9" fmla="*/ 1653830 h 511"/>
              <a:gd name="T10" fmla="*/ 17472903 w 459"/>
              <a:gd name="T11" fmla="*/ 18468820 h 511"/>
              <a:gd name="T12" fmla="*/ 26853514 w 459"/>
              <a:gd name="T13" fmla="*/ 33905093 h 511"/>
              <a:gd name="T14" fmla="*/ 39728104 w 459"/>
              <a:gd name="T15" fmla="*/ 54579020 h 511"/>
              <a:gd name="T16" fmla="*/ 47453287 w 459"/>
              <a:gd name="T17" fmla="*/ 65329441 h 511"/>
              <a:gd name="T18" fmla="*/ 55729993 w 459"/>
              <a:gd name="T19" fmla="*/ 73323478 h 511"/>
              <a:gd name="T20" fmla="*/ 68421029 w 459"/>
              <a:gd name="T21" fmla="*/ 85727729 h 511"/>
              <a:gd name="T22" fmla="*/ 73202897 w 459"/>
              <a:gd name="T23" fmla="*/ 92619213 h 511"/>
              <a:gd name="T24" fmla="*/ 67133141 w 459"/>
              <a:gd name="T25" fmla="*/ 88208474 h 511"/>
              <a:gd name="T26" fmla="*/ 59592370 w 459"/>
              <a:gd name="T27" fmla="*/ 81593154 h 511"/>
              <a:gd name="T28" fmla="*/ 57752959 w 459"/>
              <a:gd name="T29" fmla="*/ 82144430 h 511"/>
              <a:gd name="T30" fmla="*/ 57568975 w 459"/>
              <a:gd name="T31" fmla="*/ 85727729 h 511"/>
              <a:gd name="T32" fmla="*/ 58304911 w 459"/>
              <a:gd name="T33" fmla="*/ 92894851 h 511"/>
              <a:gd name="T34" fmla="*/ 59960338 w 459"/>
              <a:gd name="T35" fmla="*/ 98683257 h 511"/>
              <a:gd name="T36" fmla="*/ 64006700 w 459"/>
              <a:gd name="T37" fmla="*/ 106677294 h 511"/>
              <a:gd name="T38" fmla="*/ 72467390 w 459"/>
              <a:gd name="T39" fmla="*/ 116049523 h 511"/>
              <a:gd name="T40" fmla="*/ 80928080 w 459"/>
              <a:gd name="T41" fmla="*/ 126248667 h 511"/>
              <a:gd name="T42" fmla="*/ 82399094 w 459"/>
              <a:gd name="T43" fmla="*/ 131210158 h 511"/>
              <a:gd name="T44" fmla="*/ 78720701 w 459"/>
              <a:gd name="T45" fmla="*/ 129280689 h 511"/>
              <a:gd name="T46" fmla="*/ 72099422 w 459"/>
              <a:gd name="T47" fmla="*/ 127351221 h 511"/>
              <a:gd name="T48" fmla="*/ 72283406 w 459"/>
              <a:gd name="T49" fmla="*/ 136172173 h 511"/>
              <a:gd name="T50" fmla="*/ 73202897 w 459"/>
              <a:gd name="T51" fmla="*/ 140858025 h 511"/>
              <a:gd name="T52" fmla="*/ 71363486 w 459"/>
              <a:gd name="T53" fmla="*/ 135620897 h 511"/>
              <a:gd name="T54" fmla="*/ 66765602 w 459"/>
              <a:gd name="T55" fmla="*/ 128453774 h 511"/>
              <a:gd name="T56" fmla="*/ 63086780 w 459"/>
              <a:gd name="T57" fmla="*/ 122664844 h 511"/>
              <a:gd name="T58" fmla="*/ 62351273 w 459"/>
              <a:gd name="T59" fmla="*/ 118805907 h 511"/>
              <a:gd name="T60" fmla="*/ 60327878 w 459"/>
              <a:gd name="T61" fmla="*/ 113292615 h 511"/>
              <a:gd name="T62" fmla="*/ 57017452 w 459"/>
              <a:gd name="T63" fmla="*/ 105850379 h 511"/>
              <a:gd name="T64" fmla="*/ 54810073 w 459"/>
              <a:gd name="T65" fmla="*/ 101164002 h 511"/>
              <a:gd name="T66" fmla="*/ 51499648 w 459"/>
              <a:gd name="T67" fmla="*/ 98683257 h 511"/>
              <a:gd name="T68" fmla="*/ 48556762 w 459"/>
              <a:gd name="T69" fmla="*/ 94548681 h 511"/>
              <a:gd name="T70" fmla="*/ 45797860 w 459"/>
              <a:gd name="T71" fmla="*/ 86554644 h 511"/>
              <a:gd name="T72" fmla="*/ 45061924 w 459"/>
              <a:gd name="T73" fmla="*/ 80765714 h 511"/>
              <a:gd name="T74" fmla="*/ 43038958 w 459"/>
              <a:gd name="T75" fmla="*/ 77458053 h 511"/>
              <a:gd name="T76" fmla="*/ 35681743 w 459"/>
              <a:gd name="T77" fmla="*/ 67258909 h 511"/>
              <a:gd name="T78" fmla="*/ 31451398 w 459"/>
              <a:gd name="T79" fmla="*/ 60643589 h 511"/>
              <a:gd name="T80" fmla="*/ 29979955 w 459"/>
              <a:gd name="T81" fmla="*/ 55957211 h 511"/>
              <a:gd name="T82" fmla="*/ 28324957 w 459"/>
              <a:gd name="T83" fmla="*/ 51546998 h 511"/>
              <a:gd name="T84" fmla="*/ 21151725 w 459"/>
              <a:gd name="T85" fmla="*/ 42726045 h 511"/>
              <a:gd name="T86" fmla="*/ 12875019 w 459"/>
              <a:gd name="T87" fmla="*/ 35834561 h 511"/>
              <a:gd name="T88" fmla="*/ 8644674 w 459"/>
              <a:gd name="T89" fmla="*/ 30321794 h 511"/>
              <a:gd name="T90" fmla="*/ 6989247 w 459"/>
              <a:gd name="T91" fmla="*/ 25635417 h 511"/>
              <a:gd name="T92" fmla="*/ 6253311 w 459"/>
              <a:gd name="T93" fmla="*/ 2067392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nvGrpSpPr>
          <p:cNvPr id="933" name="Group 524">
            <a:extLst>
              <a:ext uri="{FF2B5EF4-FFF2-40B4-BE49-F238E27FC236}">
                <a16:creationId xmlns:a16="http://schemas.microsoft.com/office/drawing/2014/main" id="{3D4072D8-7EF5-48CD-BDAB-4083AE0FE149}"/>
              </a:ext>
            </a:extLst>
          </p:cNvPr>
          <p:cNvGrpSpPr>
            <a:grpSpLocks/>
          </p:cNvGrpSpPr>
          <p:nvPr>
            <p:custDataLst>
              <p:tags r:id="rId362"/>
            </p:custDataLst>
          </p:nvPr>
        </p:nvGrpSpPr>
        <p:grpSpPr bwMode="auto">
          <a:xfrm>
            <a:off x="7878399" y="1966668"/>
            <a:ext cx="934595" cy="499468"/>
            <a:chOff x="4115" y="1551"/>
            <a:chExt cx="504" cy="244"/>
          </a:xfrm>
          <a:solidFill>
            <a:schemeClr val="bg1">
              <a:lumMod val="65000"/>
            </a:schemeClr>
          </a:solidFill>
        </p:grpSpPr>
        <p:sp>
          <p:nvSpPr>
            <p:cNvPr id="958" name="Freeform 525">
              <a:extLst>
                <a:ext uri="{FF2B5EF4-FFF2-40B4-BE49-F238E27FC236}">
                  <a16:creationId xmlns:a16="http://schemas.microsoft.com/office/drawing/2014/main" id="{487A13A4-9D8A-47A6-A488-777118B182CD}"/>
                </a:ext>
              </a:extLst>
            </p:cNvPr>
            <p:cNvSpPr>
              <a:spLocks/>
            </p:cNvSpPr>
            <p:nvPr/>
          </p:nvSpPr>
          <p:spPr bwMode="auto">
            <a:xfrm>
              <a:off x="4540" y="1551"/>
              <a:ext cx="79" cy="81"/>
            </a:xfrm>
            <a:custGeom>
              <a:avLst/>
              <a:gdLst>
                <a:gd name="T0" fmla="*/ 1 w 240"/>
                <a:gd name="T1" fmla="*/ 27 h 259"/>
                <a:gd name="T2" fmla="*/ 9 w 240"/>
                <a:gd name="T3" fmla="*/ 29 h 259"/>
                <a:gd name="T4" fmla="*/ 13 w 240"/>
                <a:gd name="T5" fmla="*/ 27 h 259"/>
                <a:gd name="T6" fmla="*/ 14 w 240"/>
                <a:gd name="T7" fmla="*/ 23 h 259"/>
                <a:gd name="T8" fmla="*/ 21 w 240"/>
                <a:gd name="T9" fmla="*/ 18 h 259"/>
                <a:gd name="T10" fmla="*/ 23 w 240"/>
                <a:gd name="T11" fmla="*/ 12 h 259"/>
                <a:gd name="T12" fmla="*/ 26 w 240"/>
                <a:gd name="T13" fmla="*/ 3 h 259"/>
                <a:gd name="T14" fmla="*/ 23 w 240"/>
                <a:gd name="T15" fmla="*/ 0 h 259"/>
                <a:gd name="T16" fmla="*/ 22 w 240"/>
                <a:gd name="T17" fmla="*/ 4 h 259"/>
                <a:gd name="T18" fmla="*/ 22 w 240"/>
                <a:gd name="T19" fmla="*/ 8 h 259"/>
                <a:gd name="T20" fmla="*/ 18 w 240"/>
                <a:gd name="T21" fmla="*/ 12 h 259"/>
                <a:gd name="T22" fmla="*/ 14 w 240"/>
                <a:gd name="T23" fmla="*/ 16 h 259"/>
                <a:gd name="T24" fmla="*/ 12 w 240"/>
                <a:gd name="T25" fmla="*/ 20 h 259"/>
                <a:gd name="T26" fmla="*/ 10 w 240"/>
                <a:gd name="T27" fmla="*/ 24 h 259"/>
                <a:gd name="T28" fmla="*/ 2 w 240"/>
                <a:gd name="T29" fmla="*/ 25 h 259"/>
                <a:gd name="T30" fmla="*/ 0 w 240"/>
                <a:gd name="T31" fmla="*/ 25 h 259"/>
                <a:gd name="T32" fmla="*/ 1 w 240"/>
                <a:gd name="T33" fmla="*/ 27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59" name="Freeform 526">
              <a:extLst>
                <a:ext uri="{FF2B5EF4-FFF2-40B4-BE49-F238E27FC236}">
                  <a16:creationId xmlns:a16="http://schemas.microsoft.com/office/drawing/2014/main" id="{2CC69936-9160-4D1C-88B4-E0D8C88673E0}"/>
                </a:ext>
              </a:extLst>
            </p:cNvPr>
            <p:cNvSpPr>
              <a:spLocks/>
            </p:cNvSpPr>
            <p:nvPr/>
          </p:nvSpPr>
          <p:spPr bwMode="auto">
            <a:xfrm>
              <a:off x="4115" y="1761"/>
              <a:ext cx="84" cy="34"/>
            </a:xfrm>
            <a:custGeom>
              <a:avLst/>
              <a:gdLst>
                <a:gd name="T0" fmla="*/ 4 w 259"/>
                <a:gd name="T1" fmla="*/ 11 h 104"/>
                <a:gd name="T2" fmla="*/ 3 w 259"/>
                <a:gd name="T3" fmla="*/ 9 h 104"/>
                <a:gd name="T4" fmla="*/ 6 w 259"/>
                <a:gd name="T5" fmla="*/ 7 h 104"/>
                <a:gd name="T6" fmla="*/ 7 w 259"/>
                <a:gd name="T7" fmla="*/ 5 h 104"/>
                <a:gd name="T8" fmla="*/ 13 w 259"/>
                <a:gd name="T9" fmla="*/ 5 h 104"/>
                <a:gd name="T10" fmla="*/ 18 w 259"/>
                <a:gd name="T11" fmla="*/ 5 h 104"/>
                <a:gd name="T12" fmla="*/ 26 w 259"/>
                <a:gd name="T13" fmla="*/ 3 h 104"/>
                <a:gd name="T14" fmla="*/ 27 w 259"/>
                <a:gd name="T15" fmla="*/ 1 h 104"/>
                <a:gd name="T16" fmla="*/ 26 w 259"/>
                <a:gd name="T17" fmla="*/ 0 h 104"/>
                <a:gd name="T18" fmla="*/ 21 w 259"/>
                <a:gd name="T19" fmla="*/ 1 h 104"/>
                <a:gd name="T20" fmla="*/ 16 w 259"/>
                <a:gd name="T21" fmla="*/ 1 h 104"/>
                <a:gd name="T22" fmla="*/ 11 w 259"/>
                <a:gd name="T23" fmla="*/ 1 h 104"/>
                <a:gd name="T24" fmla="*/ 6 w 259"/>
                <a:gd name="T25" fmla="*/ 2 h 104"/>
                <a:gd name="T26" fmla="*/ 3 w 259"/>
                <a:gd name="T27" fmla="*/ 5 h 104"/>
                <a:gd name="T28" fmla="*/ 0 w 259"/>
                <a:gd name="T29" fmla="*/ 7 h 104"/>
                <a:gd name="T30" fmla="*/ 0 w 259"/>
                <a:gd name="T31" fmla="*/ 11 h 104"/>
                <a:gd name="T32" fmla="*/ 4 w 259"/>
                <a:gd name="T33" fmla="*/ 11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sp>
        <p:nvSpPr>
          <p:cNvPr id="934" name="Freeform 527">
            <a:extLst>
              <a:ext uri="{FF2B5EF4-FFF2-40B4-BE49-F238E27FC236}">
                <a16:creationId xmlns:a16="http://schemas.microsoft.com/office/drawing/2014/main" id="{754437BE-3FDC-4F06-A030-84089DBBE997}"/>
              </a:ext>
            </a:extLst>
          </p:cNvPr>
          <p:cNvSpPr>
            <a:spLocks/>
          </p:cNvSpPr>
          <p:nvPr>
            <p:custDataLst>
              <p:tags r:id="rId363"/>
            </p:custDataLst>
          </p:nvPr>
        </p:nvSpPr>
        <p:spPr bwMode="auto">
          <a:xfrm>
            <a:off x="6565034" y="2941066"/>
            <a:ext cx="739479" cy="664734"/>
          </a:xfrm>
          <a:custGeom>
            <a:avLst/>
            <a:gdLst>
              <a:gd name="T0" fmla="*/ 174039118 w 1227"/>
              <a:gd name="T1" fmla="*/ 127045523 h 979"/>
              <a:gd name="T2" fmla="*/ 174039118 w 1227"/>
              <a:gd name="T3" fmla="*/ 120502588 h 979"/>
              <a:gd name="T4" fmla="*/ 173665757 w 1227"/>
              <a:gd name="T5" fmla="*/ 112323788 h 979"/>
              <a:gd name="T6" fmla="*/ 169557485 w 1227"/>
              <a:gd name="T7" fmla="*/ 104962659 h 979"/>
              <a:gd name="T8" fmla="*/ 167876927 w 1227"/>
              <a:gd name="T9" fmla="*/ 100055066 h 979"/>
              <a:gd name="T10" fmla="*/ 152564357 w 1227"/>
              <a:gd name="T11" fmla="*/ 85060773 h 979"/>
              <a:gd name="T12" fmla="*/ 141733853 w 1227"/>
              <a:gd name="T13" fmla="*/ 71701823 h 979"/>
              <a:gd name="T14" fmla="*/ 140426656 w 1227"/>
              <a:gd name="T15" fmla="*/ 62432272 h 979"/>
              <a:gd name="T16" fmla="*/ 135571229 w 1227"/>
              <a:gd name="T17" fmla="*/ 59433623 h 979"/>
              <a:gd name="T18" fmla="*/ 129782400 w 1227"/>
              <a:gd name="T19" fmla="*/ 56434451 h 979"/>
              <a:gd name="T20" fmla="*/ 119138576 w 1227"/>
              <a:gd name="T21" fmla="*/ 53435279 h 979"/>
              <a:gd name="T22" fmla="*/ 111295394 w 1227"/>
              <a:gd name="T23" fmla="*/ 54798587 h 979"/>
              <a:gd name="T24" fmla="*/ 106440400 w 1227"/>
              <a:gd name="T25" fmla="*/ 55616780 h 979"/>
              <a:gd name="T26" fmla="*/ 98971012 w 1227"/>
              <a:gd name="T27" fmla="*/ 53162722 h 979"/>
              <a:gd name="T28" fmla="*/ 94302266 w 1227"/>
              <a:gd name="T29" fmla="*/ 48800765 h 979"/>
              <a:gd name="T30" fmla="*/ 90193995 w 1227"/>
              <a:gd name="T31" fmla="*/ 34896701 h 979"/>
              <a:gd name="T32" fmla="*/ 86832878 w 1227"/>
              <a:gd name="T33" fmla="*/ 28080686 h 979"/>
              <a:gd name="T34" fmla="*/ 80670687 w 1227"/>
              <a:gd name="T35" fmla="*/ 22082864 h 979"/>
              <a:gd name="T36" fmla="*/ 68159192 w 1227"/>
              <a:gd name="T37" fmla="*/ 16630679 h 979"/>
              <a:gd name="T38" fmla="*/ 56581533 w 1227"/>
              <a:gd name="T39" fmla="*/ 8723914 h 979"/>
              <a:gd name="T40" fmla="*/ 39961766 w 1227"/>
              <a:gd name="T41" fmla="*/ 2726093 h 979"/>
              <a:gd name="T42" fmla="*/ 30998501 w 1227"/>
              <a:gd name="T43" fmla="*/ 10359779 h 979"/>
              <a:gd name="T44" fmla="*/ 28197426 w 1227"/>
              <a:gd name="T45" fmla="*/ 16630679 h 979"/>
              <a:gd name="T46" fmla="*/ 28570787 w 1227"/>
              <a:gd name="T47" fmla="*/ 24536922 h 979"/>
              <a:gd name="T48" fmla="*/ 31558543 w 1227"/>
              <a:gd name="T49" fmla="*/ 32170608 h 979"/>
              <a:gd name="T50" fmla="*/ 28197426 w 1227"/>
              <a:gd name="T51" fmla="*/ 40894522 h 979"/>
              <a:gd name="T52" fmla="*/ 17739851 w 1227"/>
              <a:gd name="T53" fmla="*/ 50709187 h 979"/>
              <a:gd name="T54" fmla="*/ 10083782 w 1227"/>
              <a:gd name="T55" fmla="*/ 51799937 h 979"/>
              <a:gd name="T56" fmla="*/ 1680558 w 1227"/>
              <a:gd name="T57" fmla="*/ 49891515 h 979"/>
              <a:gd name="T58" fmla="*/ 0 w 1227"/>
              <a:gd name="T59" fmla="*/ 64340694 h 979"/>
              <a:gd name="T60" fmla="*/ 1680558 w 1227"/>
              <a:gd name="T61" fmla="*/ 73337687 h 979"/>
              <a:gd name="T62" fmla="*/ 4668314 w 1227"/>
              <a:gd name="T63" fmla="*/ 76881451 h 979"/>
              <a:gd name="T64" fmla="*/ 7469388 w 1227"/>
              <a:gd name="T65" fmla="*/ 83697466 h 979"/>
              <a:gd name="T66" fmla="*/ 15499250 w 1227"/>
              <a:gd name="T67" fmla="*/ 99237395 h 979"/>
              <a:gd name="T68" fmla="*/ 19047048 w 1227"/>
              <a:gd name="T69" fmla="*/ 112868902 h 979"/>
              <a:gd name="T70" fmla="*/ 22595277 w 1227"/>
              <a:gd name="T71" fmla="*/ 116413188 h 979"/>
              <a:gd name="T72" fmla="*/ 24835877 w 1227"/>
              <a:gd name="T73" fmla="*/ 119411838 h 979"/>
              <a:gd name="T74" fmla="*/ 27636952 w 1227"/>
              <a:gd name="T75" fmla="*/ 127863717 h 979"/>
              <a:gd name="T76" fmla="*/ 41829005 w 1227"/>
              <a:gd name="T77" fmla="*/ 148855831 h 979"/>
              <a:gd name="T78" fmla="*/ 46497751 w 1227"/>
              <a:gd name="T79" fmla="*/ 159488689 h 979"/>
              <a:gd name="T80" fmla="*/ 47804948 w 1227"/>
              <a:gd name="T81" fmla="*/ 170121024 h 979"/>
              <a:gd name="T82" fmla="*/ 49672187 w 1227"/>
              <a:gd name="T83" fmla="*/ 179663132 h 979"/>
              <a:gd name="T84" fmla="*/ 55834378 w 1227"/>
              <a:gd name="T85" fmla="*/ 191113660 h 979"/>
              <a:gd name="T86" fmla="*/ 67412037 w 1227"/>
              <a:gd name="T87" fmla="*/ 207471260 h 979"/>
              <a:gd name="T88" fmla="*/ 72454144 w 1227"/>
              <a:gd name="T89" fmla="*/ 221920961 h 979"/>
              <a:gd name="T90" fmla="*/ 79363490 w 1227"/>
              <a:gd name="T91" fmla="*/ 236370140 h 979"/>
              <a:gd name="T92" fmla="*/ 90193995 w 1227"/>
              <a:gd name="T93" fmla="*/ 255726911 h 979"/>
              <a:gd name="T94" fmla="*/ 98597219 w 1227"/>
              <a:gd name="T95" fmla="*/ 266904883 h 979"/>
              <a:gd name="T96" fmla="*/ 101398293 w 1227"/>
              <a:gd name="T97" fmla="*/ 259816311 h 979"/>
              <a:gd name="T98" fmla="*/ 101958767 w 1227"/>
              <a:gd name="T99" fmla="*/ 247820668 h 979"/>
              <a:gd name="T100" fmla="*/ 106440400 w 1227"/>
              <a:gd name="T101" fmla="*/ 244276383 h 979"/>
              <a:gd name="T102" fmla="*/ 112975953 w 1227"/>
              <a:gd name="T103" fmla="*/ 244003825 h 979"/>
              <a:gd name="T104" fmla="*/ 123246847 w 1227"/>
              <a:gd name="T105" fmla="*/ 247820668 h 979"/>
              <a:gd name="T106" fmla="*/ 132210113 w 1227"/>
              <a:gd name="T107" fmla="*/ 257090219 h 979"/>
              <a:gd name="T108" fmla="*/ 146962208 w 1227"/>
              <a:gd name="T109" fmla="*/ 228463897 h 979"/>
              <a:gd name="T110" fmla="*/ 223897985 w 1227"/>
              <a:gd name="T111" fmla="*/ 154581095 h 979"/>
              <a:gd name="T112" fmla="*/ 175532996 w 1227"/>
              <a:gd name="T113" fmla="*/ 127590638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35" name="Freeform 528">
            <a:extLst>
              <a:ext uri="{FF2B5EF4-FFF2-40B4-BE49-F238E27FC236}">
                <a16:creationId xmlns:a16="http://schemas.microsoft.com/office/drawing/2014/main" id="{CEA5D5D4-DA69-4B3F-BA33-B855C500E00C}"/>
              </a:ext>
            </a:extLst>
          </p:cNvPr>
          <p:cNvSpPr>
            <a:spLocks/>
          </p:cNvSpPr>
          <p:nvPr>
            <p:custDataLst>
              <p:tags r:id="rId364"/>
            </p:custDataLst>
          </p:nvPr>
        </p:nvSpPr>
        <p:spPr bwMode="auto">
          <a:xfrm>
            <a:off x="5833910" y="2347481"/>
            <a:ext cx="79379" cy="75213"/>
          </a:xfrm>
          <a:custGeom>
            <a:avLst/>
            <a:gdLst>
              <a:gd name="T0" fmla="*/ 22370702 w 146"/>
              <a:gd name="T1" fmla="*/ 8960556 h 81"/>
              <a:gd name="T2" fmla="*/ 21144717 w 146"/>
              <a:gd name="T3" fmla="*/ 11947172 h 81"/>
              <a:gd name="T4" fmla="*/ 19919124 w 146"/>
              <a:gd name="T5" fmla="*/ 14436372 h 81"/>
              <a:gd name="T6" fmla="*/ 18846583 w 146"/>
              <a:gd name="T7" fmla="*/ 17422989 h 81"/>
              <a:gd name="T8" fmla="*/ 18080538 w 146"/>
              <a:gd name="T9" fmla="*/ 20410311 h 81"/>
              <a:gd name="T10" fmla="*/ 16548057 w 146"/>
              <a:gd name="T11" fmla="*/ 26383544 h 81"/>
              <a:gd name="T12" fmla="*/ 15015967 w 146"/>
              <a:gd name="T13" fmla="*/ 31860067 h 81"/>
              <a:gd name="T14" fmla="*/ 14249922 w 146"/>
              <a:gd name="T15" fmla="*/ 34348561 h 81"/>
              <a:gd name="T16" fmla="*/ 13023937 w 146"/>
              <a:gd name="T17" fmla="*/ 36340344 h 81"/>
              <a:gd name="T18" fmla="*/ 11644900 w 146"/>
              <a:gd name="T19" fmla="*/ 38331422 h 81"/>
              <a:gd name="T20" fmla="*/ 10112810 w 146"/>
              <a:gd name="T21" fmla="*/ 39824378 h 81"/>
              <a:gd name="T22" fmla="*/ 8120780 w 146"/>
              <a:gd name="T23" fmla="*/ 40322500 h 81"/>
              <a:gd name="T24" fmla="*/ 5975698 w 146"/>
              <a:gd name="T25" fmla="*/ 39824378 h 81"/>
              <a:gd name="T26" fmla="*/ 3217623 w 146"/>
              <a:gd name="T27" fmla="*/ 38331422 h 81"/>
              <a:gd name="T28" fmla="*/ 0 w 146"/>
              <a:gd name="T29" fmla="*/ 36837761 h 81"/>
              <a:gd name="T30" fmla="*/ 0 w 146"/>
              <a:gd name="T31" fmla="*/ 30863822 h 81"/>
              <a:gd name="T32" fmla="*/ 0 w 146"/>
              <a:gd name="T33" fmla="*/ 24392467 h 81"/>
              <a:gd name="T34" fmla="*/ 0 w 146"/>
              <a:gd name="T35" fmla="*/ 16925572 h 81"/>
              <a:gd name="T36" fmla="*/ 0 w 146"/>
              <a:gd name="T37" fmla="*/ 8960556 h 81"/>
              <a:gd name="T38" fmla="*/ 2145082 w 146"/>
              <a:gd name="T39" fmla="*/ 8960556 h 81"/>
              <a:gd name="T40" fmla="*/ 3371067 w 146"/>
              <a:gd name="T41" fmla="*/ 8960556 h 81"/>
              <a:gd name="T42" fmla="*/ 4750104 w 146"/>
              <a:gd name="T43" fmla="*/ 8960556 h 81"/>
              <a:gd name="T44" fmla="*/ 6129142 w 146"/>
              <a:gd name="T45" fmla="*/ 8960556 h 81"/>
              <a:gd name="T46" fmla="*/ 7967728 w 146"/>
              <a:gd name="T47" fmla="*/ 8960556 h 81"/>
              <a:gd name="T48" fmla="*/ 9653261 w 146"/>
              <a:gd name="T49" fmla="*/ 7965017 h 81"/>
              <a:gd name="T50" fmla="*/ 11185351 w 146"/>
              <a:gd name="T51" fmla="*/ 6969478 h 81"/>
              <a:gd name="T52" fmla="*/ 12717441 w 146"/>
              <a:gd name="T53" fmla="*/ 5475817 h 81"/>
              <a:gd name="T54" fmla="*/ 15475515 w 146"/>
              <a:gd name="T55" fmla="*/ 2489200 h 81"/>
              <a:gd name="T56" fmla="*/ 18387034 w 146"/>
              <a:gd name="T57" fmla="*/ 0 h 81"/>
              <a:gd name="T58" fmla="*/ 19766071 w 146"/>
              <a:gd name="T59" fmla="*/ 1991078 h 81"/>
              <a:gd name="T60" fmla="*/ 20685168 w 146"/>
              <a:gd name="T61" fmla="*/ 4480278 h 81"/>
              <a:gd name="T62" fmla="*/ 21604657 w 146"/>
              <a:gd name="T63" fmla="*/ 6969478 h 81"/>
              <a:gd name="T64" fmla="*/ 22370702 w 146"/>
              <a:gd name="T65" fmla="*/ 8960556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36" name="Freeform 529">
            <a:extLst>
              <a:ext uri="{FF2B5EF4-FFF2-40B4-BE49-F238E27FC236}">
                <a16:creationId xmlns:a16="http://schemas.microsoft.com/office/drawing/2014/main" id="{328C4074-88F8-4884-B7CF-51F3DF278E52}"/>
              </a:ext>
            </a:extLst>
          </p:cNvPr>
          <p:cNvSpPr>
            <a:spLocks/>
          </p:cNvSpPr>
          <p:nvPr>
            <p:custDataLst>
              <p:tags r:id="rId365"/>
            </p:custDataLst>
          </p:nvPr>
        </p:nvSpPr>
        <p:spPr bwMode="auto">
          <a:xfrm>
            <a:off x="5472526" y="2625978"/>
            <a:ext cx="20889" cy="73182"/>
          </a:xfrm>
          <a:custGeom>
            <a:avLst/>
            <a:gdLst>
              <a:gd name="T0" fmla="*/ 7412224 w 34"/>
              <a:gd name="T1" fmla="*/ 66655561 h 49"/>
              <a:gd name="T2" fmla="*/ 7412224 w 34"/>
              <a:gd name="T3" fmla="*/ 46250679 h 49"/>
              <a:gd name="T4" fmla="*/ 7412224 w 34"/>
              <a:gd name="T5" fmla="*/ 34007749 h 49"/>
              <a:gd name="T6" fmla="*/ 7194176 w 34"/>
              <a:gd name="T7" fmla="*/ 28566836 h 49"/>
              <a:gd name="T8" fmla="*/ 7194176 w 34"/>
              <a:gd name="T9" fmla="*/ 23125922 h 49"/>
              <a:gd name="T10" fmla="*/ 6758081 w 34"/>
              <a:gd name="T11" fmla="*/ 20404883 h 49"/>
              <a:gd name="T12" fmla="*/ 6540033 w 34"/>
              <a:gd name="T13" fmla="*/ 16323906 h 49"/>
              <a:gd name="T14" fmla="*/ 5450261 w 34"/>
              <a:gd name="T15" fmla="*/ 10882993 h 49"/>
              <a:gd name="T16" fmla="*/ 4578070 w 34"/>
              <a:gd name="T17" fmla="*/ 0 h 49"/>
              <a:gd name="T18" fmla="*/ 1743915 w 34"/>
              <a:gd name="T19" fmla="*/ 0 h 49"/>
              <a:gd name="T20" fmla="*/ 0 w 34"/>
              <a:gd name="T21" fmla="*/ 0 h 49"/>
              <a:gd name="T22" fmla="*/ 654143 w 34"/>
              <a:gd name="T23" fmla="*/ 14963969 h 49"/>
              <a:gd name="T24" fmla="*/ 1525868 w 34"/>
              <a:gd name="T25" fmla="*/ 27206899 h 49"/>
              <a:gd name="T26" fmla="*/ 2180011 w 34"/>
              <a:gd name="T27" fmla="*/ 36728789 h 49"/>
              <a:gd name="T28" fmla="*/ 3052202 w 34"/>
              <a:gd name="T29" fmla="*/ 46250679 h 49"/>
              <a:gd name="T30" fmla="*/ 4141974 w 34"/>
              <a:gd name="T31" fmla="*/ 53052695 h 49"/>
              <a:gd name="T32" fmla="*/ 5232213 w 34"/>
              <a:gd name="T33" fmla="*/ 58493608 h 49"/>
              <a:gd name="T34" fmla="*/ 6321985 w 34"/>
              <a:gd name="T35" fmla="*/ 62574585 h 49"/>
              <a:gd name="T36" fmla="*/ 7412224 w 34"/>
              <a:gd name="T37" fmla="*/ 66655561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37" name="Freeform 530">
            <a:extLst>
              <a:ext uri="{FF2B5EF4-FFF2-40B4-BE49-F238E27FC236}">
                <a16:creationId xmlns:a16="http://schemas.microsoft.com/office/drawing/2014/main" id="{42001B21-96D9-4C5B-B301-112CC1299DF1}"/>
              </a:ext>
            </a:extLst>
          </p:cNvPr>
          <p:cNvSpPr>
            <a:spLocks/>
          </p:cNvSpPr>
          <p:nvPr>
            <p:custDataLst>
              <p:tags r:id="rId366"/>
            </p:custDataLst>
          </p:nvPr>
        </p:nvSpPr>
        <p:spPr bwMode="auto">
          <a:xfrm>
            <a:off x="4904339" y="3075232"/>
            <a:ext cx="39689" cy="73182"/>
          </a:xfrm>
          <a:custGeom>
            <a:avLst/>
            <a:gdLst>
              <a:gd name="T0" fmla="*/ 13608844 w 60"/>
              <a:gd name="T1" fmla="*/ 0 h 74"/>
              <a:gd name="T2" fmla="*/ 12701588 w 60"/>
              <a:gd name="T3" fmla="*/ 2385626 h 74"/>
              <a:gd name="T4" fmla="*/ 11567636 w 60"/>
              <a:gd name="T5" fmla="*/ 5964452 h 74"/>
              <a:gd name="T6" fmla="*/ 10887075 w 60"/>
              <a:gd name="T7" fmla="*/ 8946292 h 74"/>
              <a:gd name="T8" fmla="*/ 10433685 w 60"/>
              <a:gd name="T9" fmla="*/ 12525118 h 74"/>
              <a:gd name="T10" fmla="*/ 9299258 w 60"/>
              <a:gd name="T11" fmla="*/ 18489570 h 74"/>
              <a:gd name="T12" fmla="*/ 8392001 w 60"/>
              <a:gd name="T13" fmla="*/ 25050235 h 74"/>
              <a:gd name="T14" fmla="*/ 7938611 w 60"/>
              <a:gd name="T15" fmla="*/ 28032847 h 74"/>
              <a:gd name="T16" fmla="*/ 7258050 w 60"/>
              <a:gd name="T17" fmla="*/ 30418474 h 74"/>
              <a:gd name="T18" fmla="*/ 6577489 w 60"/>
              <a:gd name="T19" fmla="*/ 33401086 h 74"/>
              <a:gd name="T20" fmla="*/ 5670233 w 60"/>
              <a:gd name="T21" fmla="*/ 35786712 h 74"/>
              <a:gd name="T22" fmla="*/ 4536281 w 60"/>
              <a:gd name="T23" fmla="*/ 38768552 h 74"/>
              <a:gd name="T24" fmla="*/ 3402330 w 60"/>
              <a:gd name="T25" fmla="*/ 41154951 h 74"/>
              <a:gd name="T26" fmla="*/ 1814513 w 60"/>
              <a:gd name="T27" fmla="*/ 42943591 h 74"/>
              <a:gd name="T28" fmla="*/ 0 w 60"/>
              <a:gd name="T29" fmla="*/ 44136791 h 74"/>
              <a:gd name="T30" fmla="*/ 1133951 w 60"/>
              <a:gd name="T31" fmla="*/ 35786712 h 74"/>
              <a:gd name="T32" fmla="*/ 2721769 w 60"/>
              <a:gd name="T33" fmla="*/ 28032847 h 74"/>
              <a:gd name="T34" fmla="*/ 4309586 w 60"/>
              <a:gd name="T35" fmla="*/ 20278982 h 74"/>
              <a:gd name="T36" fmla="*/ 6124099 w 60"/>
              <a:gd name="T37" fmla="*/ 13718317 h 74"/>
              <a:gd name="T38" fmla="*/ 8165306 w 60"/>
              <a:gd name="T39" fmla="*/ 8350078 h 74"/>
              <a:gd name="T40" fmla="*/ 9753124 w 60"/>
              <a:gd name="T41" fmla="*/ 3578826 h 74"/>
              <a:gd name="T42" fmla="*/ 10887075 w 60"/>
              <a:gd name="T43" fmla="*/ 1789413 h 74"/>
              <a:gd name="T44" fmla="*/ 11794331 w 60"/>
              <a:gd name="T45" fmla="*/ 596214 h 74"/>
              <a:gd name="T46" fmla="*/ 12701588 w 60"/>
              <a:gd name="T47" fmla="*/ 0 h 74"/>
              <a:gd name="T48" fmla="*/ 13608844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38" name="Freeform 531">
            <a:extLst>
              <a:ext uri="{FF2B5EF4-FFF2-40B4-BE49-F238E27FC236}">
                <a16:creationId xmlns:a16="http://schemas.microsoft.com/office/drawing/2014/main" id="{1BD6B97D-ACC4-4F5B-BCBE-26836BC69155}"/>
              </a:ext>
            </a:extLst>
          </p:cNvPr>
          <p:cNvSpPr>
            <a:spLocks/>
          </p:cNvSpPr>
          <p:nvPr>
            <p:custDataLst>
              <p:tags r:id="rId367"/>
            </p:custDataLst>
          </p:nvPr>
        </p:nvSpPr>
        <p:spPr bwMode="auto">
          <a:xfrm>
            <a:off x="4822870" y="3095561"/>
            <a:ext cx="33423" cy="79279"/>
          </a:xfrm>
          <a:custGeom>
            <a:avLst/>
            <a:gdLst>
              <a:gd name="T0" fmla="*/ 3336720 w 47"/>
              <a:gd name="T1" fmla="*/ 14376118 h 45"/>
              <a:gd name="T2" fmla="*/ 5646990 w 47"/>
              <a:gd name="T3" fmla="*/ 14376118 h 45"/>
              <a:gd name="T4" fmla="*/ 7187171 w 47"/>
              <a:gd name="T5" fmla="*/ 10782088 h 45"/>
              <a:gd name="T6" fmla="*/ 8213620 w 47"/>
              <a:gd name="T7" fmla="*/ 8985744 h 45"/>
              <a:gd name="T8" fmla="*/ 8983710 w 47"/>
              <a:gd name="T9" fmla="*/ 5391714 h 45"/>
              <a:gd name="T10" fmla="*/ 9497442 w 47"/>
              <a:gd name="T11" fmla="*/ 1797685 h 45"/>
              <a:gd name="T12" fmla="*/ 10010666 w 47"/>
              <a:gd name="T13" fmla="*/ 0 h 45"/>
              <a:gd name="T14" fmla="*/ 11037115 w 47"/>
              <a:gd name="T15" fmla="*/ 1797685 h 45"/>
              <a:gd name="T16" fmla="*/ 12064071 w 47"/>
              <a:gd name="T17" fmla="*/ 3594029 h 45"/>
              <a:gd name="T18" fmla="*/ 11807206 w 47"/>
              <a:gd name="T19" fmla="*/ 12579773 h 45"/>
              <a:gd name="T20" fmla="*/ 11807206 w 47"/>
              <a:gd name="T21" fmla="*/ 19767832 h 45"/>
              <a:gd name="T22" fmla="*/ 11293981 w 47"/>
              <a:gd name="T23" fmla="*/ 26955891 h 45"/>
              <a:gd name="T24" fmla="*/ 11037115 w 47"/>
              <a:gd name="T25" fmla="*/ 34145291 h 45"/>
              <a:gd name="T26" fmla="*/ 9497442 w 47"/>
              <a:gd name="T27" fmla="*/ 46723723 h 45"/>
              <a:gd name="T28" fmla="*/ 7700395 w 47"/>
              <a:gd name="T29" fmla="*/ 57507152 h 45"/>
              <a:gd name="T30" fmla="*/ 6160215 w 47"/>
              <a:gd name="T31" fmla="*/ 68289241 h 45"/>
              <a:gd name="T32" fmla="*/ 4106810 w 47"/>
              <a:gd name="T33" fmla="*/ 75477299 h 45"/>
              <a:gd name="T34" fmla="*/ 1796539 w 47"/>
              <a:gd name="T35" fmla="*/ 80869014 h 45"/>
              <a:gd name="T36" fmla="*/ 0 w 47"/>
              <a:gd name="T37" fmla="*/ 80869014 h 45"/>
              <a:gd name="T38" fmla="*/ 513225 w 47"/>
              <a:gd name="T39" fmla="*/ 68289241 h 45"/>
              <a:gd name="T40" fmla="*/ 1540180 w 47"/>
              <a:gd name="T41" fmla="*/ 46723723 h 45"/>
              <a:gd name="T42" fmla="*/ 2823495 w 47"/>
              <a:gd name="T43" fmla="*/ 26955891 h 45"/>
              <a:gd name="T44" fmla="*/ 3336720 w 47"/>
              <a:gd name="T45" fmla="*/ 14376118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39" name="Freeform 532">
            <a:extLst>
              <a:ext uri="{FF2B5EF4-FFF2-40B4-BE49-F238E27FC236}">
                <a16:creationId xmlns:a16="http://schemas.microsoft.com/office/drawing/2014/main" id="{8C2A9D23-031C-499F-8B3D-12AE09B19016}"/>
              </a:ext>
            </a:extLst>
          </p:cNvPr>
          <p:cNvSpPr>
            <a:spLocks/>
          </p:cNvSpPr>
          <p:nvPr>
            <p:custDataLst>
              <p:tags r:id="rId368"/>
            </p:custDataLst>
          </p:nvPr>
        </p:nvSpPr>
        <p:spPr bwMode="auto">
          <a:xfrm>
            <a:off x="4787358" y="3087430"/>
            <a:ext cx="8355" cy="75213"/>
          </a:xfrm>
          <a:custGeom>
            <a:avLst/>
            <a:gdLst>
              <a:gd name="T0" fmla="*/ 357798 w 26"/>
              <a:gd name="T1" fmla="*/ 90725625 h 36"/>
              <a:gd name="T2" fmla="*/ 298206 w 26"/>
              <a:gd name="T3" fmla="*/ 75604688 h 36"/>
              <a:gd name="T4" fmla="*/ 179021 w 26"/>
              <a:gd name="T5" fmla="*/ 50403125 h 36"/>
              <a:gd name="T6" fmla="*/ 59592 w 26"/>
              <a:gd name="T7" fmla="*/ 25201563 h 36"/>
              <a:gd name="T8" fmla="*/ 0 w 26"/>
              <a:gd name="T9" fmla="*/ 0 h 36"/>
              <a:gd name="T10" fmla="*/ 1550865 w 26"/>
              <a:gd name="T11" fmla="*/ 0 h 36"/>
              <a:gd name="T12" fmla="*/ 1491273 w 26"/>
              <a:gd name="T13" fmla="*/ 30241875 h 36"/>
              <a:gd name="T14" fmla="*/ 1431681 w 26"/>
              <a:gd name="T15" fmla="*/ 57964388 h 36"/>
              <a:gd name="T16" fmla="*/ 1371844 w 26"/>
              <a:gd name="T17" fmla="*/ 68045013 h 36"/>
              <a:gd name="T18" fmla="*/ 1371844 w 26"/>
              <a:gd name="T19" fmla="*/ 78125638 h 36"/>
              <a:gd name="T20" fmla="*/ 1431681 w 26"/>
              <a:gd name="T21" fmla="*/ 85685313 h 36"/>
              <a:gd name="T22" fmla="*/ 1550865 w 26"/>
              <a:gd name="T23" fmla="*/ 90725625 h 36"/>
              <a:gd name="T24" fmla="*/ 357798 w 26"/>
              <a:gd name="T25" fmla="*/ 90725625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40" name="Freeform 533">
            <a:extLst>
              <a:ext uri="{FF2B5EF4-FFF2-40B4-BE49-F238E27FC236}">
                <a16:creationId xmlns:a16="http://schemas.microsoft.com/office/drawing/2014/main" id="{635DAC87-C476-4845-B9D9-7A5C4CA62E21}"/>
              </a:ext>
            </a:extLst>
          </p:cNvPr>
          <p:cNvSpPr>
            <a:spLocks/>
          </p:cNvSpPr>
          <p:nvPr>
            <p:custDataLst>
              <p:tags r:id="rId369"/>
            </p:custDataLst>
          </p:nvPr>
        </p:nvSpPr>
        <p:spPr bwMode="auto">
          <a:xfrm>
            <a:off x="6556677" y="2733718"/>
            <a:ext cx="244405" cy="207348"/>
          </a:xfrm>
          <a:custGeom>
            <a:avLst/>
            <a:gdLst>
              <a:gd name="T0" fmla="*/ 4833448 w 405"/>
              <a:gd name="T1" fmla="*/ 44763820 h 302"/>
              <a:gd name="T2" fmla="*/ 5205550 w 405"/>
              <a:gd name="T3" fmla="*/ 43105882 h 302"/>
              <a:gd name="T4" fmla="*/ 5577221 w 405"/>
              <a:gd name="T5" fmla="*/ 42553411 h 302"/>
              <a:gd name="T6" fmla="*/ 5205550 w 405"/>
              <a:gd name="T7" fmla="*/ 41724441 h 302"/>
              <a:gd name="T8" fmla="*/ 3346332 w 405"/>
              <a:gd name="T9" fmla="*/ 39514031 h 302"/>
              <a:gd name="T10" fmla="*/ 1115444 w 405"/>
              <a:gd name="T11" fmla="*/ 35092686 h 302"/>
              <a:gd name="T12" fmla="*/ 371671 w 405"/>
              <a:gd name="T13" fmla="*/ 32053307 h 302"/>
              <a:gd name="T14" fmla="*/ 929609 w 405"/>
              <a:gd name="T15" fmla="*/ 30947839 h 302"/>
              <a:gd name="T16" fmla="*/ 1115444 w 405"/>
              <a:gd name="T17" fmla="*/ 28737430 h 302"/>
              <a:gd name="T18" fmla="*/ 3160497 w 405"/>
              <a:gd name="T19" fmla="*/ 26802993 h 302"/>
              <a:gd name="T20" fmla="*/ 6320994 w 405"/>
              <a:gd name="T21" fmla="*/ 25698050 h 302"/>
              <a:gd name="T22" fmla="*/ 8737718 w 405"/>
              <a:gd name="T23" fmla="*/ 24316084 h 302"/>
              <a:gd name="T24" fmla="*/ 10596935 w 405"/>
              <a:gd name="T25" fmla="*/ 22658146 h 302"/>
              <a:gd name="T26" fmla="*/ 12456152 w 405"/>
              <a:gd name="T27" fmla="*/ 19342268 h 302"/>
              <a:gd name="T28" fmla="*/ 13943267 w 405"/>
              <a:gd name="T29" fmla="*/ 14368452 h 302"/>
              <a:gd name="T30" fmla="*/ 15616649 w 405"/>
              <a:gd name="T31" fmla="*/ 12987012 h 302"/>
              <a:gd name="T32" fmla="*/ 17661271 w 405"/>
              <a:gd name="T33" fmla="*/ 14368452 h 302"/>
              <a:gd name="T34" fmla="*/ 21751376 w 405"/>
              <a:gd name="T35" fmla="*/ 14921449 h 302"/>
              <a:gd name="T36" fmla="*/ 31418702 w 405"/>
              <a:gd name="T37" fmla="*/ 12710513 h 302"/>
              <a:gd name="T38" fmla="*/ 39413078 w 405"/>
              <a:gd name="T39" fmla="*/ 11881544 h 302"/>
              <a:gd name="T40" fmla="*/ 43502752 w 405"/>
              <a:gd name="T41" fmla="*/ 11329073 h 302"/>
              <a:gd name="T42" fmla="*/ 49080404 w 405"/>
              <a:gd name="T43" fmla="*/ 9671134 h 302"/>
              <a:gd name="T44" fmla="*/ 59119402 w 405"/>
              <a:gd name="T45" fmla="*/ 4697318 h 302"/>
              <a:gd name="T46" fmla="*/ 66741675 w 405"/>
              <a:gd name="T47" fmla="*/ 1105468 h 302"/>
              <a:gd name="T48" fmla="*/ 69158399 w 405"/>
              <a:gd name="T49" fmla="*/ 828969 h 302"/>
              <a:gd name="T50" fmla="*/ 71575554 w 405"/>
              <a:gd name="T51" fmla="*/ 828969 h 302"/>
              <a:gd name="T52" fmla="*/ 73992277 w 405"/>
              <a:gd name="T53" fmla="*/ 276498 h 302"/>
              <a:gd name="T54" fmla="*/ 73434340 w 405"/>
              <a:gd name="T55" fmla="*/ 2210410 h 302"/>
              <a:gd name="T56" fmla="*/ 66927510 w 405"/>
              <a:gd name="T57" fmla="*/ 11329073 h 302"/>
              <a:gd name="T58" fmla="*/ 63952849 w 405"/>
              <a:gd name="T59" fmla="*/ 15750418 h 302"/>
              <a:gd name="T60" fmla="*/ 63023672 w 405"/>
              <a:gd name="T61" fmla="*/ 17684329 h 302"/>
              <a:gd name="T62" fmla="*/ 63023672 w 405"/>
              <a:gd name="T63" fmla="*/ 26527020 h 302"/>
              <a:gd name="T64" fmla="*/ 62651569 w 405"/>
              <a:gd name="T65" fmla="*/ 41171970 h 302"/>
              <a:gd name="T66" fmla="*/ 62279898 w 405"/>
              <a:gd name="T67" fmla="*/ 49737637 h 302"/>
              <a:gd name="T68" fmla="*/ 60606517 w 405"/>
              <a:gd name="T69" fmla="*/ 54711453 h 302"/>
              <a:gd name="T70" fmla="*/ 56702678 w 405"/>
              <a:gd name="T71" fmla="*/ 58027330 h 302"/>
              <a:gd name="T72" fmla="*/ 49266240 w 405"/>
              <a:gd name="T73" fmla="*/ 62724648 h 302"/>
              <a:gd name="T74" fmla="*/ 19706323 w 405"/>
              <a:gd name="T75" fmla="*/ 83448882 h 302"/>
              <a:gd name="T76" fmla="*/ 10596935 w 405"/>
              <a:gd name="T77" fmla="*/ 71843311 h 302"/>
              <a:gd name="T78" fmla="*/ 13013659 w 405"/>
              <a:gd name="T79" fmla="*/ 63001147 h 302"/>
              <a:gd name="T80" fmla="*/ 15058711 w 405"/>
              <a:gd name="T81" fmla="*/ 57750832 h 302"/>
              <a:gd name="T82" fmla="*/ 15988320 w 405"/>
              <a:gd name="T83" fmla="*/ 47527227 h 302"/>
              <a:gd name="T84" fmla="*/ 13199494 w 405"/>
              <a:gd name="T85" fmla="*/ 47803725 h 302"/>
              <a:gd name="T86" fmla="*/ 10596935 w 405"/>
              <a:gd name="T87" fmla="*/ 46698257 h 302"/>
              <a:gd name="T88" fmla="*/ 7622273 w 405"/>
              <a:gd name="T89" fmla="*/ 45592790 h 302"/>
              <a:gd name="T90" fmla="*/ 4833448 w 405"/>
              <a:gd name="T91" fmla="*/ 45869288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41" name="Freeform 534">
            <a:extLst>
              <a:ext uri="{FF2B5EF4-FFF2-40B4-BE49-F238E27FC236}">
                <a16:creationId xmlns:a16="http://schemas.microsoft.com/office/drawing/2014/main" id="{6248311D-464C-4D34-9BC3-001C7307DB44}"/>
              </a:ext>
            </a:extLst>
          </p:cNvPr>
          <p:cNvSpPr>
            <a:spLocks/>
          </p:cNvSpPr>
          <p:nvPr>
            <p:custDataLst>
              <p:tags r:id="rId370"/>
            </p:custDataLst>
          </p:nvPr>
        </p:nvSpPr>
        <p:spPr bwMode="auto">
          <a:xfrm>
            <a:off x="9470728" y="3229727"/>
            <a:ext cx="60578" cy="103673"/>
          </a:xfrm>
          <a:custGeom>
            <a:avLst/>
            <a:gdLst>
              <a:gd name="T0" fmla="*/ 18371510 w 100"/>
              <a:gd name="T1" fmla="*/ 262194 h 155"/>
              <a:gd name="T2" fmla="*/ 18371510 w 100"/>
              <a:gd name="T3" fmla="*/ 7867343 h 155"/>
              <a:gd name="T4" fmla="*/ 18371510 w 100"/>
              <a:gd name="T5" fmla="*/ 14423206 h 155"/>
              <a:gd name="T6" fmla="*/ 18371510 w 100"/>
              <a:gd name="T7" fmla="*/ 20455194 h 155"/>
              <a:gd name="T8" fmla="*/ 18371510 w 100"/>
              <a:gd name="T9" fmla="*/ 25962282 h 155"/>
              <a:gd name="T10" fmla="*/ 18004183 w 100"/>
              <a:gd name="T11" fmla="*/ 28584730 h 155"/>
              <a:gd name="T12" fmla="*/ 17269100 w 100"/>
              <a:gd name="T13" fmla="*/ 30944472 h 155"/>
              <a:gd name="T14" fmla="*/ 16350567 w 100"/>
              <a:gd name="T15" fmla="*/ 33566919 h 155"/>
              <a:gd name="T16" fmla="*/ 15064707 w 100"/>
              <a:gd name="T17" fmla="*/ 35927173 h 155"/>
              <a:gd name="T18" fmla="*/ 13411091 w 100"/>
              <a:gd name="T19" fmla="*/ 37763040 h 155"/>
              <a:gd name="T20" fmla="*/ 11390148 w 100"/>
              <a:gd name="T21" fmla="*/ 39336714 h 155"/>
              <a:gd name="T22" fmla="*/ 10471615 w 100"/>
              <a:gd name="T23" fmla="*/ 39861101 h 155"/>
              <a:gd name="T24" fmla="*/ 9369633 w 100"/>
              <a:gd name="T25" fmla="*/ 40385488 h 155"/>
              <a:gd name="T26" fmla="*/ 8451101 w 100"/>
              <a:gd name="T27" fmla="*/ 40647681 h 155"/>
              <a:gd name="T28" fmla="*/ 7164812 w 100"/>
              <a:gd name="T29" fmla="*/ 40647681 h 155"/>
              <a:gd name="T30" fmla="*/ 6430157 w 100"/>
              <a:gd name="T31" fmla="*/ 40385488 h 155"/>
              <a:gd name="T32" fmla="*/ 5511625 w 100"/>
              <a:gd name="T33" fmla="*/ 40123294 h 155"/>
              <a:gd name="T34" fmla="*/ 4776541 w 100"/>
              <a:gd name="T35" fmla="*/ 39598907 h 155"/>
              <a:gd name="T36" fmla="*/ 4041887 w 100"/>
              <a:gd name="T37" fmla="*/ 39074008 h 155"/>
              <a:gd name="T38" fmla="*/ 2755598 w 100"/>
              <a:gd name="T39" fmla="*/ 37238653 h 155"/>
              <a:gd name="T40" fmla="*/ 1653616 w 100"/>
              <a:gd name="T41" fmla="*/ 35140593 h 155"/>
              <a:gd name="T42" fmla="*/ 918533 w 100"/>
              <a:gd name="T43" fmla="*/ 32518145 h 155"/>
              <a:gd name="T44" fmla="*/ 367327 w 100"/>
              <a:gd name="T45" fmla="*/ 29633504 h 155"/>
              <a:gd name="T46" fmla="*/ 0 w 100"/>
              <a:gd name="T47" fmla="*/ 27011056 h 155"/>
              <a:gd name="T48" fmla="*/ 0 w 100"/>
              <a:gd name="T49" fmla="*/ 24388609 h 155"/>
              <a:gd name="T50" fmla="*/ 0 w 100"/>
              <a:gd name="T51" fmla="*/ 20192488 h 155"/>
              <a:gd name="T52" fmla="*/ 0 w 100"/>
              <a:gd name="T53" fmla="*/ 17045653 h 155"/>
              <a:gd name="T54" fmla="*/ 0 w 100"/>
              <a:gd name="T55" fmla="*/ 14685399 h 155"/>
              <a:gd name="T56" fmla="*/ 0 w 100"/>
              <a:gd name="T57" fmla="*/ 13112238 h 155"/>
              <a:gd name="T58" fmla="*/ 2755598 w 100"/>
              <a:gd name="T59" fmla="*/ 13112238 h 155"/>
              <a:gd name="T60" fmla="*/ 4776541 w 100"/>
              <a:gd name="T61" fmla="*/ 13112238 h 155"/>
              <a:gd name="T62" fmla="*/ 4776541 w 100"/>
              <a:gd name="T63" fmla="*/ 10489790 h 155"/>
              <a:gd name="T64" fmla="*/ 4960419 w 100"/>
              <a:gd name="T65" fmla="*/ 8129536 h 155"/>
              <a:gd name="T66" fmla="*/ 5327747 w 100"/>
              <a:gd name="T67" fmla="*/ 6031476 h 155"/>
              <a:gd name="T68" fmla="*/ 5695074 w 100"/>
              <a:gd name="T69" fmla="*/ 4458315 h 155"/>
              <a:gd name="T70" fmla="*/ 6430157 w 100"/>
              <a:gd name="T71" fmla="*/ 3146835 h 155"/>
              <a:gd name="T72" fmla="*/ 7164812 w 100"/>
              <a:gd name="T73" fmla="*/ 1835867 h 155"/>
              <a:gd name="T74" fmla="*/ 7716017 w 100"/>
              <a:gd name="T75" fmla="*/ 1048774 h 155"/>
              <a:gd name="T76" fmla="*/ 8818428 w 100"/>
              <a:gd name="T77" fmla="*/ 524387 h 155"/>
              <a:gd name="T78" fmla="*/ 10839371 w 100"/>
              <a:gd name="T79" fmla="*/ 0 h 155"/>
              <a:gd name="T80" fmla="*/ 13043764 w 100"/>
              <a:gd name="T81" fmla="*/ 0 h 155"/>
              <a:gd name="T82" fmla="*/ 15432034 w 100"/>
              <a:gd name="T83" fmla="*/ 0 h 155"/>
              <a:gd name="T84" fmla="*/ 18371510 w 100"/>
              <a:gd name="T85" fmla="*/ 262194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nvGrpSpPr>
          <p:cNvPr id="942" name="Group 535">
            <a:extLst>
              <a:ext uri="{FF2B5EF4-FFF2-40B4-BE49-F238E27FC236}">
                <a16:creationId xmlns:a16="http://schemas.microsoft.com/office/drawing/2014/main" id="{C4B93008-8C5E-47E3-9022-0D6E4A0B50EB}"/>
              </a:ext>
            </a:extLst>
          </p:cNvPr>
          <p:cNvGrpSpPr>
            <a:grpSpLocks/>
          </p:cNvGrpSpPr>
          <p:nvPr>
            <p:custDataLst>
              <p:tags r:id="rId371"/>
            </p:custDataLst>
          </p:nvPr>
        </p:nvGrpSpPr>
        <p:grpSpPr bwMode="auto">
          <a:xfrm>
            <a:off x="6197013" y="2538374"/>
            <a:ext cx="671670" cy="262117"/>
            <a:chOff x="3289" y="1830"/>
            <a:chExt cx="363" cy="128"/>
          </a:xfrm>
          <a:solidFill>
            <a:schemeClr val="bg1">
              <a:lumMod val="65000"/>
            </a:schemeClr>
          </a:solidFill>
        </p:grpSpPr>
        <p:sp>
          <p:nvSpPr>
            <p:cNvPr id="953" name="Freeform 536">
              <a:extLst>
                <a:ext uri="{FF2B5EF4-FFF2-40B4-BE49-F238E27FC236}">
                  <a16:creationId xmlns:a16="http://schemas.microsoft.com/office/drawing/2014/main" id="{5464147C-832C-4991-A94D-A30845493668}"/>
                </a:ext>
              </a:extLst>
            </p:cNvPr>
            <p:cNvSpPr>
              <a:spLocks/>
            </p:cNvSpPr>
            <p:nvPr/>
          </p:nvSpPr>
          <p:spPr bwMode="auto">
            <a:xfrm>
              <a:off x="3289" y="1871"/>
              <a:ext cx="5" cy="3"/>
            </a:xfrm>
            <a:custGeom>
              <a:avLst/>
              <a:gdLst>
                <a:gd name="T0" fmla="*/ 1 w 13"/>
                <a:gd name="T1" fmla="*/ 0 h 7"/>
                <a:gd name="T2" fmla="*/ 1 w 13"/>
                <a:gd name="T3" fmla="*/ 0 h 7"/>
                <a:gd name="T4" fmla="*/ 1 w 13"/>
                <a:gd name="T5" fmla="*/ 0 h 7"/>
                <a:gd name="T6" fmla="*/ 0 w 13"/>
                <a:gd name="T7" fmla="*/ 1 h 7"/>
                <a:gd name="T8" fmla="*/ 0 w 13"/>
                <a:gd name="T9" fmla="*/ 1 h 7"/>
                <a:gd name="T10" fmla="*/ 1 w 13"/>
                <a:gd name="T11" fmla="*/ 0 h 7"/>
                <a:gd name="T12" fmla="*/ 1 w 13"/>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7">
                  <a:moveTo>
                    <a:pt x="13" y="0"/>
                  </a:moveTo>
                  <a:lnTo>
                    <a:pt x="12" y="1"/>
                  </a:lnTo>
                  <a:lnTo>
                    <a:pt x="9" y="3"/>
                  </a:lnTo>
                  <a:lnTo>
                    <a:pt x="4" y="5"/>
                  </a:lnTo>
                  <a:lnTo>
                    <a:pt x="0" y="7"/>
                  </a:lnTo>
                  <a:lnTo>
                    <a:pt x="7" y="3"/>
                  </a:lnTo>
                  <a:lnTo>
                    <a:pt x="13" y="0"/>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54" name="Freeform 537">
              <a:extLst>
                <a:ext uri="{FF2B5EF4-FFF2-40B4-BE49-F238E27FC236}">
                  <a16:creationId xmlns:a16="http://schemas.microsoft.com/office/drawing/2014/main" id="{8761136C-2BDA-480D-8273-1CE93B2C9A05}"/>
                </a:ext>
              </a:extLst>
            </p:cNvPr>
            <p:cNvSpPr>
              <a:spLocks/>
            </p:cNvSpPr>
            <p:nvPr/>
          </p:nvSpPr>
          <p:spPr bwMode="auto">
            <a:xfrm>
              <a:off x="3324" y="1937"/>
              <a:ext cx="10" cy="3"/>
            </a:xfrm>
            <a:custGeom>
              <a:avLst/>
              <a:gdLst>
                <a:gd name="T0" fmla="*/ 0 w 34"/>
                <a:gd name="T1" fmla="*/ 1 h 8"/>
                <a:gd name="T2" fmla="*/ 1 w 34"/>
                <a:gd name="T3" fmla="*/ 1 h 8"/>
                <a:gd name="T4" fmla="*/ 1 w 34"/>
                <a:gd name="T5" fmla="*/ 0 h 8"/>
                <a:gd name="T6" fmla="*/ 2 w 34"/>
                <a:gd name="T7" fmla="*/ 0 h 8"/>
                <a:gd name="T8" fmla="*/ 3 w 34"/>
                <a:gd name="T9" fmla="*/ 0 h 8"/>
                <a:gd name="T10" fmla="*/ 3 w 34"/>
                <a:gd name="T11" fmla="*/ 0 h 8"/>
                <a:gd name="T12" fmla="*/ 2 w 34"/>
                <a:gd name="T13" fmla="*/ 1 h 8"/>
                <a:gd name="T14" fmla="*/ 2 w 34"/>
                <a:gd name="T15" fmla="*/ 1 h 8"/>
                <a:gd name="T16" fmla="*/ 1 w 34"/>
                <a:gd name="T17" fmla="*/ 1 h 8"/>
                <a:gd name="T18" fmla="*/ 1 w 34"/>
                <a:gd name="T19" fmla="*/ 1 h 8"/>
                <a:gd name="T20" fmla="*/ 1 w 34"/>
                <a:gd name="T21" fmla="*/ 1 h 8"/>
                <a:gd name="T22" fmla="*/ 0 w 34"/>
                <a:gd name="T23" fmla="*/ 1 h 8"/>
                <a:gd name="T24" fmla="*/ 0 w 34"/>
                <a:gd name="T25" fmla="*/ 1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55" name="Freeform 538">
              <a:extLst>
                <a:ext uri="{FF2B5EF4-FFF2-40B4-BE49-F238E27FC236}">
                  <a16:creationId xmlns:a16="http://schemas.microsoft.com/office/drawing/2014/main" id="{205C1672-0696-44DF-85BA-24D520C29EFB}"/>
                </a:ext>
              </a:extLst>
            </p:cNvPr>
            <p:cNvSpPr>
              <a:spLocks/>
            </p:cNvSpPr>
            <p:nvPr/>
          </p:nvSpPr>
          <p:spPr bwMode="auto">
            <a:xfrm>
              <a:off x="3343" y="1948"/>
              <a:ext cx="2" cy="8"/>
            </a:xfrm>
            <a:custGeom>
              <a:avLst/>
              <a:gdLst>
                <a:gd name="T0" fmla="*/ 0 w 13"/>
                <a:gd name="T1" fmla="*/ 3 h 24"/>
                <a:gd name="T2" fmla="*/ 0 w 13"/>
                <a:gd name="T3" fmla="*/ 0 h 24"/>
                <a:gd name="T4" fmla="*/ 1 w 13"/>
                <a:gd name="T5" fmla="*/ 1 h 24"/>
                <a:gd name="T6" fmla="*/ 0 w 13"/>
                <a:gd name="T7" fmla="*/ 3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24">
                  <a:moveTo>
                    <a:pt x="0" y="24"/>
                  </a:moveTo>
                  <a:lnTo>
                    <a:pt x="0" y="0"/>
                  </a:lnTo>
                  <a:lnTo>
                    <a:pt x="13" y="12"/>
                  </a:lnTo>
                  <a:lnTo>
                    <a:pt x="0" y="24"/>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56" name="Freeform 539">
              <a:extLst>
                <a:ext uri="{FF2B5EF4-FFF2-40B4-BE49-F238E27FC236}">
                  <a16:creationId xmlns:a16="http://schemas.microsoft.com/office/drawing/2014/main" id="{725ACD86-2306-422E-97BA-3B2946F20814}"/>
                </a:ext>
              </a:extLst>
            </p:cNvPr>
            <p:cNvSpPr>
              <a:spLocks/>
            </p:cNvSpPr>
            <p:nvPr/>
          </p:nvSpPr>
          <p:spPr bwMode="auto">
            <a:xfrm>
              <a:off x="3313" y="1834"/>
              <a:ext cx="34" cy="23"/>
            </a:xfrm>
            <a:custGeom>
              <a:avLst/>
              <a:gdLst>
                <a:gd name="T0" fmla="*/ 0 w 107"/>
                <a:gd name="T1" fmla="*/ 1 h 69"/>
                <a:gd name="T2" fmla="*/ 0 w 107"/>
                <a:gd name="T3" fmla="*/ 3 h 69"/>
                <a:gd name="T4" fmla="*/ 0 w 107"/>
                <a:gd name="T5" fmla="*/ 5 h 69"/>
                <a:gd name="T6" fmla="*/ 0 w 107"/>
                <a:gd name="T7" fmla="*/ 7 h 69"/>
                <a:gd name="T8" fmla="*/ 0 w 107"/>
                <a:gd name="T9" fmla="*/ 8 h 69"/>
                <a:gd name="T10" fmla="*/ 2 w 107"/>
                <a:gd name="T11" fmla="*/ 7 h 69"/>
                <a:gd name="T12" fmla="*/ 5 w 107"/>
                <a:gd name="T13" fmla="*/ 6 h 69"/>
                <a:gd name="T14" fmla="*/ 9 w 107"/>
                <a:gd name="T15" fmla="*/ 6 h 69"/>
                <a:gd name="T16" fmla="*/ 11 w 107"/>
                <a:gd name="T17" fmla="*/ 5 h 69"/>
                <a:gd name="T18" fmla="*/ 10 w 107"/>
                <a:gd name="T19" fmla="*/ 4 h 69"/>
                <a:gd name="T20" fmla="*/ 10 w 107"/>
                <a:gd name="T21" fmla="*/ 4 h 69"/>
                <a:gd name="T22" fmla="*/ 9 w 107"/>
                <a:gd name="T23" fmla="*/ 3 h 69"/>
                <a:gd name="T24" fmla="*/ 8 w 107"/>
                <a:gd name="T25" fmla="*/ 3 h 69"/>
                <a:gd name="T26" fmla="*/ 7 w 107"/>
                <a:gd name="T27" fmla="*/ 3 h 69"/>
                <a:gd name="T28" fmla="*/ 7 w 107"/>
                <a:gd name="T29" fmla="*/ 2 h 69"/>
                <a:gd name="T30" fmla="*/ 6 w 107"/>
                <a:gd name="T31" fmla="*/ 2 h 69"/>
                <a:gd name="T32" fmla="*/ 6 w 107"/>
                <a:gd name="T33" fmla="*/ 1 h 69"/>
                <a:gd name="T34" fmla="*/ 6 w 107"/>
                <a:gd name="T35" fmla="*/ 1 h 69"/>
                <a:gd name="T36" fmla="*/ 6 w 107"/>
                <a:gd name="T37" fmla="*/ 0 h 69"/>
                <a:gd name="T38" fmla="*/ 5 w 107"/>
                <a:gd name="T39" fmla="*/ 0 h 69"/>
                <a:gd name="T40" fmla="*/ 4 w 107"/>
                <a:gd name="T41" fmla="*/ 0 h 69"/>
                <a:gd name="T42" fmla="*/ 2 w 107"/>
                <a:gd name="T43" fmla="*/ 1 h 69"/>
                <a:gd name="T44" fmla="*/ 0 w 107"/>
                <a:gd name="T45" fmla="*/ 1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57" name="Freeform 540">
              <a:extLst>
                <a:ext uri="{FF2B5EF4-FFF2-40B4-BE49-F238E27FC236}">
                  <a16:creationId xmlns:a16="http://schemas.microsoft.com/office/drawing/2014/main" id="{FCE6210B-F23C-459D-94D1-3836CA9D0490}"/>
                </a:ext>
              </a:extLst>
            </p:cNvPr>
            <p:cNvSpPr>
              <a:spLocks/>
            </p:cNvSpPr>
            <p:nvPr/>
          </p:nvSpPr>
          <p:spPr bwMode="auto">
            <a:xfrm>
              <a:off x="3302" y="1830"/>
              <a:ext cx="350" cy="128"/>
            </a:xfrm>
            <a:custGeom>
              <a:avLst/>
              <a:gdLst>
                <a:gd name="T0" fmla="*/ 106 w 1070"/>
                <a:gd name="T1" fmla="*/ 14 h 382"/>
                <a:gd name="T2" fmla="*/ 104 w 1070"/>
                <a:gd name="T3" fmla="*/ 12 h 382"/>
                <a:gd name="T4" fmla="*/ 103 w 1070"/>
                <a:gd name="T5" fmla="*/ 6 h 382"/>
                <a:gd name="T6" fmla="*/ 100 w 1070"/>
                <a:gd name="T7" fmla="*/ 4 h 382"/>
                <a:gd name="T8" fmla="*/ 87 w 1070"/>
                <a:gd name="T9" fmla="*/ 2 h 382"/>
                <a:gd name="T10" fmla="*/ 78 w 1070"/>
                <a:gd name="T11" fmla="*/ 6 h 382"/>
                <a:gd name="T12" fmla="*/ 73 w 1070"/>
                <a:gd name="T13" fmla="*/ 7 h 382"/>
                <a:gd name="T14" fmla="*/ 68 w 1070"/>
                <a:gd name="T15" fmla="*/ 7 h 382"/>
                <a:gd name="T16" fmla="*/ 65 w 1070"/>
                <a:gd name="T17" fmla="*/ 5 h 382"/>
                <a:gd name="T18" fmla="*/ 60 w 1070"/>
                <a:gd name="T19" fmla="*/ 4 h 382"/>
                <a:gd name="T20" fmla="*/ 56 w 1070"/>
                <a:gd name="T21" fmla="*/ 2 h 382"/>
                <a:gd name="T22" fmla="*/ 52 w 1070"/>
                <a:gd name="T23" fmla="*/ 2 h 382"/>
                <a:gd name="T24" fmla="*/ 50 w 1070"/>
                <a:gd name="T25" fmla="*/ 0 h 382"/>
                <a:gd name="T26" fmla="*/ 42 w 1070"/>
                <a:gd name="T27" fmla="*/ 2 h 382"/>
                <a:gd name="T28" fmla="*/ 32 w 1070"/>
                <a:gd name="T29" fmla="*/ 3 h 382"/>
                <a:gd name="T30" fmla="*/ 27 w 1070"/>
                <a:gd name="T31" fmla="*/ 5 h 382"/>
                <a:gd name="T32" fmla="*/ 15 w 1070"/>
                <a:gd name="T33" fmla="*/ 7 h 382"/>
                <a:gd name="T34" fmla="*/ 19 w 1070"/>
                <a:gd name="T35" fmla="*/ 8 h 382"/>
                <a:gd name="T36" fmla="*/ 18 w 1070"/>
                <a:gd name="T37" fmla="*/ 10 h 382"/>
                <a:gd name="T38" fmla="*/ 12 w 1070"/>
                <a:gd name="T39" fmla="*/ 10 h 382"/>
                <a:gd name="T40" fmla="*/ 5 w 1070"/>
                <a:gd name="T41" fmla="*/ 10 h 382"/>
                <a:gd name="T42" fmla="*/ 1 w 1070"/>
                <a:gd name="T43" fmla="*/ 12 h 382"/>
                <a:gd name="T44" fmla="*/ 0 w 1070"/>
                <a:gd name="T45" fmla="*/ 16 h 382"/>
                <a:gd name="T46" fmla="*/ 2 w 1070"/>
                <a:gd name="T47" fmla="*/ 19 h 382"/>
                <a:gd name="T48" fmla="*/ 2 w 1070"/>
                <a:gd name="T49" fmla="*/ 22 h 382"/>
                <a:gd name="T50" fmla="*/ 2 w 1070"/>
                <a:gd name="T51" fmla="*/ 23 h 382"/>
                <a:gd name="T52" fmla="*/ 5 w 1070"/>
                <a:gd name="T53" fmla="*/ 26 h 382"/>
                <a:gd name="T54" fmla="*/ 6 w 1070"/>
                <a:gd name="T55" fmla="*/ 29 h 382"/>
                <a:gd name="T56" fmla="*/ 8 w 1070"/>
                <a:gd name="T57" fmla="*/ 30 h 382"/>
                <a:gd name="T58" fmla="*/ 10 w 1070"/>
                <a:gd name="T59" fmla="*/ 33 h 382"/>
                <a:gd name="T60" fmla="*/ 22 w 1070"/>
                <a:gd name="T61" fmla="*/ 40 h 382"/>
                <a:gd name="T62" fmla="*/ 27 w 1070"/>
                <a:gd name="T63" fmla="*/ 42 h 382"/>
                <a:gd name="T64" fmla="*/ 28 w 1070"/>
                <a:gd name="T65" fmla="*/ 40 h 382"/>
                <a:gd name="T66" fmla="*/ 30 w 1070"/>
                <a:gd name="T67" fmla="*/ 38 h 382"/>
                <a:gd name="T68" fmla="*/ 32 w 1070"/>
                <a:gd name="T69" fmla="*/ 36 h 382"/>
                <a:gd name="T70" fmla="*/ 36 w 1070"/>
                <a:gd name="T71" fmla="*/ 36 h 382"/>
                <a:gd name="T72" fmla="*/ 39 w 1070"/>
                <a:gd name="T73" fmla="*/ 40 h 382"/>
                <a:gd name="T74" fmla="*/ 43 w 1070"/>
                <a:gd name="T75" fmla="*/ 42 h 382"/>
                <a:gd name="T76" fmla="*/ 48 w 1070"/>
                <a:gd name="T77" fmla="*/ 40 h 382"/>
                <a:gd name="T78" fmla="*/ 53 w 1070"/>
                <a:gd name="T79" fmla="*/ 38 h 382"/>
                <a:gd name="T80" fmla="*/ 56 w 1070"/>
                <a:gd name="T81" fmla="*/ 37 h 382"/>
                <a:gd name="T82" fmla="*/ 60 w 1070"/>
                <a:gd name="T83" fmla="*/ 37 h 382"/>
                <a:gd name="T84" fmla="*/ 61 w 1070"/>
                <a:gd name="T85" fmla="*/ 41 h 382"/>
                <a:gd name="T86" fmla="*/ 63 w 1070"/>
                <a:gd name="T87" fmla="*/ 42 h 382"/>
                <a:gd name="T88" fmla="*/ 66 w 1070"/>
                <a:gd name="T89" fmla="*/ 41 h 382"/>
                <a:gd name="T90" fmla="*/ 69 w 1070"/>
                <a:gd name="T91" fmla="*/ 38 h 382"/>
                <a:gd name="T92" fmla="*/ 80 w 1070"/>
                <a:gd name="T93" fmla="*/ 37 h 382"/>
                <a:gd name="T94" fmla="*/ 89 w 1070"/>
                <a:gd name="T95" fmla="*/ 36 h 382"/>
                <a:gd name="T96" fmla="*/ 98 w 1070"/>
                <a:gd name="T97" fmla="*/ 32 h 382"/>
                <a:gd name="T98" fmla="*/ 103 w 1070"/>
                <a:gd name="T99" fmla="*/ 32 h 382"/>
                <a:gd name="T100" fmla="*/ 108 w 1070"/>
                <a:gd name="T101" fmla="*/ 33 h 382"/>
                <a:gd name="T102" fmla="*/ 113 w 1070"/>
                <a:gd name="T103" fmla="*/ 35 h 382"/>
                <a:gd name="T104" fmla="*/ 113 w 1070"/>
                <a:gd name="T105" fmla="*/ 30 h 382"/>
                <a:gd name="T106" fmla="*/ 110 w 1070"/>
                <a:gd name="T107" fmla="*/ 24 h 382"/>
                <a:gd name="T108" fmla="*/ 109 w 1070"/>
                <a:gd name="T109" fmla="*/ 19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grpSp>
      <p:sp>
        <p:nvSpPr>
          <p:cNvPr id="943" name="Freeform 541">
            <a:extLst>
              <a:ext uri="{FF2B5EF4-FFF2-40B4-BE49-F238E27FC236}">
                <a16:creationId xmlns:a16="http://schemas.microsoft.com/office/drawing/2014/main" id="{B46FB6FA-CB22-4946-B6C8-86B3ED56C371}"/>
              </a:ext>
            </a:extLst>
          </p:cNvPr>
          <p:cNvSpPr>
            <a:spLocks/>
          </p:cNvSpPr>
          <p:nvPr>
            <p:custDataLst>
              <p:tags r:id="rId372"/>
            </p:custDataLst>
          </p:nvPr>
        </p:nvSpPr>
        <p:spPr bwMode="auto">
          <a:xfrm>
            <a:off x="3398224" y="4036759"/>
            <a:ext cx="137870" cy="158561"/>
          </a:xfrm>
          <a:custGeom>
            <a:avLst/>
            <a:gdLst>
              <a:gd name="T0" fmla="*/ 12337887 w 226"/>
              <a:gd name="T1" fmla="*/ 62779789 h 237"/>
              <a:gd name="T2" fmla="*/ 13316775 w 226"/>
              <a:gd name="T3" fmla="*/ 63045925 h 237"/>
              <a:gd name="T4" fmla="*/ 14687750 w 226"/>
              <a:gd name="T5" fmla="*/ 62513652 h 237"/>
              <a:gd name="T6" fmla="*/ 16254325 w 226"/>
              <a:gd name="T7" fmla="*/ 62248032 h 237"/>
              <a:gd name="T8" fmla="*/ 17429699 w 226"/>
              <a:gd name="T9" fmla="*/ 61184003 h 237"/>
              <a:gd name="T10" fmla="*/ 18800231 w 226"/>
              <a:gd name="T11" fmla="*/ 59321565 h 237"/>
              <a:gd name="T12" fmla="*/ 19387918 w 226"/>
              <a:gd name="T13" fmla="*/ 56927370 h 237"/>
              <a:gd name="T14" fmla="*/ 24088087 w 226"/>
              <a:gd name="T15" fmla="*/ 55597204 h 237"/>
              <a:gd name="T16" fmla="*/ 32509093 w 226"/>
              <a:gd name="T17" fmla="*/ 54533175 h 237"/>
              <a:gd name="T18" fmla="*/ 38188150 w 226"/>
              <a:gd name="T19" fmla="*/ 52671253 h 237"/>
              <a:gd name="T20" fmla="*/ 40930099 w 226"/>
              <a:gd name="T21" fmla="*/ 50809331 h 237"/>
              <a:gd name="T22" fmla="*/ 43084361 w 226"/>
              <a:gd name="T23" fmla="*/ 48149000 h 237"/>
              <a:gd name="T24" fmla="*/ 44063250 w 226"/>
              <a:gd name="T25" fmla="*/ 44690776 h 237"/>
              <a:gd name="T26" fmla="*/ 44259293 w 226"/>
              <a:gd name="T27" fmla="*/ 40700279 h 237"/>
              <a:gd name="T28" fmla="*/ 43671606 w 226"/>
              <a:gd name="T29" fmla="*/ 37242571 h 237"/>
              <a:gd name="T30" fmla="*/ 42105030 w 226"/>
              <a:gd name="T31" fmla="*/ 32719802 h 237"/>
              <a:gd name="T32" fmla="*/ 39755168 w 226"/>
              <a:gd name="T33" fmla="*/ 26601763 h 237"/>
              <a:gd name="T34" fmla="*/ 38384193 w 226"/>
              <a:gd name="T35" fmla="*/ 22345646 h 237"/>
              <a:gd name="T36" fmla="*/ 37796506 w 226"/>
              <a:gd name="T37" fmla="*/ 19685315 h 237"/>
              <a:gd name="T38" fmla="*/ 38188150 w 226"/>
              <a:gd name="T39" fmla="*/ 15694818 h 237"/>
              <a:gd name="T40" fmla="*/ 39167480 w 226"/>
              <a:gd name="T41" fmla="*/ 11438701 h 237"/>
              <a:gd name="T42" fmla="*/ 41713387 w 226"/>
              <a:gd name="T43" fmla="*/ 6650312 h 237"/>
              <a:gd name="T44" fmla="*/ 41713387 w 226"/>
              <a:gd name="T45" fmla="*/ 3724360 h 237"/>
              <a:gd name="T46" fmla="*/ 37404862 w 226"/>
              <a:gd name="T47" fmla="*/ 1861922 h 237"/>
              <a:gd name="T48" fmla="*/ 30158787 w 226"/>
              <a:gd name="T49" fmla="*/ 532273 h 237"/>
              <a:gd name="T50" fmla="*/ 3916881 w 226"/>
              <a:gd name="T51" fmla="*/ 1596302 h 237"/>
              <a:gd name="T52" fmla="*/ 3525237 w 226"/>
              <a:gd name="T53" fmla="*/ 8246613 h 237"/>
              <a:gd name="T54" fmla="*/ 1958219 w 226"/>
              <a:gd name="T55" fmla="*/ 14364653 h 237"/>
              <a:gd name="T56" fmla="*/ 587687 w 226"/>
              <a:gd name="T57" fmla="*/ 21015480 h 237"/>
              <a:gd name="T58" fmla="*/ 0 w 226"/>
              <a:gd name="T59" fmla="*/ 29527714 h 237"/>
              <a:gd name="T60" fmla="*/ 587687 w 226"/>
              <a:gd name="T61" fmla="*/ 34582240 h 237"/>
              <a:gd name="T62" fmla="*/ 1958219 w 226"/>
              <a:gd name="T63" fmla="*/ 38838357 h 237"/>
              <a:gd name="T64" fmla="*/ 5875100 w 226"/>
              <a:gd name="T65" fmla="*/ 46020941 h 237"/>
              <a:gd name="T66" fmla="*/ 9987581 w 226"/>
              <a:gd name="T67" fmla="*/ 52937389 h 237"/>
              <a:gd name="T68" fmla="*/ 11162955 w 226"/>
              <a:gd name="T69" fmla="*/ 57459642 h 237"/>
              <a:gd name="T70" fmla="*/ 11946243 w 226"/>
              <a:gd name="T71" fmla="*/ 62248032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44" name="Freeform 542">
            <a:extLst>
              <a:ext uri="{FF2B5EF4-FFF2-40B4-BE49-F238E27FC236}">
                <a16:creationId xmlns:a16="http://schemas.microsoft.com/office/drawing/2014/main" id="{F8945A35-AFF7-437F-AB07-F038B33FDC23}"/>
              </a:ext>
            </a:extLst>
          </p:cNvPr>
          <p:cNvSpPr>
            <a:spLocks/>
          </p:cNvSpPr>
          <p:nvPr>
            <p:custDataLst>
              <p:tags r:id="rId373"/>
            </p:custDataLst>
          </p:nvPr>
        </p:nvSpPr>
        <p:spPr bwMode="auto">
          <a:xfrm>
            <a:off x="8887917" y="3304941"/>
            <a:ext cx="290361" cy="595619"/>
          </a:xfrm>
          <a:custGeom>
            <a:avLst/>
            <a:gdLst>
              <a:gd name="T0" fmla="*/ 54324199 w 478"/>
              <a:gd name="T1" fmla="*/ 29966459 h 875"/>
              <a:gd name="T2" fmla="*/ 47320926 w 478"/>
              <a:gd name="T3" fmla="*/ 37938884 h 875"/>
              <a:gd name="T4" fmla="*/ 37667226 w 478"/>
              <a:gd name="T5" fmla="*/ 54159530 h 875"/>
              <a:gd name="T6" fmla="*/ 37477972 w 478"/>
              <a:gd name="T7" fmla="*/ 58558127 h 875"/>
              <a:gd name="T8" fmla="*/ 38992440 w 478"/>
              <a:gd name="T9" fmla="*/ 65706307 h 875"/>
              <a:gd name="T10" fmla="*/ 41831687 w 478"/>
              <a:gd name="T11" fmla="*/ 72853961 h 875"/>
              <a:gd name="T12" fmla="*/ 45427950 w 478"/>
              <a:gd name="T13" fmla="*/ 79177371 h 875"/>
              <a:gd name="T14" fmla="*/ 49024214 w 478"/>
              <a:gd name="T15" fmla="*/ 82751198 h 875"/>
              <a:gd name="T16" fmla="*/ 52810166 w 478"/>
              <a:gd name="T17" fmla="*/ 90448874 h 875"/>
              <a:gd name="T18" fmla="*/ 55838667 w 478"/>
              <a:gd name="T19" fmla="*/ 99246593 h 875"/>
              <a:gd name="T20" fmla="*/ 57731208 w 478"/>
              <a:gd name="T21" fmla="*/ 101445630 h 875"/>
              <a:gd name="T22" fmla="*/ 82905922 w 478"/>
              <a:gd name="T23" fmla="*/ 137185477 h 875"/>
              <a:gd name="T24" fmla="*/ 89152613 w 478"/>
              <a:gd name="T25" fmla="*/ 161928569 h 875"/>
              <a:gd name="T26" fmla="*/ 90477392 w 478"/>
              <a:gd name="T27" fmla="*/ 177873943 h 875"/>
              <a:gd name="T28" fmla="*/ 90098884 w 478"/>
              <a:gd name="T29" fmla="*/ 188870698 h 875"/>
              <a:gd name="T30" fmla="*/ 90477392 w 478"/>
              <a:gd name="T31" fmla="*/ 194644086 h 875"/>
              <a:gd name="T32" fmla="*/ 84609644 w 478"/>
              <a:gd name="T33" fmla="*/ 197393144 h 875"/>
              <a:gd name="T34" fmla="*/ 79498913 w 478"/>
              <a:gd name="T35" fmla="*/ 201516992 h 875"/>
              <a:gd name="T36" fmla="*/ 74009673 w 478"/>
              <a:gd name="T37" fmla="*/ 207840402 h 875"/>
              <a:gd name="T38" fmla="*/ 69088196 w 478"/>
              <a:gd name="T39" fmla="*/ 216912869 h 875"/>
              <a:gd name="T40" fmla="*/ 65870441 w 478"/>
              <a:gd name="T41" fmla="*/ 215812827 h 875"/>
              <a:gd name="T42" fmla="*/ 60381201 w 478"/>
              <a:gd name="T43" fmla="*/ 216912869 h 875"/>
              <a:gd name="T44" fmla="*/ 59245676 w 478"/>
              <a:gd name="T45" fmla="*/ 221036718 h 875"/>
              <a:gd name="T46" fmla="*/ 54702707 w 478"/>
              <a:gd name="T47" fmla="*/ 230383933 h 875"/>
              <a:gd name="T48" fmla="*/ 48456451 w 478"/>
              <a:gd name="T49" fmla="*/ 238631631 h 875"/>
              <a:gd name="T50" fmla="*/ 45238696 w 478"/>
              <a:gd name="T51" fmla="*/ 240555919 h 875"/>
              <a:gd name="T52" fmla="*/ 43913917 w 478"/>
              <a:gd name="T53" fmla="*/ 238631631 h 875"/>
              <a:gd name="T54" fmla="*/ 42588703 w 478"/>
              <a:gd name="T55" fmla="*/ 232033473 h 875"/>
              <a:gd name="T56" fmla="*/ 43724228 w 478"/>
              <a:gd name="T57" fmla="*/ 219936675 h 875"/>
              <a:gd name="T58" fmla="*/ 47888689 w 478"/>
              <a:gd name="T59" fmla="*/ 213063769 h 875"/>
              <a:gd name="T60" fmla="*/ 52431658 w 478"/>
              <a:gd name="T61" fmla="*/ 208939920 h 875"/>
              <a:gd name="T62" fmla="*/ 55838667 w 478"/>
              <a:gd name="T63" fmla="*/ 207015632 h 875"/>
              <a:gd name="T64" fmla="*/ 57731208 w 478"/>
              <a:gd name="T65" fmla="*/ 204266574 h 875"/>
              <a:gd name="T66" fmla="*/ 59434931 w 478"/>
              <a:gd name="T67" fmla="*/ 196293626 h 875"/>
              <a:gd name="T68" fmla="*/ 62463432 w 478"/>
              <a:gd name="T69" fmla="*/ 188595949 h 875"/>
              <a:gd name="T70" fmla="*/ 69088196 w 478"/>
              <a:gd name="T71" fmla="*/ 176774425 h 875"/>
              <a:gd name="T72" fmla="*/ 70224156 w 478"/>
              <a:gd name="T73" fmla="*/ 147357462 h 875"/>
              <a:gd name="T74" fmla="*/ 68898942 w 478"/>
              <a:gd name="T75" fmla="*/ 130587319 h 875"/>
              <a:gd name="T76" fmla="*/ 64545662 w 478"/>
              <a:gd name="T77" fmla="*/ 117391527 h 875"/>
              <a:gd name="T78" fmla="*/ 56217175 w 478"/>
              <a:gd name="T79" fmla="*/ 103645190 h 875"/>
              <a:gd name="T80" fmla="*/ 41453179 w 478"/>
              <a:gd name="T81" fmla="*/ 84675486 h 875"/>
              <a:gd name="T82" fmla="*/ 30474699 w 478"/>
              <a:gd name="T83" fmla="*/ 70104904 h 875"/>
              <a:gd name="T84" fmla="*/ 20442491 w 478"/>
              <a:gd name="T85" fmla="*/ 54434279 h 875"/>
              <a:gd name="T86" fmla="*/ 13628472 w 478"/>
              <a:gd name="T87" fmla="*/ 40138445 h 875"/>
              <a:gd name="T88" fmla="*/ 7949978 w 478"/>
              <a:gd name="T89" fmla="*/ 28591668 h 875"/>
              <a:gd name="T90" fmla="*/ 8706995 w 478"/>
              <a:gd name="T91" fmla="*/ 11271504 h 875"/>
              <a:gd name="T92" fmla="*/ 24417697 w 478"/>
              <a:gd name="T93" fmla="*/ 5223367 h 875"/>
              <a:gd name="T94" fmla="*/ 28013961 w 478"/>
              <a:gd name="T95" fmla="*/ 1374791 h 875"/>
              <a:gd name="T96" fmla="*/ 33124692 w 478"/>
              <a:gd name="T97" fmla="*/ 4398597 h 875"/>
              <a:gd name="T98" fmla="*/ 41831687 w 478"/>
              <a:gd name="T99" fmla="*/ 9622488 h 875"/>
              <a:gd name="T100" fmla="*/ 50917190 w 478"/>
              <a:gd name="T101" fmla="*/ 18419683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45" name="Freeform 543">
            <a:extLst>
              <a:ext uri="{FF2B5EF4-FFF2-40B4-BE49-F238E27FC236}">
                <a16:creationId xmlns:a16="http://schemas.microsoft.com/office/drawing/2014/main" id="{187AA6B1-6698-45B7-BB65-967D19DAFD68}"/>
              </a:ext>
            </a:extLst>
          </p:cNvPr>
          <p:cNvSpPr>
            <a:spLocks/>
          </p:cNvSpPr>
          <p:nvPr>
            <p:custDataLst>
              <p:tags r:id="rId374"/>
            </p:custDataLst>
          </p:nvPr>
        </p:nvSpPr>
        <p:spPr bwMode="auto">
          <a:xfrm>
            <a:off x="9009075" y="4195319"/>
            <a:ext cx="35513" cy="75216"/>
          </a:xfrm>
          <a:custGeom>
            <a:avLst/>
            <a:gdLst>
              <a:gd name="T0" fmla="*/ 10934915 w 59"/>
              <a:gd name="T1" fmla="*/ 20391489 h 31"/>
              <a:gd name="T2" fmla="*/ 10564247 w 59"/>
              <a:gd name="T3" fmla="*/ 37385318 h 31"/>
              <a:gd name="T4" fmla="*/ 9822912 w 59"/>
              <a:gd name="T5" fmla="*/ 50979644 h 31"/>
              <a:gd name="T6" fmla="*/ 9081576 w 59"/>
              <a:gd name="T7" fmla="*/ 64573969 h 31"/>
              <a:gd name="T8" fmla="*/ 8340241 w 59"/>
              <a:gd name="T9" fmla="*/ 81567798 h 31"/>
              <a:gd name="T10" fmla="*/ 7413356 w 59"/>
              <a:gd name="T11" fmla="*/ 91764465 h 31"/>
              <a:gd name="T12" fmla="*/ 6672020 w 59"/>
              <a:gd name="T13" fmla="*/ 98561627 h 31"/>
              <a:gd name="T14" fmla="*/ 5560017 w 59"/>
              <a:gd name="T15" fmla="*/ 105358790 h 31"/>
              <a:gd name="T16" fmla="*/ 4818681 w 59"/>
              <a:gd name="T17" fmla="*/ 105358790 h 31"/>
              <a:gd name="T18" fmla="*/ 3892227 w 59"/>
              <a:gd name="T19" fmla="*/ 105358790 h 31"/>
              <a:gd name="T20" fmla="*/ 3150892 w 59"/>
              <a:gd name="T21" fmla="*/ 101959287 h 31"/>
              <a:gd name="T22" fmla="*/ 2594675 w 59"/>
              <a:gd name="T23" fmla="*/ 98561627 h 31"/>
              <a:gd name="T24" fmla="*/ 2038888 w 59"/>
              <a:gd name="T25" fmla="*/ 91764465 h 31"/>
              <a:gd name="T26" fmla="*/ 741336 w 59"/>
              <a:gd name="T27" fmla="*/ 67973473 h 31"/>
              <a:gd name="T28" fmla="*/ 0 w 59"/>
              <a:gd name="T29" fmla="*/ 40784821 h 31"/>
              <a:gd name="T30" fmla="*/ 185549 w 59"/>
              <a:gd name="T31" fmla="*/ 30588155 h 31"/>
              <a:gd name="T32" fmla="*/ 556217 w 59"/>
              <a:gd name="T33" fmla="*/ 20391489 h 31"/>
              <a:gd name="T34" fmla="*/ 926885 w 59"/>
              <a:gd name="T35" fmla="*/ 13594326 h 31"/>
              <a:gd name="T36" fmla="*/ 1482671 w 59"/>
              <a:gd name="T37" fmla="*/ 10196666 h 31"/>
              <a:gd name="T38" fmla="*/ 2965342 w 59"/>
              <a:gd name="T39" fmla="*/ 3399503 h 31"/>
              <a:gd name="T40" fmla="*/ 4448014 w 59"/>
              <a:gd name="T41" fmla="*/ 0 h 31"/>
              <a:gd name="T42" fmla="*/ 6301353 w 59"/>
              <a:gd name="T43" fmla="*/ 0 h 31"/>
              <a:gd name="T44" fmla="*/ 7784024 w 59"/>
              <a:gd name="T45" fmla="*/ 6797163 h 31"/>
              <a:gd name="T46" fmla="*/ 9452244 w 59"/>
              <a:gd name="T47" fmla="*/ 13594326 h 31"/>
              <a:gd name="T48" fmla="*/ 10934915 w 59"/>
              <a:gd name="T49" fmla="*/ 20391489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chemeClr val="bg1">
              <a:lumMod val="65000"/>
            </a:schemeClr>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46" name="Freeform 544">
            <a:extLst>
              <a:ext uri="{FF2B5EF4-FFF2-40B4-BE49-F238E27FC236}">
                <a16:creationId xmlns:a16="http://schemas.microsoft.com/office/drawing/2014/main" id="{D7FC5988-344E-47B1-89B4-CDD6672F9B26}"/>
              </a:ext>
            </a:extLst>
          </p:cNvPr>
          <p:cNvSpPr>
            <a:spLocks/>
          </p:cNvSpPr>
          <p:nvPr>
            <p:custDataLst>
              <p:tags r:id="rId375"/>
            </p:custDataLst>
          </p:nvPr>
        </p:nvSpPr>
        <p:spPr bwMode="auto">
          <a:xfrm>
            <a:off x="7189622" y="3231759"/>
            <a:ext cx="242315" cy="353711"/>
          </a:xfrm>
          <a:custGeom>
            <a:avLst/>
            <a:gdLst>
              <a:gd name="T0" fmla="*/ 38308523 w 399"/>
              <a:gd name="T1" fmla="*/ 2196851 h 518"/>
              <a:gd name="T2" fmla="*/ 38691911 w 399"/>
              <a:gd name="T3" fmla="*/ 6041864 h 518"/>
              <a:gd name="T4" fmla="*/ 39841197 w 399"/>
              <a:gd name="T5" fmla="*/ 9886877 h 518"/>
              <a:gd name="T6" fmla="*/ 40990483 w 399"/>
              <a:gd name="T7" fmla="*/ 13457283 h 518"/>
              <a:gd name="T8" fmla="*/ 42905669 w 399"/>
              <a:gd name="T9" fmla="*/ 17302296 h 518"/>
              <a:gd name="T10" fmla="*/ 45012548 w 399"/>
              <a:gd name="T11" fmla="*/ 20597572 h 518"/>
              <a:gd name="T12" fmla="*/ 47694508 w 399"/>
              <a:gd name="T13" fmla="*/ 23618766 h 518"/>
              <a:gd name="T14" fmla="*/ 50567286 w 399"/>
              <a:gd name="T15" fmla="*/ 26090747 h 518"/>
              <a:gd name="T16" fmla="*/ 60527476 w 399"/>
              <a:gd name="T17" fmla="*/ 29111417 h 518"/>
              <a:gd name="T18" fmla="*/ 69913460 w 399"/>
              <a:gd name="T19" fmla="*/ 32681824 h 518"/>
              <a:gd name="T20" fmla="*/ 72786676 w 399"/>
              <a:gd name="T21" fmla="*/ 34878675 h 518"/>
              <a:gd name="T22" fmla="*/ 75084811 w 399"/>
              <a:gd name="T23" fmla="*/ 37625262 h 518"/>
              <a:gd name="T24" fmla="*/ 76234097 w 399"/>
              <a:gd name="T25" fmla="*/ 41470275 h 518"/>
              <a:gd name="T26" fmla="*/ 76234097 w 399"/>
              <a:gd name="T27" fmla="*/ 47786745 h 518"/>
              <a:gd name="T28" fmla="*/ 74701862 w 399"/>
              <a:gd name="T29" fmla="*/ 54927558 h 518"/>
              <a:gd name="T30" fmla="*/ 70679359 w 399"/>
              <a:gd name="T31" fmla="*/ 65638254 h 518"/>
              <a:gd name="T32" fmla="*/ 65890958 w 399"/>
              <a:gd name="T33" fmla="*/ 75799737 h 518"/>
              <a:gd name="T34" fmla="*/ 62826049 w 399"/>
              <a:gd name="T35" fmla="*/ 83215156 h 518"/>
              <a:gd name="T36" fmla="*/ 60144526 w 399"/>
              <a:gd name="T37" fmla="*/ 90630052 h 518"/>
              <a:gd name="T38" fmla="*/ 58803984 w 399"/>
              <a:gd name="T39" fmla="*/ 98869290 h 518"/>
              <a:gd name="T40" fmla="*/ 56888361 w 399"/>
              <a:gd name="T41" fmla="*/ 103538122 h 518"/>
              <a:gd name="T42" fmla="*/ 51333623 w 399"/>
              <a:gd name="T43" fmla="*/ 106284186 h 518"/>
              <a:gd name="T44" fmla="*/ 47119865 w 399"/>
              <a:gd name="T45" fmla="*/ 109579986 h 518"/>
              <a:gd name="T46" fmla="*/ 45012548 w 399"/>
              <a:gd name="T47" fmla="*/ 112051967 h 518"/>
              <a:gd name="T48" fmla="*/ 43480312 w 399"/>
              <a:gd name="T49" fmla="*/ 114523424 h 518"/>
              <a:gd name="T50" fmla="*/ 42905669 w 399"/>
              <a:gd name="T51" fmla="*/ 117270012 h 518"/>
              <a:gd name="T52" fmla="*/ 40798790 w 399"/>
              <a:gd name="T53" fmla="*/ 120290682 h 518"/>
              <a:gd name="T54" fmla="*/ 36009951 w 399"/>
              <a:gd name="T55" fmla="*/ 123586482 h 518"/>
              <a:gd name="T56" fmla="*/ 33137173 w 399"/>
              <a:gd name="T57" fmla="*/ 125234120 h 518"/>
              <a:gd name="T58" fmla="*/ 31796193 w 399"/>
              <a:gd name="T59" fmla="*/ 128255314 h 518"/>
              <a:gd name="T60" fmla="*/ 30263957 w 399"/>
              <a:gd name="T61" fmla="*/ 132100327 h 518"/>
              <a:gd name="T62" fmla="*/ 27965384 w 399"/>
              <a:gd name="T63" fmla="*/ 134571784 h 518"/>
              <a:gd name="T64" fmla="*/ 25092168 w 399"/>
              <a:gd name="T65" fmla="*/ 135670733 h 518"/>
              <a:gd name="T66" fmla="*/ 19537430 w 399"/>
              <a:gd name="T67" fmla="*/ 136769159 h 518"/>
              <a:gd name="T68" fmla="*/ 13982692 w 399"/>
              <a:gd name="T69" fmla="*/ 138416797 h 518"/>
              <a:gd name="T70" fmla="*/ 10534833 w 399"/>
              <a:gd name="T71" fmla="*/ 140614172 h 518"/>
              <a:gd name="T72" fmla="*/ 8810904 w 399"/>
              <a:gd name="T73" fmla="*/ 141163384 h 518"/>
              <a:gd name="T74" fmla="*/ 8236260 w 399"/>
              <a:gd name="T75" fmla="*/ 138966010 h 518"/>
              <a:gd name="T76" fmla="*/ 7278668 w 399"/>
              <a:gd name="T77" fmla="*/ 136494552 h 518"/>
              <a:gd name="T78" fmla="*/ 6512331 w 399"/>
              <a:gd name="T79" fmla="*/ 133747965 h 518"/>
              <a:gd name="T80" fmla="*/ 6321075 w 399"/>
              <a:gd name="T81" fmla="*/ 128529920 h 518"/>
              <a:gd name="T82" fmla="*/ 5554738 w 399"/>
              <a:gd name="T83" fmla="*/ 122213450 h 518"/>
              <a:gd name="T84" fmla="*/ 3256165 w 399"/>
              <a:gd name="T85" fmla="*/ 114798031 h 518"/>
              <a:gd name="T86" fmla="*/ 0 w 399"/>
              <a:gd name="T87" fmla="*/ 98320078 h 518"/>
              <a:gd name="T88" fmla="*/ 37159237 w 399"/>
              <a:gd name="T89" fmla="*/ 50807939 h 518"/>
              <a:gd name="T90" fmla="*/ 38308523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0872A6"/>
          </a:solidFill>
          <a:ln w="9525" cap="flat" cmpd="sng">
            <a:solidFill>
              <a:schemeClr val="bg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47" name="Freeform 545">
            <a:extLst>
              <a:ext uri="{FF2B5EF4-FFF2-40B4-BE49-F238E27FC236}">
                <a16:creationId xmlns:a16="http://schemas.microsoft.com/office/drawing/2014/main" id="{342DC0E9-CD16-4BC1-AB76-1B3857BDA440}"/>
              </a:ext>
            </a:extLst>
          </p:cNvPr>
          <p:cNvSpPr>
            <a:spLocks/>
          </p:cNvSpPr>
          <p:nvPr>
            <p:custDataLst>
              <p:tags r:id="rId376"/>
            </p:custDataLst>
          </p:nvPr>
        </p:nvSpPr>
        <p:spPr bwMode="auto">
          <a:xfrm>
            <a:off x="5416124" y="3302909"/>
            <a:ext cx="524321" cy="500075"/>
          </a:xfrm>
          <a:custGeom>
            <a:avLst/>
            <a:gdLst>
              <a:gd name="T0" fmla="*/ 43601466 w 866"/>
              <a:gd name="T1" fmla="*/ 73373496 h 740"/>
              <a:gd name="T2" fmla="*/ 46243821 w 866"/>
              <a:gd name="T3" fmla="*/ 71742870 h 740"/>
              <a:gd name="T4" fmla="*/ 51340412 w 866"/>
              <a:gd name="T5" fmla="*/ 73917212 h 740"/>
              <a:gd name="T6" fmla="*/ 123443427 w 866"/>
              <a:gd name="T7" fmla="*/ 271597 h 740"/>
              <a:gd name="T8" fmla="*/ 128162043 w 866"/>
              <a:gd name="T9" fmla="*/ 1630626 h 740"/>
              <a:gd name="T10" fmla="*/ 134201835 w 866"/>
              <a:gd name="T11" fmla="*/ 5706671 h 740"/>
              <a:gd name="T12" fmla="*/ 137788261 w 866"/>
              <a:gd name="T13" fmla="*/ 9511640 h 740"/>
              <a:gd name="T14" fmla="*/ 143450947 w 866"/>
              <a:gd name="T15" fmla="*/ 15489908 h 740"/>
              <a:gd name="T16" fmla="*/ 149302187 w 866"/>
              <a:gd name="T17" fmla="*/ 16033624 h 740"/>
              <a:gd name="T18" fmla="*/ 156852145 w 866"/>
              <a:gd name="T19" fmla="*/ 11685461 h 740"/>
              <a:gd name="T20" fmla="*/ 161193654 w 866"/>
              <a:gd name="T21" fmla="*/ 45111217 h 740"/>
              <a:gd name="T22" fmla="*/ 163458467 w 866"/>
              <a:gd name="T23" fmla="*/ 55709246 h 740"/>
              <a:gd name="T24" fmla="*/ 160438571 w 866"/>
              <a:gd name="T25" fmla="*/ 81797704 h 740"/>
              <a:gd name="T26" fmla="*/ 160061029 w 866"/>
              <a:gd name="T27" fmla="*/ 102179492 h 740"/>
              <a:gd name="T28" fmla="*/ 157418240 w 866"/>
              <a:gd name="T29" fmla="*/ 114408147 h 740"/>
              <a:gd name="T30" fmla="*/ 151378447 w 866"/>
              <a:gd name="T31" fmla="*/ 126908921 h 740"/>
              <a:gd name="T32" fmla="*/ 146659832 w 866"/>
              <a:gd name="T33" fmla="*/ 135605248 h 740"/>
              <a:gd name="T34" fmla="*/ 143073406 w 866"/>
              <a:gd name="T35" fmla="*/ 154084290 h 740"/>
              <a:gd name="T36" fmla="*/ 134201835 w 866"/>
              <a:gd name="T37" fmla="*/ 170933227 h 740"/>
              <a:gd name="T38" fmla="*/ 128350596 w 866"/>
              <a:gd name="T39" fmla="*/ 175552988 h 740"/>
              <a:gd name="T40" fmla="*/ 121555720 w 866"/>
              <a:gd name="T41" fmla="*/ 173378646 h 740"/>
              <a:gd name="T42" fmla="*/ 115326939 w 866"/>
              <a:gd name="T43" fmla="*/ 169846317 h 740"/>
              <a:gd name="T44" fmla="*/ 106833345 w 866"/>
              <a:gd name="T45" fmla="*/ 172020138 h 740"/>
              <a:gd name="T46" fmla="*/ 100038035 w 866"/>
              <a:gd name="T47" fmla="*/ 179085838 h 740"/>
              <a:gd name="T48" fmla="*/ 96451609 w 866"/>
              <a:gd name="T49" fmla="*/ 184792509 h 740"/>
              <a:gd name="T50" fmla="*/ 92676630 w 866"/>
              <a:gd name="T51" fmla="*/ 185879420 h 740"/>
              <a:gd name="T52" fmla="*/ 88713097 w 866"/>
              <a:gd name="T53" fmla="*/ 181531256 h 740"/>
              <a:gd name="T54" fmla="*/ 84183035 w 866"/>
              <a:gd name="T55" fmla="*/ 173650764 h 740"/>
              <a:gd name="T56" fmla="*/ 79464420 w 866"/>
              <a:gd name="T57" fmla="*/ 172563854 h 740"/>
              <a:gd name="T58" fmla="*/ 76444089 w 866"/>
              <a:gd name="T59" fmla="*/ 175824585 h 740"/>
              <a:gd name="T60" fmla="*/ 72480556 w 866"/>
              <a:gd name="T61" fmla="*/ 177183614 h 740"/>
              <a:gd name="T62" fmla="*/ 66062788 w 866"/>
              <a:gd name="T63" fmla="*/ 173378646 h 740"/>
              <a:gd name="T64" fmla="*/ 57757746 w 866"/>
              <a:gd name="T65" fmla="*/ 165226035 h 740"/>
              <a:gd name="T66" fmla="*/ 51151424 w 866"/>
              <a:gd name="T67" fmla="*/ 164139125 h 740"/>
              <a:gd name="T68" fmla="*/ 44734090 w 866"/>
              <a:gd name="T69" fmla="*/ 168487288 h 740"/>
              <a:gd name="T70" fmla="*/ 39448945 w 866"/>
              <a:gd name="T71" fmla="*/ 177455212 h 740"/>
              <a:gd name="T72" fmla="*/ 35862520 w 866"/>
              <a:gd name="T73" fmla="*/ 188053762 h 740"/>
              <a:gd name="T74" fmla="*/ 33597706 w 866"/>
              <a:gd name="T75" fmla="*/ 195391059 h 740"/>
              <a:gd name="T76" fmla="*/ 28124008 w 866"/>
              <a:gd name="T77" fmla="*/ 190771299 h 740"/>
              <a:gd name="T78" fmla="*/ 18874896 w 866"/>
              <a:gd name="T79" fmla="*/ 201097731 h 740"/>
              <a:gd name="T80" fmla="*/ 12457562 w 866"/>
              <a:gd name="T81" fmla="*/ 189955986 h 740"/>
              <a:gd name="T82" fmla="*/ 12080020 w 866"/>
              <a:gd name="T83" fmla="*/ 175009272 h 740"/>
              <a:gd name="T84" fmla="*/ 9437665 w 866"/>
              <a:gd name="T85" fmla="*/ 166585064 h 740"/>
              <a:gd name="T86" fmla="*/ 3774979 w 866"/>
              <a:gd name="T87" fmla="*/ 159519364 h 740"/>
              <a:gd name="T88" fmla="*/ 943636 w 866"/>
              <a:gd name="T89" fmla="*/ 151638351 h 740"/>
              <a:gd name="T90" fmla="*/ 10003760 w 866"/>
              <a:gd name="T91" fmla="*/ 144029456 h 740"/>
              <a:gd name="T92" fmla="*/ 14345269 w 866"/>
              <a:gd name="T93" fmla="*/ 140768203 h 740"/>
              <a:gd name="T94" fmla="*/ 26236301 w 866"/>
              <a:gd name="T95" fmla="*/ 138594382 h 740"/>
              <a:gd name="T96" fmla="*/ 34352789 w 866"/>
              <a:gd name="T97" fmla="*/ 135876845 h 740"/>
              <a:gd name="T98" fmla="*/ 37938780 w 866"/>
              <a:gd name="T99" fmla="*/ 129082742 h 740"/>
              <a:gd name="T100" fmla="*/ 41336652 w 866"/>
              <a:gd name="T101" fmla="*/ 115223460 h 740"/>
              <a:gd name="T102" fmla="*/ 42280288 w 866"/>
              <a:gd name="T103" fmla="*/ 99733552 h 740"/>
              <a:gd name="T104" fmla="*/ 41336652 w 866"/>
              <a:gd name="T105" fmla="*/ 86961181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0872A6"/>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48" name="Freeform 546">
            <a:extLst>
              <a:ext uri="{FF2B5EF4-FFF2-40B4-BE49-F238E27FC236}">
                <a16:creationId xmlns:a16="http://schemas.microsoft.com/office/drawing/2014/main" id="{81F41B9C-88E8-495E-8ECB-EBB9EB26457C}"/>
              </a:ext>
            </a:extLst>
          </p:cNvPr>
          <p:cNvSpPr>
            <a:spLocks/>
          </p:cNvSpPr>
          <p:nvPr>
            <p:custDataLst>
              <p:tags r:id="rId377"/>
            </p:custDataLst>
          </p:nvPr>
        </p:nvSpPr>
        <p:spPr bwMode="auto">
          <a:xfrm>
            <a:off x="4956561" y="2804866"/>
            <a:ext cx="417785" cy="337449"/>
          </a:xfrm>
          <a:custGeom>
            <a:avLst/>
            <a:gdLst>
              <a:gd name="T0" fmla="*/ 120077618 w 697"/>
              <a:gd name="T1" fmla="*/ 14369758 h 500"/>
              <a:gd name="T2" fmla="*/ 121745261 w 697"/>
              <a:gd name="T3" fmla="*/ 43651843 h 500"/>
              <a:gd name="T4" fmla="*/ 122486532 w 697"/>
              <a:gd name="T5" fmla="*/ 45278510 h 500"/>
              <a:gd name="T6" fmla="*/ 125451613 w 697"/>
              <a:gd name="T7" fmla="*/ 47989795 h 500"/>
              <a:gd name="T8" fmla="*/ 128601797 w 697"/>
              <a:gd name="T9" fmla="*/ 51243128 h 500"/>
              <a:gd name="T10" fmla="*/ 129157534 w 697"/>
              <a:gd name="T11" fmla="*/ 53683649 h 500"/>
              <a:gd name="T12" fmla="*/ 128601797 w 697"/>
              <a:gd name="T13" fmla="*/ 57208268 h 500"/>
              <a:gd name="T14" fmla="*/ 126933723 w 697"/>
              <a:gd name="T15" fmla="*/ 58834934 h 500"/>
              <a:gd name="T16" fmla="*/ 121374626 w 697"/>
              <a:gd name="T17" fmla="*/ 59106219 h 500"/>
              <a:gd name="T18" fmla="*/ 112109608 w 697"/>
              <a:gd name="T19" fmla="*/ 61817504 h 500"/>
              <a:gd name="T20" fmla="*/ 105067970 w 697"/>
              <a:gd name="T21" fmla="*/ 67782123 h 500"/>
              <a:gd name="T22" fmla="*/ 101732253 w 697"/>
              <a:gd name="T23" fmla="*/ 72391359 h 500"/>
              <a:gd name="T24" fmla="*/ 99879508 w 697"/>
              <a:gd name="T25" fmla="*/ 78085213 h 500"/>
              <a:gd name="T26" fmla="*/ 96543791 w 697"/>
              <a:gd name="T27" fmla="*/ 81880596 h 500"/>
              <a:gd name="T28" fmla="*/ 90984694 w 697"/>
              <a:gd name="T29" fmla="*/ 87845735 h 500"/>
              <a:gd name="T30" fmla="*/ 84313691 w 697"/>
              <a:gd name="T31" fmla="*/ 95437020 h 500"/>
              <a:gd name="T32" fmla="*/ 77828221 w 697"/>
              <a:gd name="T33" fmla="*/ 100317541 h 500"/>
              <a:gd name="T34" fmla="*/ 68933408 w 697"/>
              <a:gd name="T35" fmla="*/ 102215493 h 500"/>
              <a:gd name="T36" fmla="*/ 63744946 w 697"/>
              <a:gd name="T37" fmla="*/ 103028826 h 500"/>
              <a:gd name="T38" fmla="*/ 58556484 w 697"/>
              <a:gd name="T39" fmla="*/ 107366778 h 500"/>
              <a:gd name="T40" fmla="*/ 53738226 w 697"/>
              <a:gd name="T41" fmla="*/ 113060632 h 500"/>
              <a:gd name="T42" fmla="*/ 49105932 w 697"/>
              <a:gd name="T43" fmla="*/ 115500633 h 500"/>
              <a:gd name="T44" fmla="*/ 926373 w 697"/>
              <a:gd name="T45" fmla="*/ 134479627 h 500"/>
              <a:gd name="T46" fmla="*/ 5929732 w 697"/>
              <a:gd name="T47" fmla="*/ 132039627 h 500"/>
              <a:gd name="T48" fmla="*/ 15750919 w 697"/>
              <a:gd name="T49" fmla="*/ 128243724 h 500"/>
              <a:gd name="T50" fmla="*/ 17233460 w 697"/>
              <a:gd name="T51" fmla="*/ 124447821 h 500"/>
              <a:gd name="T52" fmla="*/ 18345365 w 697"/>
              <a:gd name="T53" fmla="*/ 118754487 h 500"/>
              <a:gd name="T54" fmla="*/ 22051286 w 697"/>
              <a:gd name="T55" fmla="*/ 114416015 h 500"/>
              <a:gd name="T56" fmla="*/ 29648662 w 697"/>
              <a:gd name="T57" fmla="*/ 108180111 h 500"/>
              <a:gd name="T58" fmla="*/ 33540116 w 697"/>
              <a:gd name="T59" fmla="*/ 103570875 h 500"/>
              <a:gd name="T60" fmla="*/ 35578394 w 697"/>
              <a:gd name="T61" fmla="*/ 96792923 h 500"/>
              <a:gd name="T62" fmla="*/ 35763927 w 697"/>
              <a:gd name="T63" fmla="*/ 85676499 h 500"/>
              <a:gd name="T64" fmla="*/ 36134562 w 697"/>
              <a:gd name="T65" fmla="*/ 68866741 h 500"/>
              <a:gd name="T66" fmla="*/ 35578394 w 697"/>
              <a:gd name="T67" fmla="*/ 52056462 h 500"/>
              <a:gd name="T68" fmla="*/ 39655381 w 697"/>
              <a:gd name="T69" fmla="*/ 51243128 h 500"/>
              <a:gd name="T70" fmla="*/ 42249397 w 697"/>
              <a:gd name="T71" fmla="*/ 48531844 h 500"/>
              <a:gd name="T72" fmla="*/ 44658310 w 697"/>
              <a:gd name="T73" fmla="*/ 44736461 h 500"/>
              <a:gd name="T74" fmla="*/ 46697019 w 697"/>
              <a:gd name="T75" fmla="*/ 41211322 h 500"/>
              <a:gd name="T76" fmla="*/ 52070583 w 697"/>
              <a:gd name="T77" fmla="*/ 39584655 h 500"/>
              <a:gd name="T78" fmla="*/ 58185848 w 697"/>
              <a:gd name="T79" fmla="*/ 38771322 h 500"/>
              <a:gd name="T80" fmla="*/ 63003675 w 697"/>
              <a:gd name="T81" fmla="*/ 35517988 h 500"/>
              <a:gd name="T82" fmla="*/ 66709597 w 697"/>
              <a:gd name="T83" fmla="*/ 29282085 h 500"/>
              <a:gd name="T84" fmla="*/ 71898489 w 697"/>
              <a:gd name="T85" fmla="*/ 13014376 h 500"/>
              <a:gd name="T86" fmla="*/ 75419308 w 697"/>
              <a:gd name="T87" fmla="*/ 3253334 h 500"/>
              <a:gd name="T88" fmla="*/ 78939696 w 697"/>
              <a:gd name="T89" fmla="*/ 2169236 h 500"/>
              <a:gd name="T90" fmla="*/ 83201786 w 697"/>
              <a:gd name="T91" fmla="*/ 5422570 h 500"/>
              <a:gd name="T92" fmla="*/ 94876148 w 697"/>
              <a:gd name="T93" fmla="*/ 4880521 h 500"/>
              <a:gd name="T94" fmla="*/ 109330059 w 697"/>
              <a:gd name="T95" fmla="*/ 3524618 h 500"/>
              <a:gd name="T96" fmla="*/ 110627067 w 697"/>
              <a:gd name="T97" fmla="*/ 4609236 h 500"/>
              <a:gd name="T98" fmla="*/ 112109608 w 697"/>
              <a:gd name="T99" fmla="*/ 9760522 h 500"/>
              <a:gd name="T100" fmla="*/ 113221513 w 697"/>
              <a:gd name="T101" fmla="*/ 13827709 h 500"/>
              <a:gd name="T102" fmla="*/ 114518521 w 697"/>
              <a:gd name="T103" fmla="*/ 13556425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49" name="Freeform 547">
            <a:extLst>
              <a:ext uri="{FF2B5EF4-FFF2-40B4-BE49-F238E27FC236}">
                <a16:creationId xmlns:a16="http://schemas.microsoft.com/office/drawing/2014/main" id="{19450E95-2758-474E-9379-362803057A0C}"/>
              </a:ext>
            </a:extLst>
          </p:cNvPr>
          <p:cNvSpPr>
            <a:spLocks/>
          </p:cNvSpPr>
          <p:nvPr>
            <p:custDataLst>
              <p:tags r:id="rId378"/>
            </p:custDataLst>
          </p:nvPr>
        </p:nvSpPr>
        <p:spPr bwMode="auto">
          <a:xfrm>
            <a:off x="5932090" y="1414413"/>
            <a:ext cx="327960" cy="117903"/>
          </a:xfrm>
          <a:custGeom>
            <a:avLst/>
            <a:gdLst>
              <a:gd name="T0" fmla="*/ 13888101 w 546"/>
              <a:gd name="T1" fmla="*/ 5381864 h 173"/>
              <a:gd name="T2" fmla="*/ 17641501 w 546"/>
              <a:gd name="T3" fmla="*/ 9631151 h 173"/>
              <a:gd name="T4" fmla="*/ 20644568 w 546"/>
              <a:gd name="T5" fmla="*/ 7648079 h 173"/>
              <a:gd name="T6" fmla="*/ 24773568 w 546"/>
              <a:gd name="T7" fmla="*/ 7648079 h 173"/>
              <a:gd name="T8" fmla="*/ 30216085 w 546"/>
              <a:gd name="T9" fmla="*/ 12463655 h 173"/>
              <a:gd name="T10" fmla="*/ 39224853 w 546"/>
              <a:gd name="T11" fmla="*/ 5381864 h 173"/>
              <a:gd name="T12" fmla="*/ 45605720 w 546"/>
              <a:gd name="T13" fmla="*/ 5381864 h 173"/>
              <a:gd name="T14" fmla="*/ 48796370 w 546"/>
              <a:gd name="T15" fmla="*/ 4532432 h 173"/>
              <a:gd name="T16" fmla="*/ 50485487 w 546"/>
              <a:gd name="T17" fmla="*/ 3965612 h 173"/>
              <a:gd name="T18" fmla="*/ 52362187 w 546"/>
              <a:gd name="T19" fmla="*/ 3115648 h 173"/>
              <a:gd name="T20" fmla="*/ 53675704 w 546"/>
              <a:gd name="T21" fmla="*/ 849964 h 173"/>
              <a:gd name="T22" fmla="*/ 60244588 w 546"/>
              <a:gd name="T23" fmla="*/ 1416252 h 173"/>
              <a:gd name="T24" fmla="*/ 62496888 w 546"/>
              <a:gd name="T25" fmla="*/ 3399324 h 173"/>
              <a:gd name="T26" fmla="*/ 65311938 w 546"/>
              <a:gd name="T27" fmla="*/ 1983072 h 173"/>
              <a:gd name="T28" fmla="*/ 66250288 w 546"/>
              <a:gd name="T29" fmla="*/ 0 h 173"/>
              <a:gd name="T30" fmla="*/ 68877755 w 546"/>
              <a:gd name="T31" fmla="*/ 1983072 h 173"/>
              <a:gd name="T32" fmla="*/ 73006755 w 546"/>
              <a:gd name="T33" fmla="*/ 1983072 h 173"/>
              <a:gd name="T34" fmla="*/ 81827506 w 546"/>
              <a:gd name="T35" fmla="*/ 283144 h 173"/>
              <a:gd name="T36" fmla="*/ 90460673 w 546"/>
              <a:gd name="T37" fmla="*/ 1699396 h 173"/>
              <a:gd name="T38" fmla="*/ 99093840 w 546"/>
              <a:gd name="T39" fmla="*/ 3399324 h 173"/>
              <a:gd name="T40" fmla="*/ 102284491 w 546"/>
              <a:gd name="T41" fmla="*/ 13879907 h 173"/>
              <a:gd name="T42" fmla="*/ 100782957 w 546"/>
              <a:gd name="T43" fmla="*/ 16996087 h 173"/>
              <a:gd name="T44" fmla="*/ 96278790 w 546"/>
              <a:gd name="T45" fmla="*/ 17562375 h 173"/>
              <a:gd name="T46" fmla="*/ 90648256 w 546"/>
              <a:gd name="T47" fmla="*/ 15296159 h 173"/>
              <a:gd name="T48" fmla="*/ 77510922 w 546"/>
              <a:gd name="T49" fmla="*/ 12463655 h 173"/>
              <a:gd name="T50" fmla="*/ 82202673 w 546"/>
              <a:gd name="T51" fmla="*/ 22944238 h 173"/>
              <a:gd name="T52" fmla="*/ 88396390 w 546"/>
              <a:gd name="T53" fmla="*/ 28892922 h 173"/>
              <a:gd name="T54" fmla="*/ 92524957 w 546"/>
              <a:gd name="T55" fmla="*/ 33708498 h 173"/>
              <a:gd name="T56" fmla="*/ 89147156 w 546"/>
              <a:gd name="T57" fmla="*/ 38524074 h 173"/>
              <a:gd name="T58" fmla="*/ 84267389 w 546"/>
              <a:gd name="T59" fmla="*/ 40223469 h 173"/>
              <a:gd name="T60" fmla="*/ 79950806 w 546"/>
              <a:gd name="T61" fmla="*/ 39940325 h 173"/>
              <a:gd name="T62" fmla="*/ 77323339 w 546"/>
              <a:gd name="T63" fmla="*/ 37957253 h 173"/>
              <a:gd name="T64" fmla="*/ 74883455 w 546"/>
              <a:gd name="T65" fmla="*/ 36824146 h 173"/>
              <a:gd name="T66" fmla="*/ 72255988 w 546"/>
              <a:gd name="T67" fmla="*/ 34274786 h 173"/>
              <a:gd name="T68" fmla="*/ 70379288 w 546"/>
              <a:gd name="T69" fmla="*/ 29459210 h 173"/>
              <a:gd name="T70" fmla="*/ 68502588 w 546"/>
              <a:gd name="T71" fmla="*/ 26060418 h 173"/>
              <a:gd name="T72" fmla="*/ 64561171 w 546"/>
              <a:gd name="T73" fmla="*/ 23794202 h 173"/>
              <a:gd name="T74" fmla="*/ 60995354 w 546"/>
              <a:gd name="T75" fmla="*/ 21527987 h 173"/>
              <a:gd name="T76" fmla="*/ 56866354 w 546"/>
              <a:gd name="T77" fmla="*/ 24644166 h 173"/>
              <a:gd name="T78" fmla="*/ 48420770 w 546"/>
              <a:gd name="T79" fmla="*/ 37957253 h 173"/>
              <a:gd name="T80" fmla="*/ 44291770 w 546"/>
              <a:gd name="T81" fmla="*/ 46172153 h 173"/>
              <a:gd name="T82" fmla="*/ 41289136 w 546"/>
              <a:gd name="T83" fmla="*/ 48721513 h 173"/>
              <a:gd name="T84" fmla="*/ 35283436 w 546"/>
              <a:gd name="T85" fmla="*/ 47305261 h 173"/>
              <a:gd name="T86" fmla="*/ 30966852 w 546"/>
              <a:gd name="T87" fmla="*/ 43905937 h 173"/>
              <a:gd name="T88" fmla="*/ 21207751 w 546"/>
              <a:gd name="T89" fmla="*/ 29742886 h 173"/>
              <a:gd name="T90" fmla="*/ 17829518 w 546"/>
              <a:gd name="T91" fmla="*/ 25777274 h 173"/>
              <a:gd name="T92" fmla="*/ 11260634 w 546"/>
              <a:gd name="T93" fmla="*/ 21527987 h 173"/>
              <a:gd name="T94" fmla="*/ 3002634 w 546"/>
              <a:gd name="T95" fmla="*/ 16429267 h 173"/>
              <a:gd name="T96" fmla="*/ 2064284 w 546"/>
              <a:gd name="T97" fmla="*/ 9631151 h 173"/>
              <a:gd name="T98" fmla="*/ 5254934 w 546"/>
              <a:gd name="T99" fmla="*/ 5381864 h 173"/>
              <a:gd name="T100" fmla="*/ 8820751 w 546"/>
              <a:gd name="T101" fmla="*/ 3399324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50" name="Freeform 548">
            <a:extLst>
              <a:ext uri="{FF2B5EF4-FFF2-40B4-BE49-F238E27FC236}">
                <a16:creationId xmlns:a16="http://schemas.microsoft.com/office/drawing/2014/main" id="{04F2FD7A-27AB-4E74-910D-363C642F29E7}"/>
              </a:ext>
            </a:extLst>
          </p:cNvPr>
          <p:cNvSpPr>
            <a:spLocks/>
          </p:cNvSpPr>
          <p:nvPr>
            <p:custDataLst>
              <p:tags r:id="rId379"/>
            </p:custDataLst>
          </p:nvPr>
        </p:nvSpPr>
        <p:spPr bwMode="auto">
          <a:xfrm>
            <a:off x="6642324" y="1392053"/>
            <a:ext cx="150402" cy="79279"/>
          </a:xfrm>
          <a:custGeom>
            <a:avLst/>
            <a:gdLst>
              <a:gd name="T0" fmla="*/ 5199153 w 246"/>
              <a:gd name="T1" fmla="*/ 74267257 h 42"/>
              <a:gd name="T2" fmla="*/ 6932496 w 246"/>
              <a:gd name="T3" fmla="*/ 74267257 h 42"/>
              <a:gd name="T4" fmla="*/ 8665401 w 246"/>
              <a:gd name="T5" fmla="*/ 72204716 h 42"/>
              <a:gd name="T6" fmla="*/ 10206102 w 246"/>
              <a:gd name="T7" fmla="*/ 68078199 h 42"/>
              <a:gd name="T8" fmla="*/ 11361079 w 246"/>
              <a:gd name="T9" fmla="*/ 63953118 h 42"/>
              <a:gd name="T10" fmla="*/ 12709138 w 246"/>
              <a:gd name="T11" fmla="*/ 61889141 h 42"/>
              <a:gd name="T12" fmla="*/ 13864554 w 246"/>
              <a:gd name="T13" fmla="*/ 59826601 h 42"/>
              <a:gd name="T14" fmla="*/ 15405255 w 246"/>
              <a:gd name="T15" fmla="*/ 59826601 h 42"/>
              <a:gd name="T16" fmla="*/ 16752875 w 246"/>
              <a:gd name="T17" fmla="*/ 61889141 h 42"/>
              <a:gd name="T18" fmla="*/ 16752875 w 246"/>
              <a:gd name="T19" fmla="*/ 86645372 h 42"/>
              <a:gd name="T20" fmla="*/ 29654655 w 246"/>
              <a:gd name="T21" fmla="*/ 86645372 h 42"/>
              <a:gd name="T22" fmla="*/ 29654655 w 246"/>
              <a:gd name="T23" fmla="*/ 80456314 h 42"/>
              <a:gd name="T24" fmla="*/ 30039940 w 246"/>
              <a:gd name="T25" fmla="*/ 74267257 h 42"/>
              <a:gd name="T26" fmla="*/ 30617867 w 246"/>
              <a:gd name="T27" fmla="*/ 68078199 h 42"/>
              <a:gd name="T28" fmla="*/ 31387998 w 246"/>
              <a:gd name="T29" fmla="*/ 63953118 h 42"/>
              <a:gd name="T30" fmla="*/ 33698830 w 246"/>
              <a:gd name="T31" fmla="*/ 53637543 h 42"/>
              <a:gd name="T32" fmla="*/ 36587151 w 246"/>
              <a:gd name="T33" fmla="*/ 47448485 h 42"/>
              <a:gd name="T34" fmla="*/ 42556435 w 246"/>
              <a:gd name="T35" fmla="*/ 35070370 h 42"/>
              <a:gd name="T36" fmla="*/ 47370742 w 246"/>
              <a:gd name="T37" fmla="*/ 24756231 h 42"/>
              <a:gd name="T38" fmla="*/ 40823530 w 246"/>
              <a:gd name="T39" fmla="*/ 26818771 h 42"/>
              <a:gd name="T40" fmla="*/ 35817020 w 246"/>
              <a:gd name="T41" fmla="*/ 28881312 h 42"/>
              <a:gd name="T42" fmla="*/ 34276319 w 246"/>
              <a:gd name="T43" fmla="*/ 30945289 h 42"/>
              <a:gd name="T44" fmla="*/ 32928261 w 246"/>
              <a:gd name="T45" fmla="*/ 30945289 h 42"/>
              <a:gd name="T46" fmla="*/ 32350772 w 246"/>
              <a:gd name="T47" fmla="*/ 28881312 h 42"/>
              <a:gd name="T48" fmla="*/ 32158129 w 246"/>
              <a:gd name="T49" fmla="*/ 24756231 h 42"/>
              <a:gd name="T50" fmla="*/ 30617867 w 246"/>
              <a:gd name="T51" fmla="*/ 33007829 h 42"/>
              <a:gd name="T52" fmla="*/ 29269809 w 246"/>
              <a:gd name="T53" fmla="*/ 35070370 h 42"/>
              <a:gd name="T54" fmla="*/ 28307035 w 246"/>
              <a:gd name="T55" fmla="*/ 35070370 h 42"/>
              <a:gd name="T56" fmla="*/ 27151619 w 246"/>
              <a:gd name="T57" fmla="*/ 30945289 h 42"/>
              <a:gd name="T58" fmla="*/ 26381049 w 246"/>
              <a:gd name="T59" fmla="*/ 24756231 h 42"/>
              <a:gd name="T60" fmla="*/ 25610918 w 246"/>
              <a:gd name="T61" fmla="*/ 18567173 h 42"/>
              <a:gd name="T62" fmla="*/ 24840787 w 246"/>
              <a:gd name="T63" fmla="*/ 10315575 h 42"/>
              <a:gd name="T64" fmla="*/ 24262860 w 246"/>
              <a:gd name="T65" fmla="*/ 0 h 42"/>
              <a:gd name="T66" fmla="*/ 23300086 w 246"/>
              <a:gd name="T67" fmla="*/ 4126517 h 42"/>
              <a:gd name="T68" fmla="*/ 21759824 w 246"/>
              <a:gd name="T69" fmla="*/ 8251598 h 42"/>
              <a:gd name="T70" fmla="*/ 19834277 w 246"/>
              <a:gd name="T71" fmla="*/ 10315575 h 42"/>
              <a:gd name="T72" fmla="*/ 17908291 w 246"/>
              <a:gd name="T73" fmla="*/ 10315575 h 42"/>
              <a:gd name="T74" fmla="*/ 14249839 w 246"/>
              <a:gd name="T75" fmla="*/ 12378115 h 42"/>
              <a:gd name="T76" fmla="*/ 11553722 w 246"/>
              <a:gd name="T77" fmla="*/ 12378115 h 42"/>
              <a:gd name="T78" fmla="*/ 11168876 w 246"/>
              <a:gd name="T79" fmla="*/ 18567173 h 42"/>
              <a:gd name="T80" fmla="*/ 10783591 w 246"/>
              <a:gd name="T81" fmla="*/ 24756231 h 42"/>
              <a:gd name="T82" fmla="*/ 10398306 w 246"/>
              <a:gd name="T83" fmla="*/ 30945289 h 42"/>
              <a:gd name="T84" fmla="*/ 9628175 w 246"/>
              <a:gd name="T85" fmla="*/ 35070370 h 42"/>
              <a:gd name="T86" fmla="*/ 8087474 w 246"/>
              <a:gd name="T87" fmla="*/ 41259427 h 42"/>
              <a:gd name="T88" fmla="*/ 6354569 w 246"/>
              <a:gd name="T89" fmla="*/ 45385945 h 42"/>
              <a:gd name="T90" fmla="*/ 2695678 w 246"/>
              <a:gd name="T91" fmla="*/ 49511026 h 42"/>
              <a:gd name="T92" fmla="*/ 0 w 246"/>
              <a:gd name="T93" fmla="*/ 49511026 h 42"/>
              <a:gd name="T94" fmla="*/ 192642 w 246"/>
              <a:gd name="T95" fmla="*/ 55700083 h 42"/>
              <a:gd name="T96" fmla="*/ 577489 w 246"/>
              <a:gd name="T97" fmla="*/ 59826601 h 42"/>
              <a:gd name="T98" fmla="*/ 962774 w 246"/>
              <a:gd name="T99" fmla="*/ 63953118 h 42"/>
              <a:gd name="T100" fmla="*/ 1732905 w 246"/>
              <a:gd name="T101" fmla="*/ 68078199 h 42"/>
              <a:gd name="T102" fmla="*/ 3273606 w 246"/>
              <a:gd name="T103" fmla="*/ 72204716 h 42"/>
              <a:gd name="T104" fmla="*/ 5199153 w 246"/>
              <a:gd name="T105" fmla="*/ 7426725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51" name="Freeform 549">
            <a:extLst>
              <a:ext uri="{FF2B5EF4-FFF2-40B4-BE49-F238E27FC236}">
                <a16:creationId xmlns:a16="http://schemas.microsoft.com/office/drawing/2014/main" id="{0691A765-F14F-4838-AB56-C7D2F95EC006}"/>
              </a:ext>
            </a:extLst>
          </p:cNvPr>
          <p:cNvSpPr>
            <a:spLocks/>
          </p:cNvSpPr>
          <p:nvPr>
            <p:custDataLst>
              <p:tags r:id="rId380"/>
            </p:custDataLst>
          </p:nvPr>
        </p:nvSpPr>
        <p:spPr bwMode="auto">
          <a:xfrm>
            <a:off x="6842861" y="1369690"/>
            <a:ext cx="87735" cy="75216"/>
          </a:xfrm>
          <a:custGeom>
            <a:avLst/>
            <a:gdLst>
              <a:gd name="T0" fmla="*/ 18707356 w 149"/>
              <a:gd name="T1" fmla="*/ 0 h 61"/>
              <a:gd name="T2" fmla="*/ 21431889 w 149"/>
              <a:gd name="T3" fmla="*/ 877861 h 61"/>
              <a:gd name="T4" fmla="*/ 24337547 w 149"/>
              <a:gd name="T5" fmla="*/ 2633584 h 61"/>
              <a:gd name="T6" fmla="*/ 26335453 w 149"/>
              <a:gd name="T7" fmla="*/ 4388370 h 61"/>
              <a:gd name="T8" fmla="*/ 27062081 w 149"/>
              <a:gd name="T9" fmla="*/ 5266232 h 61"/>
              <a:gd name="T10" fmla="*/ 27062081 w 149"/>
              <a:gd name="T11" fmla="*/ 7021955 h 61"/>
              <a:gd name="T12" fmla="*/ 26698980 w 149"/>
              <a:gd name="T13" fmla="*/ 8777678 h 61"/>
              <a:gd name="T14" fmla="*/ 26335453 w 149"/>
              <a:gd name="T15" fmla="*/ 10533401 h 61"/>
              <a:gd name="T16" fmla="*/ 25609252 w 149"/>
              <a:gd name="T17" fmla="*/ 11411262 h 61"/>
              <a:gd name="T18" fmla="*/ 24882624 w 149"/>
              <a:gd name="T19" fmla="*/ 12288187 h 61"/>
              <a:gd name="T20" fmla="*/ 23974446 w 149"/>
              <a:gd name="T21" fmla="*/ 12288187 h 61"/>
              <a:gd name="T22" fmla="*/ 23066268 w 149"/>
              <a:gd name="T23" fmla="*/ 12288187 h 61"/>
              <a:gd name="T24" fmla="*/ 22339641 w 149"/>
              <a:gd name="T25" fmla="*/ 10533401 h 61"/>
              <a:gd name="T26" fmla="*/ 22339641 w 149"/>
              <a:gd name="T27" fmla="*/ 20188003 h 61"/>
              <a:gd name="T28" fmla="*/ 22339641 w 149"/>
              <a:gd name="T29" fmla="*/ 28965681 h 61"/>
              <a:gd name="T30" fmla="*/ 22339641 w 149"/>
              <a:gd name="T31" fmla="*/ 35987636 h 61"/>
              <a:gd name="T32" fmla="*/ 22339641 w 149"/>
              <a:gd name="T33" fmla="*/ 43009591 h 61"/>
              <a:gd name="T34" fmla="*/ 21068362 w 149"/>
              <a:gd name="T35" fmla="*/ 43887452 h 61"/>
              <a:gd name="T36" fmla="*/ 19797084 w 149"/>
              <a:gd name="T37" fmla="*/ 44765314 h 61"/>
              <a:gd name="T38" fmla="*/ 18888906 w 149"/>
              <a:gd name="T39" fmla="*/ 46521037 h 61"/>
              <a:gd name="T40" fmla="*/ 18162279 w 149"/>
              <a:gd name="T41" fmla="*/ 48276760 h 61"/>
              <a:gd name="T42" fmla="*/ 17072550 w 149"/>
              <a:gd name="T43" fmla="*/ 50031546 h 61"/>
              <a:gd name="T44" fmla="*/ 16164799 w 149"/>
              <a:gd name="T45" fmla="*/ 51787269 h 61"/>
              <a:gd name="T46" fmla="*/ 15074644 w 149"/>
              <a:gd name="T47" fmla="*/ 53542992 h 61"/>
              <a:gd name="T48" fmla="*/ 13803366 w 149"/>
              <a:gd name="T49" fmla="*/ 53542992 h 61"/>
              <a:gd name="T50" fmla="*/ 12168987 w 149"/>
              <a:gd name="T51" fmla="*/ 52665130 h 61"/>
              <a:gd name="T52" fmla="*/ 9626003 w 149"/>
              <a:gd name="T53" fmla="*/ 50031546 h 61"/>
              <a:gd name="T54" fmla="*/ 7083446 w 149"/>
              <a:gd name="T55" fmla="*/ 47398898 h 61"/>
              <a:gd name="T56" fmla="*/ 4540463 w 149"/>
              <a:gd name="T57" fmla="*/ 43009591 h 61"/>
              <a:gd name="T58" fmla="*/ 2179456 w 149"/>
              <a:gd name="T59" fmla="*/ 39499082 h 61"/>
              <a:gd name="T60" fmla="*/ 545077 w 149"/>
              <a:gd name="T61" fmla="*/ 35987636 h 61"/>
              <a:gd name="T62" fmla="*/ 181550 w 149"/>
              <a:gd name="T63" fmla="*/ 34232850 h 61"/>
              <a:gd name="T64" fmla="*/ 0 w 149"/>
              <a:gd name="T65" fmla="*/ 33354989 h 61"/>
              <a:gd name="T66" fmla="*/ 0 w 149"/>
              <a:gd name="T67" fmla="*/ 32477127 h 61"/>
              <a:gd name="T68" fmla="*/ 545077 w 149"/>
              <a:gd name="T69" fmla="*/ 32477127 h 61"/>
              <a:gd name="T70" fmla="*/ 3450735 w 149"/>
              <a:gd name="T71" fmla="*/ 31599266 h 61"/>
              <a:gd name="T72" fmla="*/ 6356819 w 149"/>
              <a:gd name="T73" fmla="*/ 30721404 h 61"/>
              <a:gd name="T74" fmla="*/ 8717826 w 149"/>
              <a:gd name="T75" fmla="*/ 28087820 h 61"/>
              <a:gd name="T76" fmla="*/ 10897282 w 149"/>
              <a:gd name="T77" fmla="*/ 23699449 h 61"/>
              <a:gd name="T78" fmla="*/ 13077164 w 149"/>
              <a:gd name="T79" fmla="*/ 19310142 h 61"/>
              <a:gd name="T80" fmla="*/ 14893094 w 149"/>
              <a:gd name="T81" fmla="*/ 14043910 h 61"/>
              <a:gd name="T82" fmla="*/ 16891000 w 149"/>
              <a:gd name="T83" fmla="*/ 7021955 h 61"/>
              <a:gd name="T84" fmla="*/ 1870735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952" name="Freeform 550">
            <a:extLst>
              <a:ext uri="{FF2B5EF4-FFF2-40B4-BE49-F238E27FC236}">
                <a16:creationId xmlns:a16="http://schemas.microsoft.com/office/drawing/2014/main" id="{A8EB6E71-2CD7-4310-9911-4A05704239FF}"/>
              </a:ext>
            </a:extLst>
          </p:cNvPr>
          <p:cNvSpPr>
            <a:spLocks/>
          </p:cNvSpPr>
          <p:nvPr>
            <p:custDataLst>
              <p:tags r:id="rId381"/>
            </p:custDataLst>
          </p:nvPr>
        </p:nvSpPr>
        <p:spPr bwMode="auto">
          <a:xfrm>
            <a:off x="6892995" y="1379855"/>
            <a:ext cx="181735" cy="75213"/>
          </a:xfrm>
          <a:custGeom>
            <a:avLst/>
            <a:gdLst>
              <a:gd name="T0" fmla="*/ 25209542 w 299"/>
              <a:gd name="T1" fmla="*/ 42943591 h 74"/>
              <a:gd name="T2" fmla="*/ 29190111 w 299"/>
              <a:gd name="T3" fmla="*/ 38768552 h 74"/>
              <a:gd name="T4" fmla="*/ 33738835 w 299"/>
              <a:gd name="T5" fmla="*/ 32207886 h 74"/>
              <a:gd name="T6" fmla="*/ 37719404 w 299"/>
              <a:gd name="T7" fmla="*/ 25050235 h 74"/>
              <a:gd name="T8" fmla="*/ 39235790 w 299"/>
              <a:gd name="T9" fmla="*/ 23857808 h 74"/>
              <a:gd name="T10" fmla="*/ 39994201 w 299"/>
              <a:gd name="T11" fmla="*/ 27436634 h 74"/>
              <a:gd name="T12" fmla="*/ 41699972 w 299"/>
              <a:gd name="T13" fmla="*/ 30418474 h 74"/>
              <a:gd name="T14" fmla="*/ 46059311 w 299"/>
              <a:gd name="T15" fmla="*/ 32804100 h 74"/>
              <a:gd name="T16" fmla="*/ 50987675 w 299"/>
              <a:gd name="T17" fmla="*/ 32804100 h 74"/>
              <a:gd name="T18" fmla="*/ 54209833 w 299"/>
              <a:gd name="T19" fmla="*/ 32804100 h 74"/>
              <a:gd name="T20" fmla="*/ 55536835 w 299"/>
              <a:gd name="T21" fmla="*/ 27436634 h 74"/>
              <a:gd name="T22" fmla="*/ 56484630 w 299"/>
              <a:gd name="T23" fmla="*/ 18489570 h 74"/>
              <a:gd name="T24" fmla="*/ 52883267 w 299"/>
              <a:gd name="T25" fmla="*/ 14910744 h 74"/>
              <a:gd name="T26" fmla="*/ 46249131 w 299"/>
              <a:gd name="T27" fmla="*/ 14910744 h 74"/>
              <a:gd name="T28" fmla="*/ 42647768 w 299"/>
              <a:gd name="T29" fmla="*/ 14910744 h 74"/>
              <a:gd name="T30" fmla="*/ 40562791 w 299"/>
              <a:gd name="T31" fmla="*/ 16103943 h 74"/>
              <a:gd name="T32" fmla="*/ 38667199 w 299"/>
              <a:gd name="T33" fmla="*/ 19682769 h 74"/>
              <a:gd name="T34" fmla="*/ 32601654 w 299"/>
              <a:gd name="T35" fmla="*/ 22068395 h 74"/>
              <a:gd name="T36" fmla="*/ 33360065 w 299"/>
              <a:gd name="T37" fmla="*/ 16700157 h 74"/>
              <a:gd name="T38" fmla="*/ 34118040 w 299"/>
              <a:gd name="T39" fmla="*/ 12525118 h 74"/>
              <a:gd name="T40" fmla="*/ 36771608 w 299"/>
              <a:gd name="T41" fmla="*/ 7753865 h 74"/>
              <a:gd name="T42" fmla="*/ 39804380 w 299"/>
              <a:gd name="T43" fmla="*/ 5368239 h 74"/>
              <a:gd name="T44" fmla="*/ 42647768 w 299"/>
              <a:gd name="T45" fmla="*/ 0 h 74"/>
              <a:gd name="T46" fmla="*/ 35065836 w 299"/>
              <a:gd name="T47" fmla="*/ 1789413 h 74"/>
              <a:gd name="T48" fmla="*/ 29758702 w 299"/>
              <a:gd name="T49" fmla="*/ 6560666 h 74"/>
              <a:gd name="T50" fmla="*/ 25398928 w 299"/>
              <a:gd name="T51" fmla="*/ 14910744 h 74"/>
              <a:gd name="T52" fmla="*/ 21608179 w 299"/>
              <a:gd name="T53" fmla="*/ 23857808 h 74"/>
              <a:gd name="T54" fmla="*/ 18954612 w 299"/>
              <a:gd name="T55" fmla="*/ 31611673 h 74"/>
              <a:gd name="T56" fmla="*/ 16490430 w 299"/>
              <a:gd name="T57" fmla="*/ 35190499 h 74"/>
              <a:gd name="T58" fmla="*/ 12131091 w 299"/>
              <a:gd name="T59" fmla="*/ 37576125 h 74"/>
              <a:gd name="T60" fmla="*/ 6065545 w 299"/>
              <a:gd name="T61" fmla="*/ 38172339 h 74"/>
              <a:gd name="T62" fmla="*/ 2274362 w 299"/>
              <a:gd name="T63" fmla="*/ 39961751 h 74"/>
              <a:gd name="T64" fmla="*/ 379205 w 299"/>
              <a:gd name="T65" fmla="*/ 41751164 h 74"/>
              <a:gd name="T66" fmla="*/ 7392111 w 299"/>
              <a:gd name="T67" fmla="*/ 44136791 h 74"/>
              <a:gd name="T68" fmla="*/ 19333817 w 299"/>
              <a:gd name="T69" fmla="*/ 44136791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chemeClr val="bg1">
              <a:lumMod val="65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mc:AlternateContent xmlns:mc="http://schemas.openxmlformats.org/markup-compatibility/2006" xmlns:p14="http://schemas.microsoft.com/office/powerpoint/2010/main">
        <mc:Choice Requires="p14">
          <p:contentPart p14:bwMode="auto" r:id="rId385">
            <p14:nvContentPartPr>
              <p14:cNvPr id="571" name="Ink 570">
                <a:extLst>
                  <a:ext uri="{FF2B5EF4-FFF2-40B4-BE49-F238E27FC236}">
                    <a16:creationId xmlns:a16="http://schemas.microsoft.com/office/drawing/2014/main" id="{6DFCAE64-ADFF-4692-8844-FB24BDC733ED}"/>
                  </a:ext>
                </a:extLst>
              </p14:cNvPr>
              <p14:cNvContentPartPr/>
              <p14:nvPr/>
            </p14:nvContentPartPr>
            <p14:xfrm>
              <a:off x="6276593" y="3777270"/>
              <a:ext cx="370383" cy="334159"/>
            </p14:xfrm>
          </p:contentPart>
        </mc:Choice>
        <mc:Fallback xmlns="">
          <p:pic>
            <p:nvPicPr>
              <p:cNvPr id="571" name="Ink 570">
                <a:extLst>
                  <a:ext uri="{FF2B5EF4-FFF2-40B4-BE49-F238E27FC236}">
                    <a16:creationId xmlns:a16="http://schemas.microsoft.com/office/drawing/2014/main" id="{6DFCAE64-ADFF-4692-8844-FB24BDC733ED}"/>
                  </a:ext>
                </a:extLst>
              </p:cNvPr>
              <p:cNvPicPr/>
              <p:nvPr/>
            </p:nvPicPr>
            <p:blipFill>
              <a:blip r:embed="rId386"/>
              <a:stretch>
                <a:fillRect/>
              </a:stretch>
            </p:blipFill>
            <p:spPr>
              <a:xfrm>
                <a:off x="6272278" y="3772954"/>
                <a:ext cx="383328" cy="347468"/>
              </a:xfrm>
              <a:prstGeom prst="rect">
                <a:avLst/>
              </a:prstGeom>
            </p:spPr>
          </p:pic>
        </mc:Fallback>
      </mc:AlternateContent>
      <p:sp>
        <p:nvSpPr>
          <p:cNvPr id="3" name="Freeform 79">
            <a:extLst>
              <a:ext uri="{FF2B5EF4-FFF2-40B4-BE49-F238E27FC236}">
                <a16:creationId xmlns:a16="http://schemas.microsoft.com/office/drawing/2014/main" id="{1378348C-614F-4A8F-AE6D-8955FE1857DD}"/>
              </a:ext>
            </a:extLst>
          </p:cNvPr>
          <p:cNvSpPr>
            <a:spLocks/>
          </p:cNvSpPr>
          <p:nvPr>
            <p:custDataLst>
              <p:tags r:id="rId382"/>
            </p:custDataLst>
          </p:nvPr>
        </p:nvSpPr>
        <p:spPr bwMode="auto">
          <a:xfrm>
            <a:off x="11582400" y="4524082"/>
            <a:ext cx="25067" cy="77247"/>
          </a:xfrm>
          <a:custGeom>
            <a:avLst/>
            <a:gdLst>
              <a:gd name="T0" fmla="*/ 7281013 w 33"/>
              <a:gd name="T1" fmla="*/ 138001407 h 25"/>
              <a:gd name="T2" fmla="*/ 8120824 w 33"/>
              <a:gd name="T3" fmla="*/ 121442272 h 25"/>
              <a:gd name="T4" fmla="*/ 9241102 w 33"/>
              <a:gd name="T5" fmla="*/ 99361859 h 25"/>
              <a:gd name="T6" fmla="*/ 9241102 w 33"/>
              <a:gd name="T7" fmla="*/ 0 h 25"/>
              <a:gd name="T8" fmla="*/ 7001075 w 33"/>
              <a:gd name="T9" fmla="*/ 0 h 25"/>
              <a:gd name="T10" fmla="*/ 4480582 w 33"/>
              <a:gd name="T11" fmla="*/ 0 h 25"/>
              <a:gd name="T12" fmla="*/ 1680152 w 33"/>
              <a:gd name="T13" fmla="*/ 0 h 25"/>
              <a:gd name="T14" fmla="*/ 0 w 33"/>
              <a:gd name="T15" fmla="*/ 0 h 25"/>
              <a:gd name="T16" fmla="*/ 7281013 w 33"/>
              <a:gd name="T17" fmla="*/ 13800140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0872A6"/>
          </a:solidFill>
          <a:ln w="9525" cmpd="sng">
            <a:solidFill>
              <a:schemeClr val="bg1"/>
            </a:solidFill>
            <a:prstDash val="solid"/>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a:endParaRPr>
          </a:p>
        </p:txBody>
      </p:sp>
      <p:sp>
        <p:nvSpPr>
          <p:cNvPr id="1119" name="TextBox 1118">
            <a:extLst>
              <a:ext uri="{FF2B5EF4-FFF2-40B4-BE49-F238E27FC236}">
                <a16:creationId xmlns:a16="http://schemas.microsoft.com/office/drawing/2014/main" id="{4F756DCF-F185-4915-AA54-72EE8ADF2DFE}"/>
              </a:ext>
            </a:extLst>
          </p:cNvPr>
          <p:cNvSpPr txBox="1"/>
          <p:nvPr/>
        </p:nvSpPr>
        <p:spPr>
          <a:xfrm>
            <a:off x="808660" y="3753187"/>
            <a:ext cx="1405731" cy="1615827"/>
          </a:xfrm>
          <a:prstGeom prst="rect">
            <a:avLst/>
          </a:prstGeom>
          <a:noFill/>
        </p:spPr>
        <p:txBody>
          <a:bodyPr wrap="square">
            <a:spAutoFit/>
          </a:bodyPr>
          <a:lstStyle/>
          <a:p>
            <a:pPr algn="ctr"/>
            <a:r>
              <a:rPr lang="en-US" sz="1500" b="1" u="sng" dirty="0">
                <a:latin typeface="+mj-lt"/>
              </a:rPr>
              <a:t>LAC</a:t>
            </a:r>
          </a:p>
          <a:p>
            <a:r>
              <a:rPr lang="en-US" sz="1200" b="1" dirty="0">
                <a:solidFill>
                  <a:srgbClr val="0872A6"/>
                </a:solidFill>
                <a:latin typeface="+mj-lt"/>
              </a:rPr>
              <a:t>Antigua &amp; Barbuda</a:t>
            </a:r>
          </a:p>
          <a:p>
            <a:r>
              <a:rPr lang="en-US" sz="1200" b="1" dirty="0">
                <a:solidFill>
                  <a:srgbClr val="0872A6"/>
                </a:solidFill>
                <a:latin typeface="+mj-lt"/>
              </a:rPr>
              <a:t>Grenada</a:t>
            </a:r>
          </a:p>
          <a:p>
            <a:r>
              <a:rPr lang="en-US" sz="1200" b="1" dirty="0">
                <a:solidFill>
                  <a:srgbClr val="0872A6"/>
                </a:solidFill>
                <a:latin typeface="+mj-lt"/>
              </a:rPr>
              <a:t>Nicaragua</a:t>
            </a:r>
          </a:p>
          <a:p>
            <a:r>
              <a:rPr lang="en-US" sz="1200" b="1" dirty="0">
                <a:solidFill>
                  <a:srgbClr val="0872A6"/>
                </a:solidFill>
                <a:latin typeface="+mj-lt"/>
              </a:rPr>
              <a:t>Panama</a:t>
            </a:r>
          </a:p>
          <a:p>
            <a:r>
              <a:rPr lang="en-US" sz="1200" b="1" dirty="0">
                <a:solidFill>
                  <a:srgbClr val="0872A6"/>
                </a:solidFill>
                <a:latin typeface="+mj-lt"/>
              </a:rPr>
              <a:t>Peru</a:t>
            </a:r>
          </a:p>
          <a:p>
            <a:r>
              <a:rPr lang="en-US" sz="1200" b="1" dirty="0">
                <a:solidFill>
                  <a:srgbClr val="FCD5B5"/>
                </a:solidFill>
                <a:latin typeface="+mj-lt"/>
              </a:rPr>
              <a:t>El Salvador</a:t>
            </a:r>
          </a:p>
          <a:p>
            <a:r>
              <a:rPr lang="en-US" sz="1200" b="1" dirty="0">
                <a:solidFill>
                  <a:srgbClr val="FCD5B5"/>
                </a:solidFill>
                <a:latin typeface="+mj-lt"/>
              </a:rPr>
              <a:t>Paraguay</a:t>
            </a:r>
          </a:p>
        </p:txBody>
      </p:sp>
      <p:sp>
        <p:nvSpPr>
          <p:cNvPr id="6" name="TextBox 5">
            <a:extLst>
              <a:ext uri="{FF2B5EF4-FFF2-40B4-BE49-F238E27FC236}">
                <a16:creationId xmlns:a16="http://schemas.microsoft.com/office/drawing/2014/main" id="{08736A75-28C5-4253-B8EC-2C52F590CEFF}"/>
              </a:ext>
            </a:extLst>
          </p:cNvPr>
          <p:cNvSpPr txBox="1"/>
          <p:nvPr/>
        </p:nvSpPr>
        <p:spPr>
          <a:xfrm>
            <a:off x="4457306" y="4279852"/>
            <a:ext cx="1405731" cy="2539157"/>
          </a:xfrm>
          <a:prstGeom prst="rect">
            <a:avLst/>
          </a:prstGeom>
          <a:noFill/>
        </p:spPr>
        <p:txBody>
          <a:bodyPr wrap="square">
            <a:spAutoFit/>
          </a:bodyPr>
          <a:lstStyle/>
          <a:p>
            <a:pPr algn="ctr"/>
            <a:r>
              <a:rPr lang="en-US" sz="1500" b="1" u="sng" dirty="0">
                <a:latin typeface="+mj-lt"/>
              </a:rPr>
              <a:t>SSA</a:t>
            </a:r>
          </a:p>
          <a:p>
            <a:r>
              <a:rPr lang="en-US" sz="1200" b="1" dirty="0">
                <a:solidFill>
                  <a:srgbClr val="0872A6"/>
                </a:solidFill>
                <a:latin typeface="+mj-lt"/>
              </a:rPr>
              <a:t>Djibouti</a:t>
            </a:r>
          </a:p>
          <a:p>
            <a:r>
              <a:rPr lang="en-US" sz="1200" b="1" dirty="0">
                <a:solidFill>
                  <a:srgbClr val="0872A6"/>
                </a:solidFill>
                <a:latin typeface="+mj-lt"/>
              </a:rPr>
              <a:t>Eswatini</a:t>
            </a:r>
          </a:p>
          <a:p>
            <a:r>
              <a:rPr lang="en-US" sz="1200" b="1" dirty="0">
                <a:solidFill>
                  <a:srgbClr val="0872A6"/>
                </a:solidFill>
                <a:latin typeface="+mj-lt"/>
              </a:rPr>
              <a:t>Ghana</a:t>
            </a:r>
          </a:p>
          <a:p>
            <a:r>
              <a:rPr lang="en-US" sz="1200" b="1" dirty="0">
                <a:solidFill>
                  <a:srgbClr val="0872A6"/>
                </a:solidFill>
                <a:latin typeface="+mj-lt"/>
              </a:rPr>
              <a:t>Mali</a:t>
            </a:r>
          </a:p>
          <a:p>
            <a:r>
              <a:rPr lang="en-US" sz="1200" b="1" dirty="0">
                <a:solidFill>
                  <a:srgbClr val="0872A6"/>
                </a:solidFill>
                <a:latin typeface="+mj-lt"/>
              </a:rPr>
              <a:t>Mozambique</a:t>
            </a:r>
          </a:p>
          <a:p>
            <a:r>
              <a:rPr lang="en-US" sz="1200" b="1" dirty="0">
                <a:solidFill>
                  <a:srgbClr val="0872A6"/>
                </a:solidFill>
                <a:latin typeface="+mj-lt"/>
              </a:rPr>
              <a:t>Niger</a:t>
            </a:r>
          </a:p>
          <a:p>
            <a:r>
              <a:rPr lang="en-US" sz="1200" b="1" dirty="0">
                <a:solidFill>
                  <a:srgbClr val="0872A6"/>
                </a:solidFill>
                <a:latin typeface="+mj-lt"/>
              </a:rPr>
              <a:t>Senegal</a:t>
            </a:r>
          </a:p>
          <a:p>
            <a:r>
              <a:rPr lang="en-US" sz="1200" b="1" dirty="0">
                <a:solidFill>
                  <a:srgbClr val="0872A6"/>
                </a:solidFill>
                <a:latin typeface="+mj-lt"/>
              </a:rPr>
              <a:t>Tanzania</a:t>
            </a:r>
          </a:p>
          <a:p>
            <a:r>
              <a:rPr lang="en-US" sz="1200" b="1" dirty="0">
                <a:solidFill>
                  <a:srgbClr val="0872A6"/>
                </a:solidFill>
                <a:latin typeface="+mj-lt"/>
              </a:rPr>
              <a:t>The Gambia</a:t>
            </a:r>
          </a:p>
          <a:p>
            <a:r>
              <a:rPr lang="en-US" sz="1200" b="1" dirty="0">
                <a:solidFill>
                  <a:srgbClr val="0872A6"/>
                </a:solidFill>
                <a:latin typeface="+mj-lt"/>
              </a:rPr>
              <a:t>Zambia</a:t>
            </a:r>
          </a:p>
          <a:p>
            <a:r>
              <a:rPr lang="en-US" sz="1200" b="1" dirty="0">
                <a:solidFill>
                  <a:srgbClr val="FCD5B5"/>
                </a:solidFill>
                <a:latin typeface="+mj-lt"/>
              </a:rPr>
              <a:t>Botswana</a:t>
            </a:r>
          </a:p>
          <a:p>
            <a:r>
              <a:rPr lang="en-US" sz="1200" b="1" dirty="0">
                <a:solidFill>
                  <a:srgbClr val="C00000"/>
                </a:solidFill>
                <a:latin typeface="+mj-lt"/>
              </a:rPr>
              <a:t>Burkina Faso</a:t>
            </a:r>
          </a:p>
        </p:txBody>
      </p:sp>
      <p:sp>
        <p:nvSpPr>
          <p:cNvPr id="8" name="TextBox 7">
            <a:extLst>
              <a:ext uri="{FF2B5EF4-FFF2-40B4-BE49-F238E27FC236}">
                <a16:creationId xmlns:a16="http://schemas.microsoft.com/office/drawing/2014/main" id="{A525D859-5994-4E27-947D-33EA08CBFD44}"/>
              </a:ext>
            </a:extLst>
          </p:cNvPr>
          <p:cNvSpPr txBox="1"/>
          <p:nvPr/>
        </p:nvSpPr>
        <p:spPr>
          <a:xfrm>
            <a:off x="7214806" y="4341682"/>
            <a:ext cx="1405731" cy="1985159"/>
          </a:xfrm>
          <a:prstGeom prst="rect">
            <a:avLst/>
          </a:prstGeom>
          <a:noFill/>
        </p:spPr>
        <p:txBody>
          <a:bodyPr wrap="square">
            <a:spAutoFit/>
          </a:bodyPr>
          <a:lstStyle/>
          <a:p>
            <a:pPr algn="ctr"/>
            <a:r>
              <a:rPr lang="en-US" sz="1500" b="1" u="sng" dirty="0">
                <a:latin typeface="+mj-lt"/>
              </a:rPr>
              <a:t>MENA</a:t>
            </a:r>
          </a:p>
          <a:p>
            <a:r>
              <a:rPr lang="en-US" sz="1200" b="1" dirty="0">
                <a:solidFill>
                  <a:srgbClr val="0872A6"/>
                </a:solidFill>
                <a:latin typeface="+mj-lt"/>
              </a:rPr>
              <a:t>Egypt</a:t>
            </a:r>
          </a:p>
          <a:p>
            <a:r>
              <a:rPr lang="en-US" sz="1200" b="1" dirty="0">
                <a:solidFill>
                  <a:srgbClr val="0872A6"/>
                </a:solidFill>
                <a:latin typeface="+mj-lt"/>
              </a:rPr>
              <a:t>Lebanon</a:t>
            </a:r>
          </a:p>
          <a:p>
            <a:r>
              <a:rPr lang="en-US" sz="1200" b="1" dirty="0">
                <a:solidFill>
                  <a:srgbClr val="0872A6"/>
                </a:solidFill>
                <a:latin typeface="+mj-lt"/>
              </a:rPr>
              <a:t>Mauritania</a:t>
            </a:r>
          </a:p>
          <a:p>
            <a:r>
              <a:rPr lang="en-US" sz="1200" b="1" dirty="0">
                <a:solidFill>
                  <a:srgbClr val="0872A6"/>
                </a:solidFill>
                <a:latin typeface="+mj-lt"/>
              </a:rPr>
              <a:t>Oman</a:t>
            </a:r>
          </a:p>
          <a:p>
            <a:r>
              <a:rPr lang="en-US" sz="1200" b="1" dirty="0">
                <a:solidFill>
                  <a:srgbClr val="0073A9"/>
                </a:solidFill>
                <a:latin typeface="+mj-lt"/>
              </a:rPr>
              <a:t>Jordan</a:t>
            </a:r>
          </a:p>
          <a:p>
            <a:r>
              <a:rPr lang="en-US" sz="1200" b="1" dirty="0">
                <a:solidFill>
                  <a:srgbClr val="FCD5B5"/>
                </a:solidFill>
                <a:latin typeface="+mj-lt"/>
              </a:rPr>
              <a:t>Tunisia</a:t>
            </a:r>
          </a:p>
          <a:p>
            <a:r>
              <a:rPr lang="en-US" sz="1200" b="1" dirty="0">
                <a:solidFill>
                  <a:srgbClr val="C00000"/>
                </a:solidFill>
                <a:latin typeface="+mj-lt"/>
              </a:rPr>
              <a:t>Iraq</a:t>
            </a:r>
          </a:p>
          <a:p>
            <a:r>
              <a:rPr lang="en-US" sz="1200" b="1" dirty="0">
                <a:solidFill>
                  <a:srgbClr val="C00000"/>
                </a:solidFill>
                <a:latin typeface="+mj-lt"/>
              </a:rPr>
              <a:t>Kuwait</a:t>
            </a:r>
          </a:p>
          <a:p>
            <a:r>
              <a:rPr lang="en-US" sz="1200" b="1" dirty="0">
                <a:solidFill>
                  <a:srgbClr val="C00000"/>
                </a:solidFill>
                <a:latin typeface="+mj-lt"/>
              </a:rPr>
              <a:t>Sudan</a:t>
            </a:r>
          </a:p>
        </p:txBody>
      </p:sp>
      <p:sp>
        <p:nvSpPr>
          <p:cNvPr id="10" name="TextBox 9">
            <a:extLst>
              <a:ext uri="{FF2B5EF4-FFF2-40B4-BE49-F238E27FC236}">
                <a16:creationId xmlns:a16="http://schemas.microsoft.com/office/drawing/2014/main" id="{C5983869-4AC5-46A9-BDAE-6C0C4E51709B}"/>
              </a:ext>
            </a:extLst>
          </p:cNvPr>
          <p:cNvSpPr txBox="1"/>
          <p:nvPr/>
        </p:nvSpPr>
        <p:spPr>
          <a:xfrm>
            <a:off x="10720024" y="2239059"/>
            <a:ext cx="1405731" cy="2169825"/>
          </a:xfrm>
          <a:prstGeom prst="rect">
            <a:avLst/>
          </a:prstGeom>
          <a:noFill/>
        </p:spPr>
        <p:txBody>
          <a:bodyPr wrap="square">
            <a:spAutoFit/>
          </a:bodyPr>
          <a:lstStyle/>
          <a:p>
            <a:pPr algn="ctr"/>
            <a:r>
              <a:rPr lang="en-US" sz="1500" b="1" u="sng" dirty="0">
                <a:latin typeface="+mj-lt"/>
              </a:rPr>
              <a:t>APAC</a:t>
            </a:r>
          </a:p>
          <a:p>
            <a:r>
              <a:rPr lang="en-US" sz="1200" b="1" dirty="0">
                <a:solidFill>
                  <a:srgbClr val="0872A6"/>
                </a:solidFill>
                <a:latin typeface="+mj-lt"/>
              </a:rPr>
              <a:t>Bhutan</a:t>
            </a:r>
          </a:p>
          <a:p>
            <a:r>
              <a:rPr lang="en-US" sz="1200" b="1" dirty="0">
                <a:solidFill>
                  <a:srgbClr val="0872A6"/>
                </a:solidFill>
                <a:latin typeface="+mj-lt"/>
              </a:rPr>
              <a:t>Mongolia</a:t>
            </a:r>
          </a:p>
          <a:p>
            <a:r>
              <a:rPr lang="en-US" sz="1200" b="1" dirty="0">
                <a:solidFill>
                  <a:srgbClr val="0872A6"/>
                </a:solidFill>
                <a:latin typeface="+mj-lt"/>
              </a:rPr>
              <a:t>Marshall Islands</a:t>
            </a:r>
          </a:p>
          <a:p>
            <a:r>
              <a:rPr lang="en-US" sz="1200" b="1" dirty="0">
                <a:solidFill>
                  <a:srgbClr val="0872A6"/>
                </a:solidFill>
                <a:latin typeface="+mj-lt"/>
              </a:rPr>
              <a:t>Fiji</a:t>
            </a:r>
          </a:p>
          <a:p>
            <a:r>
              <a:rPr lang="en-US" sz="1200" b="1" dirty="0">
                <a:solidFill>
                  <a:srgbClr val="0872A6"/>
                </a:solidFill>
                <a:latin typeface="+mj-lt"/>
              </a:rPr>
              <a:t>Kiribati</a:t>
            </a:r>
          </a:p>
          <a:p>
            <a:r>
              <a:rPr lang="en-US" sz="1200" b="1" dirty="0">
                <a:solidFill>
                  <a:srgbClr val="0872A6"/>
                </a:solidFill>
                <a:latin typeface="+mj-lt"/>
              </a:rPr>
              <a:t>Vanuatu</a:t>
            </a:r>
          </a:p>
          <a:p>
            <a:r>
              <a:rPr lang="en-US" sz="1200" b="1" dirty="0">
                <a:solidFill>
                  <a:srgbClr val="0872A6"/>
                </a:solidFill>
                <a:latin typeface="+mj-lt"/>
              </a:rPr>
              <a:t>Philippines</a:t>
            </a:r>
          </a:p>
          <a:p>
            <a:r>
              <a:rPr lang="en-US" sz="1200" b="1" dirty="0">
                <a:solidFill>
                  <a:srgbClr val="0872A6"/>
                </a:solidFill>
                <a:latin typeface="+mj-lt"/>
              </a:rPr>
              <a:t>Thailand</a:t>
            </a:r>
          </a:p>
          <a:p>
            <a:r>
              <a:rPr lang="en-US" sz="1200" b="1" dirty="0">
                <a:solidFill>
                  <a:srgbClr val="FCD5B5"/>
                </a:solidFill>
                <a:latin typeface="+mj-lt"/>
              </a:rPr>
              <a:t>Indonesia</a:t>
            </a:r>
          </a:p>
          <a:p>
            <a:r>
              <a:rPr lang="en-US" sz="1200" b="1" dirty="0">
                <a:solidFill>
                  <a:srgbClr val="FCD5B5"/>
                </a:solidFill>
                <a:latin typeface="+mj-lt"/>
              </a:rPr>
              <a:t>Malaysia</a:t>
            </a:r>
          </a:p>
        </p:txBody>
      </p:sp>
      <p:sp>
        <p:nvSpPr>
          <p:cNvPr id="13" name="TextBox 12">
            <a:extLst>
              <a:ext uri="{FF2B5EF4-FFF2-40B4-BE49-F238E27FC236}">
                <a16:creationId xmlns:a16="http://schemas.microsoft.com/office/drawing/2014/main" id="{01985CAA-ED1B-4117-AC04-607350F139AC}"/>
              </a:ext>
            </a:extLst>
          </p:cNvPr>
          <p:cNvSpPr txBox="1"/>
          <p:nvPr/>
        </p:nvSpPr>
        <p:spPr>
          <a:xfrm>
            <a:off x="4258760" y="1743225"/>
            <a:ext cx="1146278" cy="877163"/>
          </a:xfrm>
          <a:prstGeom prst="rect">
            <a:avLst/>
          </a:prstGeom>
          <a:noFill/>
        </p:spPr>
        <p:txBody>
          <a:bodyPr wrap="square">
            <a:spAutoFit/>
          </a:bodyPr>
          <a:lstStyle/>
          <a:p>
            <a:pPr algn="ctr"/>
            <a:r>
              <a:rPr lang="en-US" sz="1500" b="1" u="sng" dirty="0">
                <a:latin typeface="+mj-lt"/>
              </a:rPr>
              <a:t>SEE</a:t>
            </a:r>
          </a:p>
          <a:p>
            <a:r>
              <a:rPr lang="en-US" sz="1200" b="1" dirty="0">
                <a:solidFill>
                  <a:srgbClr val="0872A6"/>
                </a:solidFill>
                <a:latin typeface="+mj-lt"/>
              </a:rPr>
              <a:t>Moldova</a:t>
            </a:r>
          </a:p>
          <a:p>
            <a:r>
              <a:rPr lang="en-US" sz="1200" b="1" dirty="0">
                <a:solidFill>
                  <a:srgbClr val="FCD5B5"/>
                </a:solidFill>
                <a:latin typeface="+mj-lt"/>
              </a:rPr>
              <a:t>Albania Belarus</a:t>
            </a:r>
          </a:p>
        </p:txBody>
      </p:sp>
      <p:sp>
        <p:nvSpPr>
          <p:cNvPr id="14" name="TextBox 13">
            <a:extLst>
              <a:ext uri="{FF2B5EF4-FFF2-40B4-BE49-F238E27FC236}">
                <a16:creationId xmlns:a16="http://schemas.microsoft.com/office/drawing/2014/main" id="{6BA790E1-4BE7-4ABC-BE4C-DB585C826090}"/>
              </a:ext>
            </a:extLst>
          </p:cNvPr>
          <p:cNvSpPr txBox="1"/>
          <p:nvPr/>
        </p:nvSpPr>
        <p:spPr>
          <a:xfrm>
            <a:off x="7139656" y="3344074"/>
            <a:ext cx="1146278" cy="877163"/>
          </a:xfrm>
          <a:prstGeom prst="rect">
            <a:avLst/>
          </a:prstGeom>
          <a:noFill/>
        </p:spPr>
        <p:txBody>
          <a:bodyPr wrap="square">
            <a:spAutoFit/>
          </a:bodyPr>
          <a:lstStyle/>
          <a:p>
            <a:pPr algn="ctr"/>
            <a:r>
              <a:rPr lang="en-US" sz="1500" b="1" u="sng" dirty="0">
                <a:latin typeface="+mj-lt"/>
              </a:rPr>
              <a:t>SCA</a:t>
            </a:r>
          </a:p>
          <a:p>
            <a:r>
              <a:rPr lang="en-US" sz="1200" b="1" dirty="0">
                <a:solidFill>
                  <a:srgbClr val="0872A6"/>
                </a:solidFill>
                <a:latin typeface="+mj-lt"/>
              </a:rPr>
              <a:t>Azerbaijan</a:t>
            </a:r>
          </a:p>
          <a:p>
            <a:r>
              <a:rPr lang="en-US" sz="1200" b="1" dirty="0">
                <a:solidFill>
                  <a:srgbClr val="0872A6"/>
                </a:solidFill>
                <a:latin typeface="+mj-lt"/>
              </a:rPr>
              <a:t>Pakistan</a:t>
            </a:r>
          </a:p>
          <a:p>
            <a:r>
              <a:rPr lang="en-US" sz="1200" b="1" dirty="0">
                <a:solidFill>
                  <a:srgbClr val="FCD5B5"/>
                </a:solidFill>
                <a:latin typeface="+mj-lt"/>
              </a:rPr>
              <a:t>Kyrgyzstan</a:t>
            </a:r>
          </a:p>
        </p:txBody>
      </p:sp>
      <p:sp>
        <p:nvSpPr>
          <p:cNvPr id="17" name="Rectangle 16">
            <a:extLst>
              <a:ext uri="{FF2B5EF4-FFF2-40B4-BE49-F238E27FC236}">
                <a16:creationId xmlns:a16="http://schemas.microsoft.com/office/drawing/2014/main" id="{5E1A7732-EA55-4B3E-8076-7F2153880124}"/>
              </a:ext>
            </a:extLst>
          </p:cNvPr>
          <p:cNvSpPr/>
          <p:nvPr/>
        </p:nvSpPr>
        <p:spPr>
          <a:xfrm>
            <a:off x="228600" y="5741283"/>
            <a:ext cx="1811682" cy="223433"/>
          </a:xfrm>
          <a:prstGeom prst="rect">
            <a:avLst/>
          </a:prstGeom>
          <a:solidFill>
            <a:srgbClr val="0872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MPLETED</a:t>
            </a:r>
          </a:p>
        </p:txBody>
      </p:sp>
      <p:sp>
        <p:nvSpPr>
          <p:cNvPr id="18" name="Rectangle 17">
            <a:extLst>
              <a:ext uri="{FF2B5EF4-FFF2-40B4-BE49-F238E27FC236}">
                <a16:creationId xmlns:a16="http://schemas.microsoft.com/office/drawing/2014/main" id="{73FCECFA-1646-4D5A-A112-90E86951E6DB}"/>
              </a:ext>
            </a:extLst>
          </p:cNvPr>
          <p:cNvSpPr/>
          <p:nvPr/>
        </p:nvSpPr>
        <p:spPr>
          <a:xfrm>
            <a:off x="228600" y="6006002"/>
            <a:ext cx="1811682" cy="223433"/>
          </a:xfrm>
          <a:prstGeom prst="rect">
            <a:avLst/>
          </a:prstGeom>
          <a:solidFill>
            <a:srgbClr val="FCD5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N PROGRESS</a:t>
            </a:r>
          </a:p>
        </p:txBody>
      </p:sp>
      <p:sp>
        <p:nvSpPr>
          <p:cNvPr id="19" name="Rectangle 18">
            <a:extLst>
              <a:ext uri="{FF2B5EF4-FFF2-40B4-BE49-F238E27FC236}">
                <a16:creationId xmlns:a16="http://schemas.microsoft.com/office/drawing/2014/main" id="{63853D04-8E54-4260-B099-5CF5D5C28723}"/>
              </a:ext>
            </a:extLst>
          </p:cNvPr>
          <p:cNvSpPr/>
          <p:nvPr/>
        </p:nvSpPr>
        <p:spPr>
          <a:xfrm>
            <a:off x="228600" y="6273046"/>
            <a:ext cx="1811682" cy="223433"/>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UPCOMING</a:t>
            </a:r>
          </a:p>
        </p:txBody>
      </p:sp>
      <p:sp>
        <p:nvSpPr>
          <p:cNvPr id="560" name="Title 4">
            <a:extLst>
              <a:ext uri="{FF2B5EF4-FFF2-40B4-BE49-F238E27FC236}">
                <a16:creationId xmlns:a16="http://schemas.microsoft.com/office/drawing/2014/main" id="{0907AE4D-2A26-4529-8119-899D23EF675E}"/>
              </a:ext>
            </a:extLst>
          </p:cNvPr>
          <p:cNvSpPr txBox="1">
            <a:spLocks/>
          </p:cNvSpPr>
          <p:nvPr/>
        </p:nvSpPr>
        <p:spPr>
          <a:xfrm>
            <a:off x="444526" y="192608"/>
            <a:ext cx="11229975" cy="484187"/>
          </a:xfrm>
          <a:prstGeom prst="rect">
            <a:avLst/>
          </a:prstGeom>
        </p:spPr>
        <p:txBody>
          <a:bodyPr>
            <a:noAutofit/>
          </a:bodyPr>
          <a:lstStyle>
            <a:lvl1pPr algn="l" rtl="0" eaLnBrk="0" fontAlgn="base" hangingPunct="0">
              <a:spcBef>
                <a:spcPct val="0"/>
              </a:spcBef>
              <a:spcAft>
                <a:spcPct val="0"/>
              </a:spcAft>
              <a:defRPr sz="2700" b="1">
                <a:solidFill>
                  <a:srgbClr val="0872A6"/>
                </a:solidFill>
                <a:latin typeface="ITC Avant Garde Gothic" pitchFamily="34" charset="0"/>
                <a:ea typeface="MS PGothic" panose="020B0600070205080204" pitchFamily="34" charset="-128"/>
                <a:cs typeface="+mj-cs"/>
              </a:defRPr>
            </a:lvl1pPr>
            <a:lvl2pPr algn="l" rtl="0" eaLnBrk="0" fontAlgn="base" hangingPunct="0">
              <a:spcBef>
                <a:spcPct val="0"/>
              </a:spcBef>
              <a:spcAft>
                <a:spcPct val="0"/>
              </a:spcAft>
              <a:defRPr sz="2700" b="1">
                <a:solidFill>
                  <a:srgbClr val="0872A6"/>
                </a:solidFill>
                <a:latin typeface="ITC Avant Garde Gothic" charset="0"/>
                <a:ea typeface="MS PGothic" panose="020B0600070205080204" pitchFamily="34" charset="-128"/>
                <a:cs typeface="Arial" charset="0"/>
              </a:defRPr>
            </a:lvl2pPr>
            <a:lvl3pPr algn="l" rtl="0" eaLnBrk="0" fontAlgn="base" hangingPunct="0">
              <a:spcBef>
                <a:spcPct val="0"/>
              </a:spcBef>
              <a:spcAft>
                <a:spcPct val="0"/>
              </a:spcAft>
              <a:defRPr sz="2700" b="1">
                <a:solidFill>
                  <a:srgbClr val="0872A6"/>
                </a:solidFill>
                <a:latin typeface="ITC Avant Garde Gothic" charset="0"/>
                <a:ea typeface="MS PGothic" panose="020B0600070205080204" pitchFamily="34" charset="-128"/>
                <a:cs typeface="Arial" charset="0"/>
              </a:defRPr>
            </a:lvl3pPr>
            <a:lvl4pPr algn="l" rtl="0" eaLnBrk="0" fontAlgn="base" hangingPunct="0">
              <a:spcBef>
                <a:spcPct val="0"/>
              </a:spcBef>
              <a:spcAft>
                <a:spcPct val="0"/>
              </a:spcAft>
              <a:defRPr sz="2700" b="1">
                <a:solidFill>
                  <a:srgbClr val="0872A6"/>
                </a:solidFill>
                <a:latin typeface="ITC Avant Garde Gothic" charset="0"/>
                <a:ea typeface="MS PGothic" panose="020B0600070205080204" pitchFamily="34" charset="-128"/>
                <a:cs typeface="Arial" charset="0"/>
              </a:defRPr>
            </a:lvl4pPr>
            <a:lvl5pPr algn="l" rtl="0" eaLnBrk="0" fontAlgn="base" hangingPunct="0">
              <a:spcBef>
                <a:spcPct val="0"/>
              </a:spcBef>
              <a:spcAft>
                <a:spcPct val="0"/>
              </a:spcAft>
              <a:defRPr sz="2700" b="1">
                <a:solidFill>
                  <a:srgbClr val="0872A6"/>
                </a:solidFill>
                <a:latin typeface="ITC Avant Garde Gothic" charset="0"/>
                <a:ea typeface="MS PGothic" panose="020B0600070205080204" pitchFamily="34" charset="-128"/>
                <a:cs typeface="Arial" charset="0"/>
              </a:defRPr>
            </a:lvl5pPr>
            <a:lvl6pPr marL="511761" algn="l" rtl="0" fontAlgn="base">
              <a:spcBef>
                <a:spcPct val="0"/>
              </a:spcBef>
              <a:spcAft>
                <a:spcPct val="0"/>
              </a:spcAft>
              <a:defRPr sz="2700" b="1">
                <a:solidFill>
                  <a:srgbClr val="E10019"/>
                </a:solidFill>
                <a:latin typeface="Arial" charset="0"/>
                <a:cs typeface="Arial" charset="0"/>
              </a:defRPr>
            </a:lvl6pPr>
            <a:lvl7pPr marL="1023523" algn="l" rtl="0" fontAlgn="base">
              <a:spcBef>
                <a:spcPct val="0"/>
              </a:spcBef>
              <a:spcAft>
                <a:spcPct val="0"/>
              </a:spcAft>
              <a:defRPr sz="2700" b="1">
                <a:solidFill>
                  <a:srgbClr val="E10019"/>
                </a:solidFill>
                <a:latin typeface="Arial" charset="0"/>
                <a:cs typeface="Arial" charset="0"/>
              </a:defRPr>
            </a:lvl7pPr>
            <a:lvl8pPr marL="1535285" algn="l" rtl="0" fontAlgn="base">
              <a:spcBef>
                <a:spcPct val="0"/>
              </a:spcBef>
              <a:spcAft>
                <a:spcPct val="0"/>
              </a:spcAft>
              <a:defRPr sz="2700" b="1">
                <a:solidFill>
                  <a:srgbClr val="E10019"/>
                </a:solidFill>
                <a:latin typeface="Arial" charset="0"/>
                <a:cs typeface="Arial" charset="0"/>
              </a:defRPr>
            </a:lvl8pPr>
            <a:lvl9pPr marL="2047046" algn="l" rtl="0" fontAlgn="base">
              <a:spcBef>
                <a:spcPct val="0"/>
              </a:spcBef>
              <a:spcAft>
                <a:spcPct val="0"/>
              </a:spcAft>
              <a:defRPr sz="2700" b="1">
                <a:solidFill>
                  <a:srgbClr val="E10019"/>
                </a:solidFill>
                <a:latin typeface="Arial" charset="0"/>
                <a:cs typeface="Arial" charset="0"/>
              </a:defRPr>
            </a:lvl9pPr>
          </a:lstStyle>
          <a:p>
            <a:endParaRPr lang="en-US" kern="0" dirty="0"/>
          </a:p>
        </p:txBody>
      </p:sp>
      <p:sp>
        <p:nvSpPr>
          <p:cNvPr id="561" name="Title 4">
            <a:extLst>
              <a:ext uri="{FF2B5EF4-FFF2-40B4-BE49-F238E27FC236}">
                <a16:creationId xmlns:a16="http://schemas.microsoft.com/office/drawing/2014/main" id="{673CD9C7-F882-4680-8E37-5C241CC498B5}"/>
              </a:ext>
            </a:extLst>
          </p:cNvPr>
          <p:cNvSpPr txBox="1">
            <a:spLocks/>
          </p:cNvSpPr>
          <p:nvPr/>
        </p:nvSpPr>
        <p:spPr>
          <a:xfrm>
            <a:off x="471487" y="268159"/>
            <a:ext cx="11229975" cy="484187"/>
          </a:xfrm>
          <a:prstGeom prst="rect">
            <a:avLst/>
          </a:prstGeom>
        </p:spPr>
        <p:txBody>
          <a:bodyPr>
            <a:noAutofit/>
          </a:bodyPr>
          <a:lstStyle>
            <a:lvl1pPr algn="l" rtl="0" eaLnBrk="0" fontAlgn="base" hangingPunct="0">
              <a:spcBef>
                <a:spcPct val="0"/>
              </a:spcBef>
              <a:spcAft>
                <a:spcPct val="0"/>
              </a:spcAft>
              <a:defRPr sz="2700" b="1">
                <a:solidFill>
                  <a:srgbClr val="0872A6"/>
                </a:solidFill>
                <a:latin typeface="ITC Avant Garde Gothic" pitchFamily="34" charset="0"/>
                <a:ea typeface="MS PGothic" panose="020B0600070205080204" pitchFamily="34" charset="-128"/>
                <a:cs typeface="+mj-cs"/>
              </a:defRPr>
            </a:lvl1pPr>
            <a:lvl2pPr algn="l" rtl="0" eaLnBrk="0" fontAlgn="base" hangingPunct="0">
              <a:spcBef>
                <a:spcPct val="0"/>
              </a:spcBef>
              <a:spcAft>
                <a:spcPct val="0"/>
              </a:spcAft>
              <a:defRPr sz="2700" b="1">
                <a:solidFill>
                  <a:srgbClr val="0872A6"/>
                </a:solidFill>
                <a:latin typeface="ITC Avant Garde Gothic" charset="0"/>
                <a:ea typeface="MS PGothic" panose="020B0600070205080204" pitchFamily="34" charset="-128"/>
                <a:cs typeface="Arial" charset="0"/>
              </a:defRPr>
            </a:lvl2pPr>
            <a:lvl3pPr algn="l" rtl="0" eaLnBrk="0" fontAlgn="base" hangingPunct="0">
              <a:spcBef>
                <a:spcPct val="0"/>
              </a:spcBef>
              <a:spcAft>
                <a:spcPct val="0"/>
              </a:spcAft>
              <a:defRPr sz="2700" b="1">
                <a:solidFill>
                  <a:srgbClr val="0872A6"/>
                </a:solidFill>
                <a:latin typeface="ITC Avant Garde Gothic" charset="0"/>
                <a:ea typeface="MS PGothic" panose="020B0600070205080204" pitchFamily="34" charset="-128"/>
                <a:cs typeface="Arial" charset="0"/>
              </a:defRPr>
            </a:lvl3pPr>
            <a:lvl4pPr algn="l" rtl="0" eaLnBrk="0" fontAlgn="base" hangingPunct="0">
              <a:spcBef>
                <a:spcPct val="0"/>
              </a:spcBef>
              <a:spcAft>
                <a:spcPct val="0"/>
              </a:spcAft>
              <a:defRPr sz="2700" b="1">
                <a:solidFill>
                  <a:srgbClr val="0872A6"/>
                </a:solidFill>
                <a:latin typeface="ITC Avant Garde Gothic" charset="0"/>
                <a:ea typeface="MS PGothic" panose="020B0600070205080204" pitchFamily="34" charset="-128"/>
                <a:cs typeface="Arial" charset="0"/>
              </a:defRPr>
            </a:lvl4pPr>
            <a:lvl5pPr algn="l" rtl="0" eaLnBrk="0" fontAlgn="base" hangingPunct="0">
              <a:spcBef>
                <a:spcPct val="0"/>
              </a:spcBef>
              <a:spcAft>
                <a:spcPct val="0"/>
              </a:spcAft>
              <a:defRPr sz="2700" b="1">
                <a:solidFill>
                  <a:srgbClr val="0872A6"/>
                </a:solidFill>
                <a:latin typeface="ITC Avant Garde Gothic" charset="0"/>
                <a:ea typeface="MS PGothic" panose="020B0600070205080204" pitchFamily="34" charset="-128"/>
                <a:cs typeface="Arial" charset="0"/>
              </a:defRPr>
            </a:lvl5pPr>
            <a:lvl6pPr marL="511761" algn="l" rtl="0" fontAlgn="base">
              <a:spcBef>
                <a:spcPct val="0"/>
              </a:spcBef>
              <a:spcAft>
                <a:spcPct val="0"/>
              </a:spcAft>
              <a:defRPr sz="2700" b="1">
                <a:solidFill>
                  <a:srgbClr val="E10019"/>
                </a:solidFill>
                <a:latin typeface="Arial" charset="0"/>
                <a:cs typeface="Arial" charset="0"/>
              </a:defRPr>
            </a:lvl6pPr>
            <a:lvl7pPr marL="1023523" algn="l" rtl="0" fontAlgn="base">
              <a:spcBef>
                <a:spcPct val="0"/>
              </a:spcBef>
              <a:spcAft>
                <a:spcPct val="0"/>
              </a:spcAft>
              <a:defRPr sz="2700" b="1">
                <a:solidFill>
                  <a:srgbClr val="E10019"/>
                </a:solidFill>
                <a:latin typeface="Arial" charset="0"/>
                <a:cs typeface="Arial" charset="0"/>
              </a:defRPr>
            </a:lvl7pPr>
            <a:lvl8pPr marL="1535285" algn="l" rtl="0" fontAlgn="base">
              <a:spcBef>
                <a:spcPct val="0"/>
              </a:spcBef>
              <a:spcAft>
                <a:spcPct val="0"/>
              </a:spcAft>
              <a:defRPr sz="2700" b="1">
                <a:solidFill>
                  <a:srgbClr val="E10019"/>
                </a:solidFill>
                <a:latin typeface="Arial" charset="0"/>
                <a:cs typeface="Arial" charset="0"/>
              </a:defRPr>
            </a:lvl8pPr>
            <a:lvl9pPr marL="2047046" algn="l" rtl="0" fontAlgn="base">
              <a:spcBef>
                <a:spcPct val="0"/>
              </a:spcBef>
              <a:spcAft>
                <a:spcPct val="0"/>
              </a:spcAft>
              <a:defRPr sz="2700" b="1">
                <a:solidFill>
                  <a:srgbClr val="E10019"/>
                </a:solidFill>
                <a:latin typeface="Arial" charset="0"/>
                <a:cs typeface="Arial" charset="0"/>
              </a:defRPr>
            </a:lvl9pPr>
          </a:lstStyle>
          <a:p>
            <a:r>
              <a:rPr lang="en-US" kern="0" dirty="0"/>
              <a:t>More than 40 RRAs Worldwide</a:t>
            </a:r>
          </a:p>
        </p:txBody>
      </p:sp>
    </p:spTree>
    <p:extLst>
      <p:ext uri="{BB962C8B-B14F-4D97-AF65-F5344CB8AC3E}">
        <p14:creationId xmlns:p14="http://schemas.microsoft.com/office/powerpoint/2010/main" val="18775022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FFD2503C-FCCD-4853-ABC9-E4A34FECF50C}"/>
              </a:ext>
            </a:extLst>
          </p:cNvPr>
          <p:cNvSpPr>
            <a:spLocks noGrp="1"/>
          </p:cNvSpPr>
          <p:nvPr>
            <p:ph type="body" idx="1"/>
          </p:nvPr>
        </p:nvSpPr>
        <p:spPr>
          <a:xfrm>
            <a:off x="963084" y="2906713"/>
            <a:ext cx="10363200" cy="1500187"/>
          </a:xfrm>
        </p:spPr>
        <p:txBody>
          <a:bodyPr/>
          <a:lstStyle/>
          <a:p>
            <a:pPr eaLnBrk="1" hangingPunct="1">
              <a:lnSpc>
                <a:spcPct val="90000"/>
              </a:lnSpc>
              <a:spcBef>
                <a:spcPct val="0"/>
              </a:spcBef>
            </a:pPr>
            <a:r>
              <a:rPr lang="en-US" sz="3200" b="1" dirty="0">
                <a:solidFill>
                  <a:srgbClr val="196790"/>
                </a:solidFill>
                <a:latin typeface="+mj-lt"/>
                <a:ea typeface="+mj-ea"/>
                <a:cs typeface="+mj-cs"/>
              </a:rPr>
              <a:t>Renewables Readiness Assessment</a:t>
            </a:r>
          </a:p>
        </p:txBody>
      </p:sp>
      <p:sp>
        <p:nvSpPr>
          <p:cNvPr id="4" name="Slide Number Placeholder 3">
            <a:extLst>
              <a:ext uri="{FF2B5EF4-FFF2-40B4-BE49-F238E27FC236}">
                <a16:creationId xmlns:a16="http://schemas.microsoft.com/office/drawing/2014/main" id="{1EDBEB15-DEBA-4429-B99F-E9FF6C591EFC}"/>
              </a:ext>
            </a:extLst>
          </p:cNvPr>
          <p:cNvSpPr>
            <a:spLocks noGrp="1"/>
          </p:cNvSpPr>
          <p:nvPr>
            <p:ph type="sldNum" sz="quarter" idx="12"/>
          </p:nvPr>
        </p:nvSpPr>
        <p:spPr/>
        <p:txBody>
          <a:bodyPr/>
          <a:lstStyle/>
          <a:p>
            <a:pPr>
              <a:defRPr/>
            </a:pPr>
            <a:fld id="{93973694-2C9A-448D-B3C7-A443C13B92D6}" type="slidenum">
              <a:rPr lang="de-DE" altLang="en-US" smtClean="0"/>
              <a:pPr>
                <a:defRPr/>
              </a:pPr>
              <a:t>8</a:t>
            </a:fld>
            <a:endParaRPr lang="de-DE" altLang="en-US"/>
          </a:p>
        </p:txBody>
      </p:sp>
      <p:sp>
        <p:nvSpPr>
          <p:cNvPr id="14" name="Text Placeholder 4">
            <a:extLst>
              <a:ext uri="{FF2B5EF4-FFF2-40B4-BE49-F238E27FC236}">
                <a16:creationId xmlns:a16="http://schemas.microsoft.com/office/drawing/2014/main" id="{22DA1D89-43AF-47DE-AE78-B0E344753B82}"/>
              </a:ext>
            </a:extLst>
          </p:cNvPr>
          <p:cNvSpPr txBox="1">
            <a:spLocks/>
          </p:cNvSpPr>
          <p:nvPr/>
        </p:nvSpPr>
        <p:spPr bwMode="auto">
          <a:xfrm>
            <a:off x="963084" y="3212976"/>
            <a:ext cx="10515600" cy="150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lvl1pPr marL="0" indent="0" algn="l" rtl="0" eaLnBrk="0" fontAlgn="base" hangingPunct="0">
              <a:spcBef>
                <a:spcPct val="20000"/>
              </a:spcBef>
              <a:spcAft>
                <a:spcPct val="0"/>
              </a:spcAft>
              <a:buFont typeface="Arial" panose="020B0604020202020204" pitchFamily="34" charset="0"/>
              <a:buNone/>
              <a:defRPr sz="2000" kern="1200">
                <a:solidFill>
                  <a:schemeClr val="tx1">
                    <a:tint val="75000"/>
                  </a:schemeClr>
                </a:solidFill>
                <a:latin typeface="+mn-lt"/>
                <a:ea typeface="+mn-ea"/>
                <a:cs typeface="+mn-cs"/>
              </a:defRPr>
            </a:lvl1pPr>
            <a:lvl2pPr marL="457200" indent="0" algn="l" rtl="0" eaLnBrk="0" fontAlgn="base" hangingPunct="0">
              <a:spcBef>
                <a:spcPct val="20000"/>
              </a:spcBef>
              <a:spcAft>
                <a:spcPct val="0"/>
              </a:spcAft>
              <a:buFont typeface="Arial" panose="020B0604020202020204" pitchFamily="34" charset="0"/>
              <a:buNone/>
              <a:defRPr sz="1800" kern="1200">
                <a:solidFill>
                  <a:schemeClr val="tx1">
                    <a:tint val="75000"/>
                  </a:schemeClr>
                </a:solidFill>
                <a:latin typeface="+mn-lt"/>
                <a:ea typeface="+mn-ea"/>
                <a:cs typeface="+mn-cs"/>
              </a:defRPr>
            </a:lvl2pPr>
            <a:lvl3pPr marL="914400" indent="0" algn="l" rtl="0" eaLnBrk="0" fontAlgn="base" hangingPunct="0">
              <a:spcBef>
                <a:spcPct val="20000"/>
              </a:spcBef>
              <a:spcAft>
                <a:spcPct val="0"/>
              </a:spcAft>
              <a:buFont typeface="Arial" panose="020B0604020202020204" pitchFamily="34" charset="0"/>
              <a:buNone/>
              <a:defRPr sz="1600" kern="1200">
                <a:solidFill>
                  <a:schemeClr val="tx1">
                    <a:tint val="75000"/>
                  </a:schemeClr>
                </a:solidFill>
                <a:latin typeface="+mn-lt"/>
                <a:ea typeface="+mn-ea"/>
                <a:cs typeface="+mn-cs"/>
              </a:defRPr>
            </a:lvl3pPr>
            <a:lvl4pPr marL="1371600" indent="0" algn="l" rtl="0" eaLnBrk="0" fontAlgn="base" hangingPunct="0">
              <a:spcBef>
                <a:spcPct val="20000"/>
              </a:spcBef>
              <a:spcAft>
                <a:spcPct val="0"/>
              </a:spcAft>
              <a:buFont typeface="Arial" panose="020B0604020202020204" pitchFamily="34" charset="0"/>
              <a:buNone/>
              <a:defRPr sz="1400" kern="1200">
                <a:solidFill>
                  <a:schemeClr val="tx1">
                    <a:tint val="75000"/>
                  </a:schemeClr>
                </a:solidFill>
                <a:latin typeface="+mn-lt"/>
                <a:ea typeface="+mn-ea"/>
                <a:cs typeface="+mn-cs"/>
              </a:defRPr>
            </a:lvl4pPr>
            <a:lvl5pPr marL="1828800" indent="0" algn="l" rtl="0" eaLnBrk="0" fontAlgn="base" hangingPunct="0">
              <a:spcBef>
                <a:spcPct val="20000"/>
              </a:spcBef>
              <a:spcAft>
                <a:spcPct val="0"/>
              </a:spcAft>
              <a:buFont typeface="Arial" panose="020B0604020202020204" pitchFamily="34" charset="0"/>
              <a:buNone/>
              <a:defRPr sz="1400" kern="1200">
                <a:solidFill>
                  <a:schemeClr val="tx1">
                    <a:tint val="75000"/>
                  </a:schemeClr>
                </a:solidFill>
                <a:latin typeface="+mn-lt"/>
                <a:ea typeface="+mn-ea"/>
                <a:cs typeface="+mn-cs"/>
              </a:defRPr>
            </a:lvl5pPr>
            <a:lvl6pPr marL="22860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6pPr>
            <a:lvl7pPr marL="27432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7pPr>
            <a:lvl8pPr marL="32004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8pPr>
            <a:lvl9pPr marL="36576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9pPr>
          </a:lstStyle>
          <a:p>
            <a:r>
              <a:rPr lang="en-US" dirty="0">
                <a:latin typeface="Arial" panose="020B0604020202020204" pitchFamily="34" charset="0"/>
                <a:cs typeface="Arial" panose="020B0604020202020204" pitchFamily="34" charset="0"/>
              </a:rPr>
              <a:t>Drivers for the Renewable Energy Transition</a:t>
            </a:r>
          </a:p>
        </p:txBody>
      </p:sp>
      <p:pic>
        <p:nvPicPr>
          <p:cNvPr id="15" name="Picture 14">
            <a:extLst>
              <a:ext uri="{FF2B5EF4-FFF2-40B4-BE49-F238E27FC236}">
                <a16:creationId xmlns:a16="http://schemas.microsoft.com/office/drawing/2014/main" id="{FB48D26F-DF90-46C2-AD9F-E9DDD47DBD20}"/>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570821" y="404664"/>
            <a:ext cx="19875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729493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621149A-4C05-4468-A111-7070DB53CE0A}"/>
              </a:ext>
            </a:extLst>
          </p:cNvPr>
          <p:cNvSpPr>
            <a:spLocks noGrp="1"/>
          </p:cNvSpPr>
          <p:nvPr>
            <p:ph type="sldNum" sz="quarter" idx="10"/>
          </p:nvPr>
        </p:nvSpPr>
        <p:spPr/>
        <p:txBody>
          <a:bodyPr/>
          <a:lstStyle/>
          <a:p>
            <a:pPr>
              <a:defRPr/>
            </a:pPr>
            <a:fld id="{1469184B-A9BA-46B5-B492-91B8C8433EB0}" type="slidenum">
              <a:rPr lang="de-DE" altLang="en-US" smtClean="0"/>
              <a:pPr>
                <a:defRPr/>
              </a:pPr>
              <a:t>9</a:t>
            </a:fld>
            <a:endParaRPr lang="de-DE" altLang="en-US"/>
          </a:p>
        </p:txBody>
      </p:sp>
      <p:sp>
        <p:nvSpPr>
          <p:cNvPr id="9" name="Title 4">
            <a:extLst>
              <a:ext uri="{FF2B5EF4-FFF2-40B4-BE49-F238E27FC236}">
                <a16:creationId xmlns:a16="http://schemas.microsoft.com/office/drawing/2014/main" id="{3B55657F-1E06-446D-9CD6-F4A2E26D0542}"/>
              </a:ext>
            </a:extLst>
          </p:cNvPr>
          <p:cNvSpPr txBox="1">
            <a:spLocks/>
          </p:cNvSpPr>
          <p:nvPr/>
        </p:nvSpPr>
        <p:spPr>
          <a:xfrm>
            <a:off x="471487" y="268159"/>
            <a:ext cx="11229975" cy="484187"/>
          </a:xfrm>
          <a:prstGeom prst="rect">
            <a:avLst/>
          </a:prstGeom>
        </p:spPr>
        <p:txBody>
          <a:bodyPr>
            <a:noAutofit/>
          </a:bodyPr>
          <a:lstStyle>
            <a:lvl1pPr algn="l" rtl="0" eaLnBrk="0" fontAlgn="base" hangingPunct="0">
              <a:spcBef>
                <a:spcPct val="0"/>
              </a:spcBef>
              <a:spcAft>
                <a:spcPct val="0"/>
              </a:spcAft>
              <a:defRPr sz="2700" b="1">
                <a:solidFill>
                  <a:srgbClr val="0872A6"/>
                </a:solidFill>
                <a:latin typeface="ITC Avant Garde Gothic" pitchFamily="34" charset="0"/>
                <a:ea typeface="MS PGothic" panose="020B0600070205080204" pitchFamily="34" charset="-128"/>
                <a:cs typeface="+mj-cs"/>
              </a:defRPr>
            </a:lvl1pPr>
            <a:lvl2pPr algn="l" rtl="0" eaLnBrk="0" fontAlgn="base" hangingPunct="0">
              <a:spcBef>
                <a:spcPct val="0"/>
              </a:spcBef>
              <a:spcAft>
                <a:spcPct val="0"/>
              </a:spcAft>
              <a:defRPr sz="2700" b="1">
                <a:solidFill>
                  <a:srgbClr val="0872A6"/>
                </a:solidFill>
                <a:latin typeface="ITC Avant Garde Gothic" charset="0"/>
                <a:ea typeface="MS PGothic" panose="020B0600070205080204" pitchFamily="34" charset="-128"/>
                <a:cs typeface="Arial" charset="0"/>
              </a:defRPr>
            </a:lvl2pPr>
            <a:lvl3pPr algn="l" rtl="0" eaLnBrk="0" fontAlgn="base" hangingPunct="0">
              <a:spcBef>
                <a:spcPct val="0"/>
              </a:spcBef>
              <a:spcAft>
                <a:spcPct val="0"/>
              </a:spcAft>
              <a:defRPr sz="2700" b="1">
                <a:solidFill>
                  <a:srgbClr val="0872A6"/>
                </a:solidFill>
                <a:latin typeface="ITC Avant Garde Gothic" charset="0"/>
                <a:ea typeface="MS PGothic" panose="020B0600070205080204" pitchFamily="34" charset="-128"/>
                <a:cs typeface="Arial" charset="0"/>
              </a:defRPr>
            </a:lvl3pPr>
            <a:lvl4pPr algn="l" rtl="0" eaLnBrk="0" fontAlgn="base" hangingPunct="0">
              <a:spcBef>
                <a:spcPct val="0"/>
              </a:spcBef>
              <a:spcAft>
                <a:spcPct val="0"/>
              </a:spcAft>
              <a:defRPr sz="2700" b="1">
                <a:solidFill>
                  <a:srgbClr val="0872A6"/>
                </a:solidFill>
                <a:latin typeface="ITC Avant Garde Gothic" charset="0"/>
                <a:ea typeface="MS PGothic" panose="020B0600070205080204" pitchFamily="34" charset="-128"/>
                <a:cs typeface="Arial" charset="0"/>
              </a:defRPr>
            </a:lvl4pPr>
            <a:lvl5pPr algn="l" rtl="0" eaLnBrk="0" fontAlgn="base" hangingPunct="0">
              <a:spcBef>
                <a:spcPct val="0"/>
              </a:spcBef>
              <a:spcAft>
                <a:spcPct val="0"/>
              </a:spcAft>
              <a:defRPr sz="2700" b="1">
                <a:solidFill>
                  <a:srgbClr val="0872A6"/>
                </a:solidFill>
                <a:latin typeface="ITC Avant Garde Gothic" charset="0"/>
                <a:ea typeface="MS PGothic" panose="020B0600070205080204" pitchFamily="34" charset="-128"/>
                <a:cs typeface="Arial" charset="0"/>
              </a:defRPr>
            </a:lvl5pPr>
            <a:lvl6pPr marL="511761" algn="l" rtl="0" fontAlgn="base">
              <a:spcBef>
                <a:spcPct val="0"/>
              </a:spcBef>
              <a:spcAft>
                <a:spcPct val="0"/>
              </a:spcAft>
              <a:defRPr sz="2700" b="1">
                <a:solidFill>
                  <a:srgbClr val="E10019"/>
                </a:solidFill>
                <a:latin typeface="Arial" charset="0"/>
                <a:cs typeface="Arial" charset="0"/>
              </a:defRPr>
            </a:lvl6pPr>
            <a:lvl7pPr marL="1023523" algn="l" rtl="0" fontAlgn="base">
              <a:spcBef>
                <a:spcPct val="0"/>
              </a:spcBef>
              <a:spcAft>
                <a:spcPct val="0"/>
              </a:spcAft>
              <a:defRPr sz="2700" b="1">
                <a:solidFill>
                  <a:srgbClr val="E10019"/>
                </a:solidFill>
                <a:latin typeface="Arial" charset="0"/>
                <a:cs typeface="Arial" charset="0"/>
              </a:defRPr>
            </a:lvl7pPr>
            <a:lvl8pPr marL="1535285" algn="l" rtl="0" fontAlgn="base">
              <a:spcBef>
                <a:spcPct val="0"/>
              </a:spcBef>
              <a:spcAft>
                <a:spcPct val="0"/>
              </a:spcAft>
              <a:defRPr sz="2700" b="1">
                <a:solidFill>
                  <a:srgbClr val="E10019"/>
                </a:solidFill>
                <a:latin typeface="Arial" charset="0"/>
                <a:cs typeface="Arial" charset="0"/>
              </a:defRPr>
            </a:lvl8pPr>
            <a:lvl9pPr marL="2047046" algn="l" rtl="0" fontAlgn="base">
              <a:spcBef>
                <a:spcPct val="0"/>
              </a:spcBef>
              <a:spcAft>
                <a:spcPct val="0"/>
              </a:spcAft>
              <a:defRPr sz="2700" b="1">
                <a:solidFill>
                  <a:srgbClr val="E10019"/>
                </a:solidFill>
                <a:latin typeface="Arial" charset="0"/>
                <a:cs typeface="Arial" charset="0"/>
              </a:defRPr>
            </a:lvl9pPr>
          </a:lstStyle>
          <a:p>
            <a:r>
              <a:rPr lang="en-US" kern="0" dirty="0"/>
              <a:t>Drivers for the Renewable Energy transition</a:t>
            </a:r>
          </a:p>
        </p:txBody>
      </p:sp>
      <p:sp>
        <p:nvSpPr>
          <p:cNvPr id="11" name="Oval 10">
            <a:extLst>
              <a:ext uri="{FF2B5EF4-FFF2-40B4-BE49-F238E27FC236}">
                <a16:creationId xmlns:a16="http://schemas.microsoft.com/office/drawing/2014/main" id="{D40FEF1F-A9ED-4F81-8A2C-E8B772BBAF89}"/>
              </a:ext>
            </a:extLst>
          </p:cNvPr>
          <p:cNvSpPr/>
          <p:nvPr/>
        </p:nvSpPr>
        <p:spPr bwMode="ltGray">
          <a:xfrm>
            <a:off x="479376" y="2081450"/>
            <a:ext cx="3507790" cy="3507790"/>
          </a:xfrm>
          <a:prstGeom prst="ellipse">
            <a:avLst/>
          </a:prstGeom>
          <a:solidFill>
            <a:schemeClr val="bg1">
              <a:lumMod val="65000"/>
            </a:schemeClr>
          </a:solidFill>
          <a:ln w="3175" cap="flat" cmpd="sng" algn="ctr">
            <a:noFill/>
            <a:prstDash val="solid"/>
          </a:ln>
          <a:effectLst/>
        </p:spPr>
        <p:txBody>
          <a:bodyPr rtlCol="0" anchor="ctr"/>
          <a:lstStyle/>
          <a:p>
            <a:pPr algn="ctr" defTabSz="781835">
              <a:defRPr/>
            </a:pPr>
            <a:endParaRPr lang="en-GB" sz="900" kern="0" dirty="0" err="1">
              <a:solidFill>
                <a:srgbClr val="FFFFFF"/>
              </a:solidFill>
            </a:endParaRPr>
          </a:p>
        </p:txBody>
      </p:sp>
      <p:sp>
        <p:nvSpPr>
          <p:cNvPr id="17" name="Rectangle 16">
            <a:extLst>
              <a:ext uri="{FF2B5EF4-FFF2-40B4-BE49-F238E27FC236}">
                <a16:creationId xmlns:a16="http://schemas.microsoft.com/office/drawing/2014/main" id="{A01EB41B-4E29-4F0E-9F94-5C45194ED9EC}"/>
              </a:ext>
            </a:extLst>
          </p:cNvPr>
          <p:cNvSpPr/>
          <p:nvPr/>
        </p:nvSpPr>
        <p:spPr>
          <a:xfrm>
            <a:off x="4898320" y="2025819"/>
            <a:ext cx="6526272" cy="907941"/>
          </a:xfrm>
          <a:prstGeom prst="rect">
            <a:avLst/>
          </a:prstGeom>
          <a:noFill/>
        </p:spPr>
        <p:txBody>
          <a:bodyPr wrap="square" lIns="0" tIns="0" rIns="0">
            <a:spAutoFit/>
          </a:bodyPr>
          <a:lstStyle/>
          <a:p>
            <a:pPr defTabSz="781835">
              <a:defRPr/>
            </a:pPr>
            <a:r>
              <a:rPr lang="en-GB" sz="1400" b="1" kern="0" dirty="0">
                <a:solidFill>
                  <a:srgbClr val="000000"/>
                </a:solidFill>
              </a:rPr>
              <a:t>Energy Security</a:t>
            </a:r>
            <a:endParaRPr lang="en-GB" sz="1400" kern="0" dirty="0">
              <a:solidFill>
                <a:srgbClr val="000000"/>
              </a:solidFill>
            </a:endParaRPr>
          </a:p>
          <a:p>
            <a:pPr defTabSz="781835">
              <a:defRPr/>
            </a:pPr>
            <a:r>
              <a:rPr lang="en-US" sz="1400" kern="0" dirty="0">
                <a:solidFill>
                  <a:srgbClr val="000000"/>
                </a:solidFill>
              </a:rPr>
              <a:t>Reduced reliance on energy imports, resulting in substantial reduction in economic costs and supply disruption risks. Renewable energy applications benefit accessibility, affordability and long- term permanence.</a:t>
            </a:r>
          </a:p>
        </p:txBody>
      </p:sp>
      <p:sp>
        <p:nvSpPr>
          <p:cNvPr id="18" name="Rectangle 17">
            <a:extLst>
              <a:ext uri="{FF2B5EF4-FFF2-40B4-BE49-F238E27FC236}">
                <a16:creationId xmlns:a16="http://schemas.microsoft.com/office/drawing/2014/main" id="{0EE2ED05-E032-4388-96DD-EF621477C076}"/>
              </a:ext>
            </a:extLst>
          </p:cNvPr>
          <p:cNvSpPr/>
          <p:nvPr/>
        </p:nvSpPr>
        <p:spPr>
          <a:xfrm>
            <a:off x="4898320" y="3026596"/>
            <a:ext cx="6526272" cy="692497"/>
          </a:xfrm>
          <a:prstGeom prst="rect">
            <a:avLst/>
          </a:prstGeom>
          <a:noFill/>
        </p:spPr>
        <p:txBody>
          <a:bodyPr wrap="square" lIns="0" tIns="0" rIns="0">
            <a:spAutoFit/>
          </a:bodyPr>
          <a:lstStyle/>
          <a:p>
            <a:pPr defTabSz="781835">
              <a:defRPr/>
            </a:pPr>
            <a:r>
              <a:rPr lang="en-GB" sz="1400" b="1" kern="0" dirty="0">
                <a:solidFill>
                  <a:srgbClr val="000000"/>
                </a:solidFill>
              </a:rPr>
              <a:t>Socioeconomic benefits</a:t>
            </a:r>
          </a:p>
          <a:p>
            <a:pPr>
              <a:spcAft>
                <a:spcPts val="770"/>
              </a:spcAft>
            </a:pPr>
            <a:r>
              <a:rPr lang="en-GB" altLang="en-US" sz="1400" dirty="0"/>
              <a:t>Maximise the benefits from the transition in terms of job creation and local value creation. </a:t>
            </a:r>
            <a:endParaRPr lang="en-GB" sz="1400" dirty="0"/>
          </a:p>
        </p:txBody>
      </p:sp>
      <p:sp>
        <p:nvSpPr>
          <p:cNvPr id="19" name="Rectangle 18">
            <a:extLst>
              <a:ext uri="{FF2B5EF4-FFF2-40B4-BE49-F238E27FC236}">
                <a16:creationId xmlns:a16="http://schemas.microsoft.com/office/drawing/2014/main" id="{8230A27E-D06C-4D22-8741-046601393435}"/>
              </a:ext>
            </a:extLst>
          </p:cNvPr>
          <p:cNvSpPr/>
          <p:nvPr/>
        </p:nvSpPr>
        <p:spPr>
          <a:xfrm>
            <a:off x="4898320" y="4156602"/>
            <a:ext cx="6526272" cy="1225976"/>
          </a:xfrm>
          <a:prstGeom prst="rect">
            <a:avLst/>
          </a:prstGeom>
          <a:noFill/>
        </p:spPr>
        <p:txBody>
          <a:bodyPr wrap="square" lIns="0" tIns="0" rIns="0">
            <a:spAutoFit/>
          </a:bodyPr>
          <a:lstStyle/>
          <a:p>
            <a:pPr defTabSz="781835">
              <a:defRPr/>
            </a:pPr>
            <a:r>
              <a:rPr lang="en-GB" sz="1400" b="1" kern="0" dirty="0">
                <a:solidFill>
                  <a:srgbClr val="000000"/>
                </a:solidFill>
              </a:rPr>
              <a:t>Climate &amp; NDCs</a:t>
            </a:r>
          </a:p>
          <a:p>
            <a:pPr>
              <a:spcAft>
                <a:spcPts val="770"/>
              </a:spcAft>
            </a:pPr>
            <a:r>
              <a:rPr lang="en-US" sz="1400" dirty="0"/>
              <a:t>Committed to the reduction of its greenhouse gas emissions by 14% up to 2030. </a:t>
            </a:r>
            <a:r>
              <a:rPr lang="en-US" sz="1400" dirty="0">
                <a:latin typeface="Arial" charset="0"/>
                <a:cs typeface="Arial" charset="0"/>
              </a:rPr>
              <a:t>In 2018 alone, electricity generated from solar PV and wind avoided nearly 1.5 million </a:t>
            </a:r>
            <a:r>
              <a:rPr lang="en-US" sz="1400" dirty="0" err="1">
                <a:latin typeface="Arial" charset="0"/>
                <a:cs typeface="Arial" charset="0"/>
              </a:rPr>
              <a:t>tonnes</a:t>
            </a:r>
            <a:r>
              <a:rPr lang="en-US" sz="1400" dirty="0">
                <a:latin typeface="Arial" charset="0"/>
                <a:cs typeface="Arial" charset="0"/>
              </a:rPr>
              <a:t> of carbon emissions.</a:t>
            </a:r>
          </a:p>
          <a:p>
            <a:pPr>
              <a:spcAft>
                <a:spcPts val="770"/>
              </a:spcAft>
            </a:pPr>
            <a:endParaRPr lang="en-US" sz="1400" dirty="0"/>
          </a:p>
        </p:txBody>
      </p:sp>
      <p:sp>
        <p:nvSpPr>
          <p:cNvPr id="20" name="Rectangle 19">
            <a:extLst>
              <a:ext uri="{FF2B5EF4-FFF2-40B4-BE49-F238E27FC236}">
                <a16:creationId xmlns:a16="http://schemas.microsoft.com/office/drawing/2014/main" id="{A531E635-4333-42C2-93DE-8B22EF822C5A}"/>
              </a:ext>
            </a:extLst>
          </p:cNvPr>
          <p:cNvSpPr/>
          <p:nvPr/>
        </p:nvSpPr>
        <p:spPr>
          <a:xfrm>
            <a:off x="4898320" y="5160574"/>
            <a:ext cx="6526272" cy="907941"/>
          </a:xfrm>
          <a:prstGeom prst="rect">
            <a:avLst/>
          </a:prstGeom>
          <a:noFill/>
        </p:spPr>
        <p:txBody>
          <a:bodyPr wrap="square" lIns="0" tIns="0" rIns="0">
            <a:spAutoFit/>
          </a:bodyPr>
          <a:lstStyle/>
          <a:p>
            <a:pPr defTabSz="781835">
              <a:defRPr/>
            </a:pPr>
            <a:r>
              <a:rPr lang="en-GB" sz="1400" b="1" kern="0" dirty="0">
                <a:solidFill>
                  <a:srgbClr val="000000"/>
                </a:solidFill>
              </a:rPr>
              <a:t>Economics</a:t>
            </a:r>
          </a:p>
          <a:p>
            <a:pPr>
              <a:spcAft>
                <a:spcPts val="770"/>
              </a:spcAft>
            </a:pPr>
            <a:r>
              <a:rPr lang="en-US" sz="1400" dirty="0"/>
              <a:t>Reduced cost of supply</a:t>
            </a:r>
            <a:r>
              <a:rPr lang="en-US" sz="1400" b="1" dirty="0">
                <a:latin typeface="Arial" charset="0"/>
                <a:cs typeface="Arial" charset="0"/>
              </a:rPr>
              <a:t>. </a:t>
            </a:r>
            <a:r>
              <a:rPr lang="en-US" sz="1400" dirty="0">
                <a:latin typeface="Arial" charset="0"/>
                <a:cs typeface="Arial" charset="0"/>
              </a:rPr>
              <a:t>Substantial reductions in the cost of renewable energy technologies over the past decade offer a compelling case for governments to pursue a greater role for renewables. </a:t>
            </a:r>
            <a:endParaRPr lang="en-US" sz="1400" dirty="0"/>
          </a:p>
        </p:txBody>
      </p:sp>
      <p:sp>
        <p:nvSpPr>
          <p:cNvPr id="22" name="TextBox 21">
            <a:extLst>
              <a:ext uri="{FF2B5EF4-FFF2-40B4-BE49-F238E27FC236}">
                <a16:creationId xmlns:a16="http://schemas.microsoft.com/office/drawing/2014/main" id="{2CBFBE73-3AD1-4BFF-9641-D157BEAC74AE}"/>
              </a:ext>
            </a:extLst>
          </p:cNvPr>
          <p:cNvSpPr txBox="1"/>
          <p:nvPr/>
        </p:nvSpPr>
        <p:spPr>
          <a:xfrm>
            <a:off x="1212991" y="2402370"/>
            <a:ext cx="2011132" cy="1216034"/>
          </a:xfrm>
          <a:prstGeom prst="rect">
            <a:avLst/>
          </a:prstGeom>
          <a:noFill/>
        </p:spPr>
        <p:txBody>
          <a:bodyPr spcFirstLastPara="1" wrap="none" lIns="0" tIns="0" rIns="0" bIns="0" numCol="1" rtlCol="0">
            <a:prstTxWarp prst="textArchUp">
              <a:avLst/>
            </a:prstTxWarp>
            <a:noAutofit/>
          </a:bodyPr>
          <a:lstStyle/>
          <a:p>
            <a:pPr algn="ctr" defTabSz="781835">
              <a:spcAft>
                <a:spcPts val="770"/>
              </a:spcAft>
              <a:defRPr/>
            </a:pPr>
            <a:r>
              <a:rPr lang="en-GB" sz="1200" kern="0" dirty="0">
                <a:solidFill>
                  <a:schemeClr val="bg1"/>
                </a:solidFill>
              </a:rPr>
              <a:t>Renewable Energy Transition</a:t>
            </a:r>
          </a:p>
        </p:txBody>
      </p:sp>
      <p:sp>
        <p:nvSpPr>
          <p:cNvPr id="23" name="Oval 22">
            <a:extLst>
              <a:ext uri="{FF2B5EF4-FFF2-40B4-BE49-F238E27FC236}">
                <a16:creationId xmlns:a16="http://schemas.microsoft.com/office/drawing/2014/main" id="{4BDCE670-02B4-451E-A810-E8C5D4BEDBD6}"/>
              </a:ext>
            </a:extLst>
          </p:cNvPr>
          <p:cNvSpPr/>
          <p:nvPr/>
        </p:nvSpPr>
        <p:spPr bwMode="ltGray">
          <a:xfrm>
            <a:off x="814862" y="2474102"/>
            <a:ext cx="2806232" cy="2806233"/>
          </a:xfrm>
          <a:prstGeom prst="ellipse">
            <a:avLst/>
          </a:prstGeom>
          <a:solidFill>
            <a:schemeClr val="bg2"/>
          </a:solidFill>
          <a:ln w="3175" cap="flat" cmpd="sng" algn="ctr">
            <a:noFill/>
            <a:prstDash val="solid"/>
          </a:ln>
          <a:effectLst/>
        </p:spPr>
        <p:txBody>
          <a:bodyPr rtlCol="0" anchor="ctr"/>
          <a:lstStyle/>
          <a:p>
            <a:pPr algn="ctr" defTabSz="781835">
              <a:defRPr/>
            </a:pPr>
            <a:endParaRPr lang="en-GB" sz="900" kern="0" dirty="0" err="1">
              <a:solidFill>
                <a:srgbClr val="FFFFFF"/>
              </a:solidFill>
            </a:endParaRPr>
          </a:p>
        </p:txBody>
      </p:sp>
      <p:sp>
        <p:nvSpPr>
          <p:cNvPr id="24" name="Oval 23">
            <a:extLst>
              <a:ext uri="{FF2B5EF4-FFF2-40B4-BE49-F238E27FC236}">
                <a16:creationId xmlns:a16="http://schemas.microsoft.com/office/drawing/2014/main" id="{A1A3F2A3-6C9D-4436-B93D-945068550F8A}"/>
              </a:ext>
            </a:extLst>
          </p:cNvPr>
          <p:cNvSpPr/>
          <p:nvPr/>
        </p:nvSpPr>
        <p:spPr bwMode="ltGray">
          <a:xfrm>
            <a:off x="1609961" y="3269201"/>
            <a:ext cx="1216034" cy="1216034"/>
          </a:xfrm>
          <a:prstGeom prst="ellipse">
            <a:avLst/>
          </a:prstGeom>
          <a:solidFill>
            <a:schemeClr val="bg2"/>
          </a:solidFill>
          <a:ln w="3175" cap="flat" cmpd="sng" algn="ctr">
            <a:noFill/>
            <a:prstDash val="solid"/>
          </a:ln>
          <a:effectLst/>
        </p:spPr>
        <p:txBody>
          <a:bodyPr wrap="none" rtlCol="0" anchor="ctr"/>
          <a:lstStyle/>
          <a:p>
            <a:pPr algn="ctr" defTabSz="781835">
              <a:defRPr/>
            </a:pPr>
            <a:r>
              <a:rPr lang="en-GB" sz="1400" b="1" kern="0" dirty="0">
                <a:solidFill>
                  <a:srgbClr val="FFFFFF"/>
                </a:solidFill>
              </a:rPr>
              <a:t>Drivers</a:t>
            </a:r>
          </a:p>
        </p:txBody>
      </p:sp>
      <p:grpSp>
        <p:nvGrpSpPr>
          <p:cNvPr id="25" name="Group 24">
            <a:extLst>
              <a:ext uri="{FF2B5EF4-FFF2-40B4-BE49-F238E27FC236}">
                <a16:creationId xmlns:a16="http://schemas.microsoft.com/office/drawing/2014/main" id="{AA1A100E-3891-4190-BB30-2DB229CA029A}"/>
              </a:ext>
            </a:extLst>
          </p:cNvPr>
          <p:cNvGrpSpPr/>
          <p:nvPr/>
        </p:nvGrpSpPr>
        <p:grpSpPr>
          <a:xfrm>
            <a:off x="908404" y="2567644"/>
            <a:ext cx="2619149" cy="2619149"/>
            <a:chOff x="4110330" y="4003742"/>
            <a:chExt cx="1533013" cy="1535567"/>
          </a:xfrm>
        </p:grpSpPr>
        <p:sp>
          <p:nvSpPr>
            <p:cNvPr id="26" name="Freeform 4">
              <a:extLst>
                <a:ext uri="{FF2B5EF4-FFF2-40B4-BE49-F238E27FC236}">
                  <a16:creationId xmlns:a16="http://schemas.microsoft.com/office/drawing/2014/main" id="{6E60D2AB-D50E-400D-9E7E-A787BF5E0B55}"/>
                </a:ext>
              </a:extLst>
            </p:cNvPr>
            <p:cNvSpPr>
              <a:spLocks/>
            </p:cNvSpPr>
            <p:nvPr/>
          </p:nvSpPr>
          <p:spPr bwMode="gray">
            <a:xfrm>
              <a:off x="4110330" y="4794381"/>
              <a:ext cx="742334" cy="744928"/>
            </a:xfrm>
            <a:custGeom>
              <a:avLst/>
              <a:gdLst>
                <a:gd name="T0" fmla="*/ 1041622671 w 269"/>
                <a:gd name="T1" fmla="*/ 0 h 270"/>
                <a:gd name="T2" fmla="*/ 0 w 269"/>
                <a:gd name="T3" fmla="*/ 0 h 270"/>
                <a:gd name="T4" fmla="*/ 2122702053 w 269"/>
                <a:gd name="T5" fmla="*/ 1807045200 h 270"/>
                <a:gd name="T6" fmla="*/ 2122702053 w 269"/>
                <a:gd name="T7" fmla="*/ 923600585 h 270"/>
                <a:gd name="T8" fmla="*/ 1041622671 w 269"/>
                <a:gd name="T9" fmla="*/ 0 h 270"/>
                <a:gd name="T10" fmla="*/ 0 60000 65536"/>
                <a:gd name="T11" fmla="*/ 0 60000 65536"/>
                <a:gd name="T12" fmla="*/ 0 60000 65536"/>
                <a:gd name="T13" fmla="*/ 0 60000 65536"/>
                <a:gd name="T14" fmla="*/ 0 60000 65536"/>
                <a:gd name="T15" fmla="*/ 0 w 269"/>
                <a:gd name="T16" fmla="*/ 0 h 270"/>
                <a:gd name="T17" fmla="*/ 269 w 269"/>
                <a:gd name="T18" fmla="*/ 270 h 270"/>
              </a:gdLst>
              <a:ahLst/>
              <a:cxnLst>
                <a:cxn ang="T10">
                  <a:pos x="T0" y="T1"/>
                </a:cxn>
                <a:cxn ang="T11">
                  <a:pos x="T2" y="T3"/>
                </a:cxn>
                <a:cxn ang="T12">
                  <a:pos x="T4" y="T5"/>
                </a:cxn>
                <a:cxn ang="T13">
                  <a:pos x="T6" y="T7"/>
                </a:cxn>
                <a:cxn ang="T14">
                  <a:pos x="T8" y="T9"/>
                </a:cxn>
              </a:cxnLst>
              <a:rect l="T15" t="T16" r="T17" b="T18"/>
              <a:pathLst>
                <a:path w="269" h="270">
                  <a:moveTo>
                    <a:pt x="132" y="0"/>
                  </a:moveTo>
                  <a:cubicBezTo>
                    <a:pt x="0" y="0"/>
                    <a:pt x="0" y="0"/>
                    <a:pt x="0" y="0"/>
                  </a:cubicBezTo>
                  <a:cubicBezTo>
                    <a:pt x="4" y="147"/>
                    <a:pt x="122" y="265"/>
                    <a:pt x="269" y="270"/>
                  </a:cubicBezTo>
                  <a:cubicBezTo>
                    <a:pt x="269" y="138"/>
                    <a:pt x="269" y="138"/>
                    <a:pt x="269" y="138"/>
                  </a:cubicBezTo>
                  <a:cubicBezTo>
                    <a:pt x="195" y="133"/>
                    <a:pt x="136" y="74"/>
                    <a:pt x="132" y="0"/>
                  </a:cubicBezTo>
                  <a:close/>
                </a:path>
              </a:pathLst>
            </a:custGeom>
            <a:solidFill>
              <a:srgbClr val="5CABCA"/>
            </a:solidFill>
            <a:ln w="3175">
              <a:noFill/>
              <a:miter lim="800000"/>
              <a:headEnd/>
              <a:tailEnd/>
            </a:ln>
          </p:spPr>
          <p:txBody>
            <a:bodyPr/>
            <a:lstStyle/>
            <a:p>
              <a:pPr defTabSz="781835">
                <a:defRPr/>
              </a:pPr>
              <a:endParaRPr lang="en-GB" sz="900" kern="0">
                <a:solidFill>
                  <a:srgbClr val="000000"/>
                </a:solidFill>
              </a:endParaRPr>
            </a:p>
          </p:txBody>
        </p:sp>
        <p:sp>
          <p:nvSpPr>
            <p:cNvPr id="27" name="Freeform 5">
              <a:extLst>
                <a:ext uri="{FF2B5EF4-FFF2-40B4-BE49-F238E27FC236}">
                  <a16:creationId xmlns:a16="http://schemas.microsoft.com/office/drawing/2014/main" id="{D654E4E8-A38B-4DAA-8CB0-F3B706176249}"/>
                </a:ext>
              </a:extLst>
            </p:cNvPr>
            <p:cNvSpPr>
              <a:spLocks/>
            </p:cNvSpPr>
            <p:nvPr/>
          </p:nvSpPr>
          <p:spPr bwMode="gray">
            <a:xfrm>
              <a:off x="4901009" y="4003742"/>
              <a:ext cx="742334" cy="743234"/>
            </a:xfrm>
            <a:custGeom>
              <a:avLst/>
              <a:gdLst>
                <a:gd name="T0" fmla="*/ 1081079382 w 269"/>
                <a:gd name="T1" fmla="*/ 1805525240 h 269"/>
                <a:gd name="T2" fmla="*/ 2122702053 w 269"/>
                <a:gd name="T3" fmla="*/ 1805525240 h 269"/>
                <a:gd name="T4" fmla="*/ 0 w 269"/>
                <a:gd name="T5" fmla="*/ 0 h 269"/>
                <a:gd name="T6" fmla="*/ 0 w 269"/>
                <a:gd name="T7" fmla="*/ 885982334 h 269"/>
                <a:gd name="T8" fmla="*/ 1081079382 w 269"/>
                <a:gd name="T9" fmla="*/ 1805525240 h 269"/>
                <a:gd name="T10" fmla="*/ 0 60000 65536"/>
                <a:gd name="T11" fmla="*/ 0 60000 65536"/>
                <a:gd name="T12" fmla="*/ 0 60000 65536"/>
                <a:gd name="T13" fmla="*/ 0 60000 65536"/>
                <a:gd name="T14" fmla="*/ 0 60000 65536"/>
                <a:gd name="T15" fmla="*/ 0 w 269"/>
                <a:gd name="T16" fmla="*/ 0 h 269"/>
                <a:gd name="T17" fmla="*/ 269 w 269"/>
                <a:gd name="T18" fmla="*/ 269 h 269"/>
              </a:gdLst>
              <a:ahLst/>
              <a:cxnLst>
                <a:cxn ang="T10">
                  <a:pos x="T0" y="T1"/>
                </a:cxn>
                <a:cxn ang="T11">
                  <a:pos x="T2" y="T3"/>
                </a:cxn>
                <a:cxn ang="T12">
                  <a:pos x="T4" y="T5"/>
                </a:cxn>
                <a:cxn ang="T13">
                  <a:pos x="T6" y="T7"/>
                </a:cxn>
                <a:cxn ang="T14">
                  <a:pos x="T8" y="T9"/>
                </a:cxn>
              </a:cxnLst>
              <a:rect l="T15" t="T16" r="T17" b="T18"/>
              <a:pathLst>
                <a:path w="269" h="269">
                  <a:moveTo>
                    <a:pt x="137" y="269"/>
                  </a:moveTo>
                  <a:cubicBezTo>
                    <a:pt x="269" y="269"/>
                    <a:pt x="269" y="269"/>
                    <a:pt x="269" y="269"/>
                  </a:cubicBezTo>
                  <a:cubicBezTo>
                    <a:pt x="265" y="122"/>
                    <a:pt x="147" y="4"/>
                    <a:pt x="0" y="0"/>
                  </a:cubicBezTo>
                  <a:cubicBezTo>
                    <a:pt x="0" y="132"/>
                    <a:pt x="0" y="132"/>
                    <a:pt x="0" y="132"/>
                  </a:cubicBezTo>
                  <a:cubicBezTo>
                    <a:pt x="74" y="136"/>
                    <a:pt x="133" y="195"/>
                    <a:pt x="137" y="269"/>
                  </a:cubicBezTo>
                  <a:close/>
                </a:path>
              </a:pathLst>
            </a:custGeom>
            <a:solidFill>
              <a:srgbClr val="0073A9"/>
            </a:solidFill>
            <a:ln w="3175" cap="flat" cmpd="sng">
              <a:noFill/>
              <a:prstDash val="solid"/>
              <a:miter lim="800000"/>
              <a:headEnd type="none" w="med" len="med"/>
              <a:tailEnd type="none" w="med" len="med"/>
            </a:ln>
          </p:spPr>
          <p:txBody>
            <a:bodyPr/>
            <a:lstStyle/>
            <a:p>
              <a:pPr defTabSz="781835">
                <a:defRPr/>
              </a:pPr>
              <a:endParaRPr lang="en-GB" sz="900" kern="0">
                <a:solidFill>
                  <a:srgbClr val="000000"/>
                </a:solidFill>
              </a:endParaRPr>
            </a:p>
          </p:txBody>
        </p:sp>
        <p:sp>
          <p:nvSpPr>
            <p:cNvPr id="28" name="Freeform 6">
              <a:extLst>
                <a:ext uri="{FF2B5EF4-FFF2-40B4-BE49-F238E27FC236}">
                  <a16:creationId xmlns:a16="http://schemas.microsoft.com/office/drawing/2014/main" id="{7E30B423-6435-4B83-9BB7-7AF4C9EEC7CC}"/>
                </a:ext>
              </a:extLst>
            </p:cNvPr>
            <p:cNvSpPr>
              <a:spLocks/>
            </p:cNvSpPr>
            <p:nvPr/>
          </p:nvSpPr>
          <p:spPr bwMode="gray">
            <a:xfrm>
              <a:off x="4110330" y="4003742"/>
              <a:ext cx="742334" cy="743234"/>
            </a:xfrm>
            <a:custGeom>
              <a:avLst/>
              <a:gdLst>
                <a:gd name="T0" fmla="*/ 2122702053 w 269"/>
                <a:gd name="T1" fmla="*/ 885982334 h 269"/>
                <a:gd name="T2" fmla="*/ 2122702053 w 269"/>
                <a:gd name="T3" fmla="*/ 0 h 269"/>
                <a:gd name="T4" fmla="*/ 0 w 269"/>
                <a:gd name="T5" fmla="*/ 1805525240 h 269"/>
                <a:gd name="T6" fmla="*/ 1041622671 w 269"/>
                <a:gd name="T7" fmla="*/ 1805525240 h 269"/>
                <a:gd name="T8" fmla="*/ 2122702053 w 269"/>
                <a:gd name="T9" fmla="*/ 885982334 h 269"/>
                <a:gd name="T10" fmla="*/ 0 60000 65536"/>
                <a:gd name="T11" fmla="*/ 0 60000 65536"/>
                <a:gd name="T12" fmla="*/ 0 60000 65536"/>
                <a:gd name="T13" fmla="*/ 0 60000 65536"/>
                <a:gd name="T14" fmla="*/ 0 60000 65536"/>
                <a:gd name="T15" fmla="*/ 0 w 269"/>
                <a:gd name="T16" fmla="*/ 0 h 269"/>
                <a:gd name="T17" fmla="*/ 269 w 269"/>
                <a:gd name="T18" fmla="*/ 269 h 269"/>
              </a:gdLst>
              <a:ahLst/>
              <a:cxnLst>
                <a:cxn ang="T10">
                  <a:pos x="T0" y="T1"/>
                </a:cxn>
                <a:cxn ang="T11">
                  <a:pos x="T2" y="T3"/>
                </a:cxn>
                <a:cxn ang="T12">
                  <a:pos x="T4" y="T5"/>
                </a:cxn>
                <a:cxn ang="T13">
                  <a:pos x="T6" y="T7"/>
                </a:cxn>
                <a:cxn ang="T14">
                  <a:pos x="T8" y="T9"/>
                </a:cxn>
              </a:cxnLst>
              <a:rect l="T15" t="T16" r="T17" b="T18"/>
              <a:pathLst>
                <a:path w="269" h="269">
                  <a:moveTo>
                    <a:pt x="269" y="132"/>
                  </a:moveTo>
                  <a:cubicBezTo>
                    <a:pt x="269" y="0"/>
                    <a:pt x="269" y="0"/>
                    <a:pt x="269" y="0"/>
                  </a:cubicBezTo>
                  <a:cubicBezTo>
                    <a:pt x="122" y="4"/>
                    <a:pt x="4" y="122"/>
                    <a:pt x="0" y="269"/>
                  </a:cubicBezTo>
                  <a:cubicBezTo>
                    <a:pt x="132" y="269"/>
                    <a:pt x="132" y="269"/>
                    <a:pt x="132" y="269"/>
                  </a:cubicBezTo>
                  <a:cubicBezTo>
                    <a:pt x="136" y="195"/>
                    <a:pt x="195" y="136"/>
                    <a:pt x="269" y="132"/>
                  </a:cubicBezTo>
                  <a:close/>
                </a:path>
              </a:pathLst>
            </a:custGeom>
            <a:solidFill>
              <a:srgbClr val="196790"/>
            </a:solidFill>
            <a:ln w="3175">
              <a:noFill/>
              <a:miter lim="800000"/>
              <a:headEnd/>
              <a:tailEnd/>
            </a:ln>
          </p:spPr>
          <p:txBody>
            <a:bodyPr/>
            <a:lstStyle/>
            <a:p>
              <a:pPr defTabSz="781835">
                <a:defRPr/>
              </a:pPr>
              <a:endParaRPr lang="en-GB" sz="900" kern="0">
                <a:solidFill>
                  <a:srgbClr val="000000"/>
                </a:solidFill>
              </a:endParaRPr>
            </a:p>
          </p:txBody>
        </p:sp>
        <p:sp>
          <p:nvSpPr>
            <p:cNvPr id="29" name="Freeform 7">
              <a:extLst>
                <a:ext uri="{FF2B5EF4-FFF2-40B4-BE49-F238E27FC236}">
                  <a16:creationId xmlns:a16="http://schemas.microsoft.com/office/drawing/2014/main" id="{06218948-E012-40FC-B03D-8ED453C08E8A}"/>
                </a:ext>
              </a:extLst>
            </p:cNvPr>
            <p:cNvSpPr>
              <a:spLocks/>
            </p:cNvSpPr>
            <p:nvPr/>
          </p:nvSpPr>
          <p:spPr bwMode="gray">
            <a:xfrm>
              <a:off x="4901009" y="4794381"/>
              <a:ext cx="742334" cy="744928"/>
            </a:xfrm>
            <a:custGeom>
              <a:avLst/>
              <a:gdLst>
                <a:gd name="T0" fmla="*/ 0 w 269"/>
                <a:gd name="T1" fmla="*/ 923600585 h 270"/>
                <a:gd name="T2" fmla="*/ 0 w 269"/>
                <a:gd name="T3" fmla="*/ 1807045200 h 270"/>
                <a:gd name="T4" fmla="*/ 2122702053 w 269"/>
                <a:gd name="T5" fmla="*/ 0 h 270"/>
                <a:gd name="T6" fmla="*/ 1081079382 w 269"/>
                <a:gd name="T7" fmla="*/ 0 h 270"/>
                <a:gd name="T8" fmla="*/ 0 w 269"/>
                <a:gd name="T9" fmla="*/ 923600585 h 270"/>
                <a:gd name="T10" fmla="*/ 0 60000 65536"/>
                <a:gd name="T11" fmla="*/ 0 60000 65536"/>
                <a:gd name="T12" fmla="*/ 0 60000 65536"/>
                <a:gd name="T13" fmla="*/ 0 60000 65536"/>
                <a:gd name="T14" fmla="*/ 0 60000 65536"/>
                <a:gd name="T15" fmla="*/ 0 w 269"/>
                <a:gd name="T16" fmla="*/ 0 h 270"/>
                <a:gd name="T17" fmla="*/ 269 w 269"/>
                <a:gd name="T18" fmla="*/ 270 h 270"/>
              </a:gdLst>
              <a:ahLst/>
              <a:cxnLst>
                <a:cxn ang="T10">
                  <a:pos x="T0" y="T1"/>
                </a:cxn>
                <a:cxn ang="T11">
                  <a:pos x="T2" y="T3"/>
                </a:cxn>
                <a:cxn ang="T12">
                  <a:pos x="T4" y="T5"/>
                </a:cxn>
                <a:cxn ang="T13">
                  <a:pos x="T6" y="T7"/>
                </a:cxn>
                <a:cxn ang="T14">
                  <a:pos x="T8" y="T9"/>
                </a:cxn>
              </a:cxnLst>
              <a:rect l="T15" t="T16" r="T17" b="T18"/>
              <a:pathLst>
                <a:path w="269" h="270">
                  <a:moveTo>
                    <a:pt x="0" y="138"/>
                  </a:moveTo>
                  <a:cubicBezTo>
                    <a:pt x="0" y="270"/>
                    <a:pt x="0" y="270"/>
                    <a:pt x="0" y="270"/>
                  </a:cubicBezTo>
                  <a:cubicBezTo>
                    <a:pt x="147" y="265"/>
                    <a:pt x="265" y="147"/>
                    <a:pt x="269" y="0"/>
                  </a:cubicBezTo>
                  <a:cubicBezTo>
                    <a:pt x="137" y="0"/>
                    <a:pt x="137" y="0"/>
                    <a:pt x="137" y="0"/>
                  </a:cubicBezTo>
                  <a:cubicBezTo>
                    <a:pt x="133" y="74"/>
                    <a:pt x="74" y="133"/>
                    <a:pt x="0" y="138"/>
                  </a:cubicBezTo>
                  <a:close/>
                </a:path>
              </a:pathLst>
            </a:custGeom>
            <a:solidFill>
              <a:srgbClr val="228FB9"/>
            </a:solidFill>
            <a:ln w="3175">
              <a:noFill/>
              <a:miter lim="800000"/>
              <a:headEnd/>
              <a:tailEnd/>
            </a:ln>
          </p:spPr>
          <p:txBody>
            <a:bodyPr/>
            <a:lstStyle/>
            <a:p>
              <a:pPr defTabSz="781835">
                <a:defRPr/>
              </a:pPr>
              <a:endParaRPr lang="en-GB" sz="900" kern="0">
                <a:solidFill>
                  <a:srgbClr val="000000"/>
                </a:solidFill>
              </a:endParaRPr>
            </a:p>
          </p:txBody>
        </p:sp>
      </p:grpSp>
      <p:sp>
        <p:nvSpPr>
          <p:cNvPr id="39" name="TextBox 38">
            <a:extLst>
              <a:ext uri="{FF2B5EF4-FFF2-40B4-BE49-F238E27FC236}">
                <a16:creationId xmlns:a16="http://schemas.microsoft.com/office/drawing/2014/main" id="{D7DE42CA-E1D8-4687-A461-C1B1E8E38768}"/>
              </a:ext>
            </a:extLst>
          </p:cNvPr>
          <p:cNvSpPr txBox="1"/>
          <p:nvPr/>
        </p:nvSpPr>
        <p:spPr>
          <a:xfrm rot="18992146">
            <a:off x="1345065" y="3011757"/>
            <a:ext cx="1543428" cy="1543428"/>
          </a:xfrm>
          <a:prstGeom prst="rect">
            <a:avLst/>
          </a:prstGeom>
          <a:noFill/>
        </p:spPr>
        <p:txBody>
          <a:bodyPr spcFirstLastPara="1" wrap="none" lIns="0" tIns="0" rIns="0" bIns="0" numCol="1" rtlCol="0">
            <a:prstTxWarp prst="textArchUp">
              <a:avLst/>
            </a:prstTxWarp>
            <a:noAutofit/>
          </a:bodyPr>
          <a:lstStyle/>
          <a:p>
            <a:pPr algn="ctr" defTabSz="781835">
              <a:spcAft>
                <a:spcPts val="770"/>
              </a:spcAft>
              <a:defRPr/>
            </a:pPr>
            <a:r>
              <a:rPr lang="en-GB" sz="1200" b="1" kern="0" dirty="0">
                <a:solidFill>
                  <a:schemeClr val="bg1"/>
                </a:solidFill>
              </a:rPr>
              <a:t>Economics</a:t>
            </a:r>
          </a:p>
        </p:txBody>
      </p:sp>
      <p:sp>
        <p:nvSpPr>
          <p:cNvPr id="40" name="TextBox 39">
            <a:extLst>
              <a:ext uri="{FF2B5EF4-FFF2-40B4-BE49-F238E27FC236}">
                <a16:creationId xmlns:a16="http://schemas.microsoft.com/office/drawing/2014/main" id="{020EB555-7B32-4F06-AA7F-513D82D6C191}"/>
              </a:ext>
            </a:extLst>
          </p:cNvPr>
          <p:cNvSpPr txBox="1"/>
          <p:nvPr/>
        </p:nvSpPr>
        <p:spPr>
          <a:xfrm rot="2700000">
            <a:off x="1461557" y="3070148"/>
            <a:ext cx="1543428" cy="1543428"/>
          </a:xfrm>
          <a:prstGeom prst="rect">
            <a:avLst/>
          </a:prstGeom>
          <a:noFill/>
        </p:spPr>
        <p:txBody>
          <a:bodyPr spcFirstLastPara="1" wrap="none" lIns="0" tIns="0" rIns="0" bIns="0" numCol="1" rtlCol="0">
            <a:prstTxWarp prst="textArchUp">
              <a:avLst/>
            </a:prstTxWarp>
            <a:noAutofit/>
          </a:bodyPr>
          <a:lstStyle/>
          <a:p>
            <a:pPr algn="ctr" defTabSz="781835">
              <a:spcAft>
                <a:spcPts val="300"/>
              </a:spcAft>
              <a:defRPr/>
            </a:pPr>
            <a:r>
              <a:rPr lang="en-GB" sz="1200" b="1" kern="0" dirty="0">
                <a:solidFill>
                  <a:schemeClr val="bg1"/>
                </a:solidFill>
              </a:rPr>
              <a:t>Energy </a:t>
            </a:r>
          </a:p>
          <a:p>
            <a:pPr algn="ctr" defTabSz="781835">
              <a:spcAft>
                <a:spcPts val="300"/>
              </a:spcAft>
              <a:defRPr/>
            </a:pPr>
            <a:r>
              <a:rPr lang="en-GB" sz="1200" b="1" kern="0" dirty="0">
                <a:solidFill>
                  <a:schemeClr val="bg1"/>
                </a:solidFill>
              </a:rPr>
              <a:t>Security</a:t>
            </a:r>
          </a:p>
        </p:txBody>
      </p:sp>
      <p:sp>
        <p:nvSpPr>
          <p:cNvPr id="41" name="TextBox 40">
            <a:extLst>
              <a:ext uri="{FF2B5EF4-FFF2-40B4-BE49-F238E27FC236}">
                <a16:creationId xmlns:a16="http://schemas.microsoft.com/office/drawing/2014/main" id="{225FA493-D64D-4007-87D7-66D263DA44CD}"/>
              </a:ext>
            </a:extLst>
          </p:cNvPr>
          <p:cNvSpPr txBox="1"/>
          <p:nvPr/>
        </p:nvSpPr>
        <p:spPr>
          <a:xfrm rot="2700000">
            <a:off x="1358489" y="3208306"/>
            <a:ext cx="1543428" cy="1543428"/>
          </a:xfrm>
          <a:prstGeom prst="rect">
            <a:avLst/>
          </a:prstGeom>
          <a:noFill/>
        </p:spPr>
        <p:txBody>
          <a:bodyPr spcFirstLastPara="1" wrap="none" lIns="0" tIns="0" rIns="0" bIns="0" numCol="1" rtlCol="0">
            <a:prstTxWarp prst="textArchDown">
              <a:avLst/>
            </a:prstTxWarp>
            <a:noAutofit/>
          </a:bodyPr>
          <a:lstStyle/>
          <a:p>
            <a:pPr algn="ctr" defTabSz="781835">
              <a:spcAft>
                <a:spcPts val="300"/>
              </a:spcAft>
              <a:defRPr/>
            </a:pPr>
            <a:r>
              <a:rPr lang="en-GB" sz="1200" b="1" kern="0" dirty="0">
                <a:solidFill>
                  <a:srgbClr val="FFFFFF"/>
                </a:solidFill>
              </a:rPr>
              <a:t>Climate </a:t>
            </a:r>
          </a:p>
          <a:p>
            <a:pPr algn="ctr" defTabSz="781835">
              <a:spcAft>
                <a:spcPts val="300"/>
              </a:spcAft>
              <a:defRPr/>
            </a:pPr>
            <a:r>
              <a:rPr lang="en-GB" sz="1200" b="1" kern="0" dirty="0">
                <a:solidFill>
                  <a:srgbClr val="FFFFFF"/>
                </a:solidFill>
              </a:rPr>
              <a:t>&amp; NDCs</a:t>
            </a:r>
          </a:p>
        </p:txBody>
      </p:sp>
      <p:sp>
        <p:nvSpPr>
          <p:cNvPr id="42" name="TextBox 41">
            <a:extLst>
              <a:ext uri="{FF2B5EF4-FFF2-40B4-BE49-F238E27FC236}">
                <a16:creationId xmlns:a16="http://schemas.microsoft.com/office/drawing/2014/main" id="{C7213D5D-4B54-45AC-936E-DACE5E5DDDF0}"/>
              </a:ext>
            </a:extLst>
          </p:cNvPr>
          <p:cNvSpPr txBox="1"/>
          <p:nvPr/>
        </p:nvSpPr>
        <p:spPr>
          <a:xfrm rot="18900000">
            <a:off x="1521110" y="3175826"/>
            <a:ext cx="1543428" cy="1543428"/>
          </a:xfrm>
          <a:prstGeom prst="rect">
            <a:avLst/>
          </a:prstGeom>
          <a:noFill/>
        </p:spPr>
        <p:txBody>
          <a:bodyPr spcFirstLastPara="1" wrap="none" lIns="0" tIns="0" rIns="0" bIns="0" numCol="1" rtlCol="0">
            <a:prstTxWarp prst="textArchDown">
              <a:avLst/>
            </a:prstTxWarp>
            <a:noAutofit/>
          </a:bodyPr>
          <a:lstStyle/>
          <a:p>
            <a:pPr algn="ctr" defTabSz="781835">
              <a:spcAft>
                <a:spcPts val="300"/>
              </a:spcAft>
              <a:defRPr/>
            </a:pPr>
            <a:r>
              <a:rPr lang="en-GB" sz="1200" b="1" kern="0" dirty="0">
                <a:solidFill>
                  <a:srgbClr val="FFFFFF"/>
                </a:solidFill>
              </a:rPr>
              <a:t>Socioeconomic</a:t>
            </a:r>
          </a:p>
          <a:p>
            <a:pPr algn="ctr" defTabSz="781835">
              <a:spcAft>
                <a:spcPts val="300"/>
              </a:spcAft>
              <a:defRPr/>
            </a:pPr>
            <a:r>
              <a:rPr lang="en-GB" sz="1200" b="1" kern="0" dirty="0">
                <a:solidFill>
                  <a:srgbClr val="FFFFFF"/>
                </a:solidFill>
              </a:rPr>
              <a:t> benefits</a:t>
            </a:r>
          </a:p>
        </p:txBody>
      </p:sp>
      <p:sp>
        <p:nvSpPr>
          <p:cNvPr id="45" name="TextBox 44">
            <a:extLst>
              <a:ext uri="{FF2B5EF4-FFF2-40B4-BE49-F238E27FC236}">
                <a16:creationId xmlns:a16="http://schemas.microsoft.com/office/drawing/2014/main" id="{FA9FFB2F-6FC8-4BAE-B744-D77866D7C636}"/>
              </a:ext>
            </a:extLst>
          </p:cNvPr>
          <p:cNvSpPr txBox="1"/>
          <p:nvPr/>
        </p:nvSpPr>
        <p:spPr>
          <a:xfrm>
            <a:off x="475895" y="1102869"/>
            <a:ext cx="11380745" cy="338554"/>
          </a:xfrm>
          <a:prstGeom prst="rect">
            <a:avLst/>
          </a:prstGeom>
          <a:noFill/>
        </p:spPr>
        <p:txBody>
          <a:bodyPr wrap="square" rtlCol="0">
            <a:spAutoFit/>
          </a:bodyPr>
          <a:lstStyle/>
          <a:p>
            <a:r>
              <a:rPr lang="en-US" dirty="0"/>
              <a:t>The </a:t>
            </a:r>
            <a:r>
              <a:rPr lang="en-US" b="1" dirty="0"/>
              <a:t>National Energy Strategy 2020 – 2030 </a:t>
            </a:r>
            <a:r>
              <a:rPr lang="en-US" dirty="0"/>
              <a:t>targets a 31% share for renewables in total power generation capacity by 2030.</a:t>
            </a:r>
          </a:p>
        </p:txBody>
      </p:sp>
      <p:sp>
        <p:nvSpPr>
          <p:cNvPr id="46" name="Flowchart: Connector 45">
            <a:extLst>
              <a:ext uri="{FF2B5EF4-FFF2-40B4-BE49-F238E27FC236}">
                <a16:creationId xmlns:a16="http://schemas.microsoft.com/office/drawing/2014/main" id="{2560077F-3D12-4AEA-985E-6A14E547699B}"/>
              </a:ext>
            </a:extLst>
          </p:cNvPr>
          <p:cNvSpPr/>
          <p:nvPr/>
        </p:nvSpPr>
        <p:spPr>
          <a:xfrm>
            <a:off x="4451837" y="2042816"/>
            <a:ext cx="240375" cy="240375"/>
          </a:xfrm>
          <a:prstGeom prst="flowChartConnector">
            <a:avLst/>
          </a:prstGeom>
          <a:solidFill>
            <a:srgbClr val="0073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Flowchart: Connector 46">
            <a:extLst>
              <a:ext uri="{FF2B5EF4-FFF2-40B4-BE49-F238E27FC236}">
                <a16:creationId xmlns:a16="http://schemas.microsoft.com/office/drawing/2014/main" id="{165707F7-FDD6-476D-BDC4-354FE5F456EA}"/>
              </a:ext>
            </a:extLst>
          </p:cNvPr>
          <p:cNvSpPr/>
          <p:nvPr/>
        </p:nvSpPr>
        <p:spPr>
          <a:xfrm>
            <a:off x="4451837" y="3026596"/>
            <a:ext cx="240375" cy="240375"/>
          </a:xfrm>
          <a:prstGeom prst="flowChartConnector">
            <a:avLst/>
          </a:prstGeom>
          <a:solidFill>
            <a:srgbClr val="228F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Flowchart: Connector 47">
            <a:extLst>
              <a:ext uri="{FF2B5EF4-FFF2-40B4-BE49-F238E27FC236}">
                <a16:creationId xmlns:a16="http://schemas.microsoft.com/office/drawing/2014/main" id="{EA321065-7C65-4EE6-98FE-A40983C86338}"/>
              </a:ext>
            </a:extLst>
          </p:cNvPr>
          <p:cNvSpPr/>
          <p:nvPr/>
        </p:nvSpPr>
        <p:spPr>
          <a:xfrm>
            <a:off x="4456953" y="4151803"/>
            <a:ext cx="240375" cy="240375"/>
          </a:xfrm>
          <a:prstGeom prst="flowChartConnector">
            <a:avLst/>
          </a:prstGeom>
          <a:solidFill>
            <a:srgbClr val="5CAB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Flowchart: Connector 48">
            <a:extLst>
              <a:ext uri="{FF2B5EF4-FFF2-40B4-BE49-F238E27FC236}">
                <a16:creationId xmlns:a16="http://schemas.microsoft.com/office/drawing/2014/main" id="{BB9EEFA2-850E-4D92-99CB-6E0568BFEC0E}"/>
              </a:ext>
            </a:extLst>
          </p:cNvPr>
          <p:cNvSpPr/>
          <p:nvPr/>
        </p:nvSpPr>
        <p:spPr>
          <a:xfrm>
            <a:off x="4451837" y="5166031"/>
            <a:ext cx="240375" cy="240375"/>
          </a:xfrm>
          <a:prstGeom prst="flowChartConnector">
            <a:avLst/>
          </a:prstGeom>
          <a:solidFill>
            <a:srgbClr val="1967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496856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tandarddesign">
  <a:themeElements>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tandarddesign">
      <a:majorFont>
        <a:latin typeface="Arial"/>
        <a:ea typeface=""/>
        <a:cs typeface="Arial"/>
      </a:majorFont>
      <a:minorFont>
        <a:latin typeface="Arial"/>
        <a:ea typeface=""/>
        <a:cs typeface="Arial"/>
      </a:minorFont>
    </a:fontScheme>
    <a:fmtScheme name="Equity">
      <a:fillStyleLst>
        <a:solidFill>
          <a:schemeClr val="phClr"/>
        </a:solidFill>
        <a:blipFill>
          <a:blip xmlns:r="http://schemas.openxmlformats.org/officeDocument/2006/relationships" r:embed="rId1">
            <a:duotone>
              <a:schemeClr val="phClr">
                <a:tint val="30000"/>
                <a:satMod val="300000"/>
              </a:schemeClr>
              <a:schemeClr val="phClr">
                <a:tint val="40000"/>
                <a:satMod val="200000"/>
              </a:schemeClr>
            </a:duotone>
          </a:blip>
          <a:tile tx="0" ty="0" sx="70000" sy="70000" flip="none" algn="ctr"/>
        </a:blipFill>
        <a:blipFill>
          <a:blip xmlns:r="http://schemas.openxmlformats.org/officeDocument/2006/relationships" r:embed="rId1">
            <a:duotone>
              <a:schemeClr val="phClr">
                <a:shade val="22000"/>
                <a:satMod val="160000"/>
              </a:schemeClr>
              <a:schemeClr val="phClr">
                <a:shade val="45000"/>
                <a:satMod val="100000"/>
              </a:schemeClr>
            </a:duotone>
          </a:blip>
          <a:tile tx="0" ty="0" sx="65000" sy="65000" flip="none" algn="ctr"/>
        </a:blipFill>
      </a:fillStyleLst>
      <a:lnStyleLst>
        <a:ln w="9525" cap="flat" cmpd="sng" algn="ctr">
          <a:solidFill>
            <a:schemeClr val="phClr">
              <a:shade val="60000"/>
              <a:satMod val="110000"/>
            </a:schemeClr>
          </a:solidFill>
          <a:prstDash val="solid"/>
        </a:ln>
        <a:ln w="127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algn="t" rotWithShape="0">
              <a:srgbClr val="000000">
                <a:alpha val="50000"/>
              </a:srgbClr>
            </a:outerShdw>
          </a:effectLst>
        </a:effectStyle>
        <a:effectStyle>
          <a:effectLst>
            <a:outerShdw blurRad="38100" dist="25400" dir="5400000" algn="t" rotWithShape="0">
              <a:srgbClr val="000000">
                <a:alpha val="50000"/>
              </a:srgbClr>
            </a:outerShdw>
          </a:effectLst>
        </a:effectStyle>
        <a:effectStyle>
          <a:effectLst>
            <a:outerShdw blurRad="50800" dist="50800" dir="5400000" algn="t" rotWithShape="0">
              <a:srgbClr val="000000">
                <a:alpha val="60000"/>
              </a:srgbClr>
            </a:outerShdw>
          </a:effectLst>
          <a:scene3d>
            <a:camera prst="isometricBottomUp" fov="0">
              <a:rot lat="0" lon="0" rev="0"/>
            </a:camera>
            <a:lightRig rig="soft" dir="b">
              <a:rot lat="0" lon="0" rev="9000000"/>
            </a:lightRig>
          </a:scene3d>
          <a:sp3d contourW="35000" prstMaterial="matte">
            <a:bevelT w="45000" h="38100" prst="convex"/>
            <a:contourClr>
              <a:schemeClr val="phClr">
                <a:tint val="1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anchor="ctr"/>
      <a:lstStyle>
        <a:defPPr algn="ctr">
          <a:defRPr sz="1800" dirty="0">
            <a:solidFill>
              <a:schemeClr val="bg1"/>
            </a:solidFill>
            <a:latin typeface="+mj-lt"/>
            <a:ea typeface="Tahoma" pitchFamily="34" charset="0"/>
            <a:cs typeface="Tahoma"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rd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andard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andard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andard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andard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andard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andard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andard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0F830863362724DB520D7A1D831CECD" ma:contentTypeVersion="6" ma:contentTypeDescription="Create a new document." ma:contentTypeScope="" ma:versionID="5dfba0d6e46e308420bce3565380318c">
  <xsd:schema xmlns:xsd="http://www.w3.org/2001/XMLSchema" xmlns:xs="http://www.w3.org/2001/XMLSchema" xmlns:p="http://schemas.microsoft.com/office/2006/metadata/properties" xmlns:ns2="1e025b32-6b9a-47b8-82d6-0a5c7fcbeb53" xmlns:ns3="53eda448-fbe5-416e-94e8-3496fe9a681a" targetNamespace="http://schemas.microsoft.com/office/2006/metadata/properties" ma:root="true" ma:fieldsID="5861c990a1be02c0e7a73e6a0827b379" ns2:_="" ns3:_="">
    <xsd:import namespace="1e025b32-6b9a-47b8-82d6-0a5c7fcbeb53"/>
    <xsd:import namespace="53eda448-fbe5-416e-94e8-3496fe9a681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e025b32-6b9a-47b8-82d6-0a5c7fcbeb5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3eda448-fbe5-416e-94e8-3496fe9a681a"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60C3D88-D750-456B-92E4-115751D20C4F}">
  <ds:schemaRefs>
    <ds:schemaRef ds:uri="http://schemas.microsoft.com/office/2006/metadata/properties"/>
    <ds:schemaRef ds:uri="43565381-cbb2-4bc3-b9a9-1b7b21dfcc10"/>
    <ds:schemaRef ds:uri="http://purl.org/dc/dcmitype/"/>
    <ds:schemaRef ds:uri="http://purl.org/dc/elements/1.1/"/>
    <ds:schemaRef ds:uri="http://schemas.openxmlformats.org/package/2006/metadata/core-properties"/>
    <ds:schemaRef ds:uri="http://schemas.microsoft.com/office/2006/documentManagement/types"/>
    <ds:schemaRef ds:uri="http://schemas.microsoft.com/office/infopath/2007/PartnerControls"/>
    <ds:schemaRef ds:uri="4c7a8de7-d09a-43a4-8e7b-5883fd4e3466"/>
    <ds:schemaRef ds:uri="http://www.w3.org/XML/1998/namespace"/>
    <ds:schemaRef ds:uri="http://purl.org/dc/terms/"/>
  </ds:schemaRefs>
</ds:datastoreItem>
</file>

<file path=customXml/itemProps2.xml><?xml version="1.0" encoding="utf-8"?>
<ds:datastoreItem xmlns:ds="http://schemas.openxmlformats.org/officeDocument/2006/customXml" ds:itemID="{78815CEA-952D-47C9-B1D8-73CAB24A3DBC}">
  <ds:schemaRefs>
    <ds:schemaRef ds:uri="http://schemas.microsoft.com/sharepoint/v3/contenttype/forms"/>
  </ds:schemaRefs>
</ds:datastoreItem>
</file>

<file path=customXml/itemProps3.xml><?xml version="1.0" encoding="utf-8"?>
<ds:datastoreItem xmlns:ds="http://schemas.openxmlformats.org/officeDocument/2006/customXml" ds:itemID="{1717DCD3-4746-4C6E-9396-42ABDBF38A21}"/>
</file>

<file path=docProps/app.xml><?xml version="1.0" encoding="utf-8"?>
<Properties xmlns="http://schemas.openxmlformats.org/officeDocument/2006/extended-properties" xmlns:vt="http://schemas.openxmlformats.org/officeDocument/2006/docPropsVTypes">
  <Template/>
  <TotalTime>50016</TotalTime>
  <Words>1641</Words>
  <Application>Microsoft Office PowerPoint</Application>
  <PresentationFormat>Widescreen</PresentationFormat>
  <Paragraphs>234</Paragraphs>
  <Slides>17</Slides>
  <Notes>12</Notes>
  <HiddenSlides>0</HiddenSlides>
  <MMClips>0</MMClips>
  <ScaleCrop>false</ScaleCrop>
  <HeadingPairs>
    <vt:vector size="6" baseType="variant">
      <vt:variant>
        <vt:lpstr>Fonts Used</vt:lpstr>
      </vt:variant>
      <vt:variant>
        <vt:i4>5</vt:i4>
      </vt:variant>
      <vt:variant>
        <vt:lpstr>Theme</vt:lpstr>
      </vt:variant>
      <vt:variant>
        <vt:i4>6</vt:i4>
      </vt:variant>
      <vt:variant>
        <vt:lpstr>Slide Titles</vt:lpstr>
      </vt:variant>
      <vt:variant>
        <vt:i4>17</vt:i4>
      </vt:variant>
    </vt:vector>
  </HeadingPairs>
  <TitlesOfParts>
    <vt:vector size="28" baseType="lpstr">
      <vt:lpstr>Arial</vt:lpstr>
      <vt:lpstr>Calibri</vt:lpstr>
      <vt:lpstr>Calibri Light</vt:lpstr>
      <vt:lpstr>ITC Avant Garde Gothic</vt:lpstr>
      <vt:lpstr>Wingdings</vt:lpstr>
      <vt:lpstr>Standarddesign</vt:lpstr>
      <vt:lpstr>Custom Design</vt:lpstr>
      <vt:lpstr>3_Office Theme</vt:lpstr>
      <vt:lpstr>Office Theme</vt:lpstr>
      <vt:lpstr>2_Office Theme</vt:lpstr>
      <vt:lpstr>1_Office Theme</vt:lpstr>
      <vt:lpstr>PowerPoint Presentation</vt:lpstr>
      <vt:lpstr>PowerPoint Presentation</vt:lpstr>
      <vt:lpstr>PowerPoint Presentation</vt:lpstr>
      <vt:lpstr>PowerPoint Presentation</vt:lpstr>
      <vt:lpstr>PowerPoint Presentation</vt:lpstr>
      <vt:lpstr>Renewables Readiness Assessment Jordan </vt:lpstr>
      <vt:lpstr>PowerPoint Presentation</vt:lpstr>
      <vt:lpstr>PowerPoint Presentation</vt:lpstr>
      <vt:lpstr>PowerPoint Presentation</vt:lpstr>
      <vt:lpstr>PowerPoint Presentation</vt:lpstr>
      <vt:lpstr>RRA key findings and recommendations</vt:lpstr>
      <vt:lpstr>RRA key findings and recommendations</vt:lpstr>
      <vt:lpstr>PowerPoint Presentation</vt:lpstr>
      <vt:lpstr>Post-RRA Process</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 1</dc:title>
  <dc:creator>Office</dc:creator>
  <cp:lastModifiedBy>CSP MENA</cp:lastModifiedBy>
  <cp:revision>2137</cp:revision>
  <cp:lastPrinted>2020-10-26T08:11:48Z</cp:lastPrinted>
  <dcterms:created xsi:type="dcterms:W3CDTF">2014-05-21T09:20:58Z</dcterms:created>
  <dcterms:modified xsi:type="dcterms:W3CDTF">2021-02-17T15:33: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0F830863362724DB520D7A1D831CECD</vt:lpwstr>
  </property>
</Properties>
</file>